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1.xml" ContentType="application/vnd.openxmlformats-officedocument.presentationml.notesSlide+xml"/>
  <Override PartName="/ppt/tags/tag1.xml" ContentType="application/vnd.openxmlformats-officedocument.presentationml.tags+xml"/>
  <Override PartName="/ppt/notesSlides/notesSlide4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xml" ContentType="application/vnd.openxmlformats-officedocument.presentationml.tags+xml"/>
  <Override PartName="/ppt/notesSlides/notesSlide4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56.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054" r:id="rId4"/>
    <p:sldMasterId id="2147484617" r:id="rId5"/>
  </p:sldMasterIdLst>
  <p:notesMasterIdLst>
    <p:notesMasterId r:id="rId186"/>
  </p:notesMasterIdLst>
  <p:handoutMasterIdLst>
    <p:handoutMasterId r:id="rId187"/>
  </p:handoutMasterIdLst>
  <p:sldIdLst>
    <p:sldId id="301" r:id="rId6"/>
    <p:sldId id="2134805981" r:id="rId7"/>
    <p:sldId id="2147375895" r:id="rId8"/>
    <p:sldId id="2134805995" r:id="rId9"/>
    <p:sldId id="2147375961" r:id="rId10"/>
    <p:sldId id="257" r:id="rId11"/>
    <p:sldId id="258" r:id="rId12"/>
    <p:sldId id="289" r:id="rId13"/>
    <p:sldId id="309" r:id="rId14"/>
    <p:sldId id="261" r:id="rId15"/>
    <p:sldId id="324" r:id="rId16"/>
    <p:sldId id="262" r:id="rId17"/>
    <p:sldId id="336" r:id="rId18"/>
    <p:sldId id="337" r:id="rId19"/>
    <p:sldId id="291" r:id="rId20"/>
    <p:sldId id="339" r:id="rId21"/>
    <p:sldId id="264" r:id="rId22"/>
    <p:sldId id="293" r:id="rId23"/>
    <p:sldId id="294" r:id="rId24"/>
    <p:sldId id="295" r:id="rId25"/>
    <p:sldId id="2147375962" r:id="rId26"/>
    <p:sldId id="297" r:id="rId27"/>
    <p:sldId id="298" r:id="rId28"/>
    <p:sldId id="299" r:id="rId29"/>
    <p:sldId id="300" r:id="rId30"/>
    <p:sldId id="325" r:id="rId31"/>
    <p:sldId id="326" r:id="rId32"/>
    <p:sldId id="303" r:id="rId33"/>
    <p:sldId id="304" r:id="rId34"/>
    <p:sldId id="305" r:id="rId35"/>
    <p:sldId id="314" r:id="rId36"/>
    <p:sldId id="307" r:id="rId37"/>
    <p:sldId id="312" r:id="rId38"/>
    <p:sldId id="327" r:id="rId39"/>
    <p:sldId id="328" r:id="rId40"/>
    <p:sldId id="329" r:id="rId41"/>
    <p:sldId id="330" r:id="rId42"/>
    <p:sldId id="331" r:id="rId43"/>
    <p:sldId id="332" r:id="rId44"/>
    <p:sldId id="333" r:id="rId45"/>
    <p:sldId id="334" r:id="rId46"/>
    <p:sldId id="2147375963" r:id="rId47"/>
    <p:sldId id="815" r:id="rId48"/>
    <p:sldId id="816" r:id="rId49"/>
    <p:sldId id="323" r:id="rId50"/>
    <p:sldId id="817" r:id="rId51"/>
    <p:sldId id="818" r:id="rId52"/>
    <p:sldId id="802" r:id="rId53"/>
    <p:sldId id="805" r:id="rId54"/>
    <p:sldId id="813" r:id="rId55"/>
    <p:sldId id="811" r:id="rId56"/>
    <p:sldId id="810" r:id="rId57"/>
    <p:sldId id="819" r:id="rId58"/>
    <p:sldId id="820" r:id="rId59"/>
    <p:sldId id="821" r:id="rId60"/>
    <p:sldId id="822" r:id="rId61"/>
    <p:sldId id="823" r:id="rId62"/>
    <p:sldId id="824" r:id="rId63"/>
    <p:sldId id="341" r:id="rId64"/>
    <p:sldId id="348" r:id="rId65"/>
    <p:sldId id="340" r:id="rId66"/>
    <p:sldId id="803" r:id="rId67"/>
    <p:sldId id="342" r:id="rId68"/>
    <p:sldId id="345" r:id="rId69"/>
    <p:sldId id="825" r:id="rId70"/>
    <p:sldId id="806" r:id="rId71"/>
    <p:sldId id="343" r:id="rId72"/>
    <p:sldId id="347" r:id="rId73"/>
    <p:sldId id="790" r:id="rId74"/>
    <p:sldId id="791" r:id="rId75"/>
    <p:sldId id="780" r:id="rId76"/>
    <p:sldId id="781" r:id="rId77"/>
    <p:sldId id="349" r:id="rId78"/>
    <p:sldId id="794" r:id="rId79"/>
    <p:sldId id="826" r:id="rId80"/>
    <p:sldId id="827" r:id="rId81"/>
    <p:sldId id="828" r:id="rId82"/>
    <p:sldId id="786" r:id="rId83"/>
    <p:sldId id="319" r:id="rId84"/>
    <p:sldId id="797" r:id="rId85"/>
    <p:sldId id="799" r:id="rId86"/>
    <p:sldId id="800" r:id="rId87"/>
    <p:sldId id="829" r:id="rId88"/>
    <p:sldId id="277" r:id="rId89"/>
    <p:sldId id="272" r:id="rId90"/>
    <p:sldId id="280" r:id="rId91"/>
    <p:sldId id="830" r:id="rId92"/>
    <p:sldId id="831" r:id="rId93"/>
    <p:sldId id="2134805921" r:id="rId94"/>
    <p:sldId id="2134805922" r:id="rId95"/>
    <p:sldId id="2147375966" r:id="rId96"/>
    <p:sldId id="2147375967" r:id="rId97"/>
    <p:sldId id="2134805924" r:id="rId98"/>
    <p:sldId id="2134805925" r:id="rId99"/>
    <p:sldId id="2134805926" r:id="rId100"/>
    <p:sldId id="2147376029" r:id="rId101"/>
    <p:sldId id="2147376030" r:id="rId102"/>
    <p:sldId id="2147376031" r:id="rId103"/>
    <p:sldId id="2147376032" r:id="rId104"/>
    <p:sldId id="2134805936" r:id="rId105"/>
    <p:sldId id="1922" r:id="rId106"/>
    <p:sldId id="1923" r:id="rId107"/>
    <p:sldId id="2134805940" r:id="rId108"/>
    <p:sldId id="2134805941" r:id="rId109"/>
    <p:sldId id="666" r:id="rId110"/>
    <p:sldId id="1928" r:id="rId111"/>
    <p:sldId id="2134805939" r:id="rId112"/>
    <p:sldId id="1927" r:id="rId113"/>
    <p:sldId id="1965" r:id="rId114"/>
    <p:sldId id="1970" r:id="rId115"/>
    <p:sldId id="1966" r:id="rId116"/>
    <p:sldId id="2134805938" r:id="rId117"/>
    <p:sldId id="1967" r:id="rId118"/>
    <p:sldId id="1932" r:id="rId119"/>
    <p:sldId id="1933" r:id="rId120"/>
    <p:sldId id="1934" r:id="rId121"/>
    <p:sldId id="1935" r:id="rId122"/>
    <p:sldId id="1936" r:id="rId123"/>
    <p:sldId id="1937" r:id="rId124"/>
    <p:sldId id="1938" r:id="rId125"/>
    <p:sldId id="1939" r:id="rId126"/>
    <p:sldId id="1944" r:id="rId127"/>
    <p:sldId id="1940" r:id="rId128"/>
    <p:sldId id="1941" r:id="rId129"/>
    <p:sldId id="1942" r:id="rId130"/>
    <p:sldId id="1943" r:id="rId131"/>
    <p:sldId id="1945" r:id="rId132"/>
    <p:sldId id="1946" r:id="rId133"/>
    <p:sldId id="1947" r:id="rId134"/>
    <p:sldId id="1948" r:id="rId135"/>
    <p:sldId id="1949" r:id="rId136"/>
    <p:sldId id="1960" r:id="rId137"/>
    <p:sldId id="2134805942" r:id="rId138"/>
    <p:sldId id="832" r:id="rId139"/>
    <p:sldId id="833" r:id="rId140"/>
    <p:sldId id="834" r:id="rId141"/>
    <p:sldId id="2134805937" r:id="rId142"/>
    <p:sldId id="260" r:id="rId143"/>
    <p:sldId id="269" r:id="rId144"/>
    <p:sldId id="2134805943" r:id="rId145"/>
    <p:sldId id="2134805944" r:id="rId146"/>
    <p:sldId id="273" r:id="rId147"/>
    <p:sldId id="318" r:id="rId148"/>
    <p:sldId id="2134805945" r:id="rId149"/>
    <p:sldId id="2134805946" r:id="rId150"/>
    <p:sldId id="2134805916" r:id="rId151"/>
    <p:sldId id="2134805947" r:id="rId152"/>
    <p:sldId id="2134805932" r:id="rId153"/>
    <p:sldId id="2134805948" r:id="rId154"/>
    <p:sldId id="2134805949" r:id="rId155"/>
    <p:sldId id="2134805950" r:id="rId156"/>
    <p:sldId id="2134805951" r:id="rId157"/>
    <p:sldId id="346" r:id="rId158"/>
    <p:sldId id="2147375964" r:id="rId159"/>
    <p:sldId id="2134805957" r:id="rId160"/>
    <p:sldId id="2134805958" r:id="rId161"/>
    <p:sldId id="842" r:id="rId162"/>
    <p:sldId id="2134805982" r:id="rId163"/>
    <p:sldId id="2134805983" r:id="rId164"/>
    <p:sldId id="2134805984" r:id="rId165"/>
    <p:sldId id="2134805985" r:id="rId166"/>
    <p:sldId id="2134805986" r:id="rId167"/>
    <p:sldId id="2134805987" r:id="rId168"/>
    <p:sldId id="2134805988" r:id="rId169"/>
    <p:sldId id="2134805989" r:id="rId170"/>
    <p:sldId id="2134805990" r:id="rId171"/>
    <p:sldId id="2134805991" r:id="rId172"/>
    <p:sldId id="2134805992" r:id="rId173"/>
    <p:sldId id="835" r:id="rId174"/>
    <p:sldId id="836" r:id="rId175"/>
    <p:sldId id="2134805993" r:id="rId176"/>
    <p:sldId id="840" r:id="rId177"/>
    <p:sldId id="841" r:id="rId178"/>
    <p:sldId id="2134805994" r:id="rId179"/>
    <p:sldId id="844" r:id="rId180"/>
    <p:sldId id="843" r:id="rId181"/>
    <p:sldId id="837" r:id="rId182"/>
    <p:sldId id="838" r:id="rId183"/>
    <p:sldId id="839" r:id="rId184"/>
    <p:sldId id="290" r:id="rId185"/>
  </p:sldIdLst>
  <p:sldSz cx="9144000" cy="6858000" type="screen4x3"/>
  <p:notesSz cx="6858000" cy="91440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Brickson"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CAD3"/>
    <a:srgbClr val="00667D"/>
    <a:srgbClr val="A72959"/>
    <a:srgbClr val="FFFFFF"/>
    <a:srgbClr val="7E59A2"/>
    <a:srgbClr val="87547E"/>
    <a:srgbClr val="44525B"/>
    <a:srgbClr val="61B1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059" autoAdjust="0"/>
  </p:normalViewPr>
  <p:slideViewPr>
    <p:cSldViewPr>
      <p:cViewPr>
        <p:scale>
          <a:sx n="51" d="100"/>
          <a:sy n="51" d="100"/>
        </p:scale>
        <p:origin x="1720" y="32"/>
      </p:cViewPr>
      <p:guideLst>
        <p:guide orient="horz" pos="2160"/>
        <p:guide pos="288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p:cViewPr varScale="1">
        <p:scale>
          <a:sx n="51" d="100"/>
          <a:sy n="51" d="100"/>
        </p:scale>
        <p:origin x="2692" y="28"/>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38" Type="http://schemas.openxmlformats.org/officeDocument/2006/relationships/slide" Target="slides/slide133.xml"/><Relationship Id="rId159" Type="http://schemas.openxmlformats.org/officeDocument/2006/relationships/slide" Target="slides/slide154.xml"/><Relationship Id="rId170" Type="http://schemas.openxmlformats.org/officeDocument/2006/relationships/slide" Target="slides/slide165.xml"/><Relationship Id="rId191" Type="http://schemas.openxmlformats.org/officeDocument/2006/relationships/theme" Target="theme/theme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53" Type="http://schemas.openxmlformats.org/officeDocument/2006/relationships/slide" Target="slides/slide48.xml"/><Relationship Id="rId74" Type="http://schemas.openxmlformats.org/officeDocument/2006/relationships/slide" Target="slides/slide69.xml"/><Relationship Id="rId128" Type="http://schemas.openxmlformats.org/officeDocument/2006/relationships/slide" Target="slides/slide123.xml"/><Relationship Id="rId149" Type="http://schemas.openxmlformats.org/officeDocument/2006/relationships/slide" Target="slides/slide144.xml"/><Relationship Id="rId5" Type="http://schemas.openxmlformats.org/officeDocument/2006/relationships/slideMaster" Target="slideMasters/slideMaster2.xml"/><Relationship Id="rId95" Type="http://schemas.openxmlformats.org/officeDocument/2006/relationships/slide" Target="slides/slide90.xml"/><Relationship Id="rId160" Type="http://schemas.openxmlformats.org/officeDocument/2006/relationships/slide" Target="slides/slide155.xml"/><Relationship Id="rId181" Type="http://schemas.openxmlformats.org/officeDocument/2006/relationships/slide" Target="slides/slide176.xml"/><Relationship Id="rId22" Type="http://schemas.openxmlformats.org/officeDocument/2006/relationships/slide" Target="slides/slide17.xml"/><Relationship Id="rId43" Type="http://schemas.openxmlformats.org/officeDocument/2006/relationships/slide" Target="slides/slide38.xml"/><Relationship Id="rId64" Type="http://schemas.openxmlformats.org/officeDocument/2006/relationships/slide" Target="slides/slide59.xml"/><Relationship Id="rId118" Type="http://schemas.openxmlformats.org/officeDocument/2006/relationships/slide" Target="slides/slide113.xml"/><Relationship Id="rId139" Type="http://schemas.openxmlformats.org/officeDocument/2006/relationships/slide" Target="slides/slide134.xml"/><Relationship Id="rId85" Type="http://schemas.openxmlformats.org/officeDocument/2006/relationships/slide" Target="slides/slide80.xml"/><Relationship Id="rId150" Type="http://schemas.openxmlformats.org/officeDocument/2006/relationships/slide" Target="slides/slide145.xml"/><Relationship Id="rId171" Type="http://schemas.openxmlformats.org/officeDocument/2006/relationships/slide" Target="slides/slide166.xml"/><Relationship Id="rId192" Type="http://schemas.openxmlformats.org/officeDocument/2006/relationships/tableStyles" Target="tableStyles.xml"/><Relationship Id="rId12" Type="http://schemas.openxmlformats.org/officeDocument/2006/relationships/slide" Target="slides/slide7.xml"/><Relationship Id="rId33" Type="http://schemas.openxmlformats.org/officeDocument/2006/relationships/slide" Target="slides/slide28.xml"/><Relationship Id="rId108" Type="http://schemas.openxmlformats.org/officeDocument/2006/relationships/slide" Target="slides/slide103.xml"/><Relationship Id="rId129" Type="http://schemas.openxmlformats.org/officeDocument/2006/relationships/slide" Target="slides/slide124.xml"/><Relationship Id="rId54" Type="http://schemas.openxmlformats.org/officeDocument/2006/relationships/slide" Target="slides/slide49.xml"/><Relationship Id="rId75" Type="http://schemas.openxmlformats.org/officeDocument/2006/relationships/slide" Target="slides/slide70.xml"/><Relationship Id="rId96" Type="http://schemas.openxmlformats.org/officeDocument/2006/relationships/slide" Target="slides/slide91.xml"/><Relationship Id="rId140" Type="http://schemas.openxmlformats.org/officeDocument/2006/relationships/slide" Target="slides/slide135.xml"/><Relationship Id="rId161" Type="http://schemas.openxmlformats.org/officeDocument/2006/relationships/slide" Target="slides/slide156.xml"/><Relationship Id="rId182" Type="http://schemas.openxmlformats.org/officeDocument/2006/relationships/slide" Target="slides/slide177.xml"/><Relationship Id="rId6" Type="http://schemas.openxmlformats.org/officeDocument/2006/relationships/slide" Target="slides/slide1.xml"/><Relationship Id="rId23" Type="http://schemas.openxmlformats.org/officeDocument/2006/relationships/slide" Target="slides/slide18.xml"/><Relationship Id="rId119" Type="http://schemas.openxmlformats.org/officeDocument/2006/relationships/slide" Target="slides/slide114.xml"/><Relationship Id="rId44" Type="http://schemas.openxmlformats.org/officeDocument/2006/relationships/slide" Target="slides/slide39.xml"/><Relationship Id="rId65" Type="http://schemas.openxmlformats.org/officeDocument/2006/relationships/slide" Target="slides/slide60.xml"/><Relationship Id="rId86" Type="http://schemas.openxmlformats.org/officeDocument/2006/relationships/slide" Target="slides/slide81.xml"/><Relationship Id="rId130" Type="http://schemas.openxmlformats.org/officeDocument/2006/relationships/slide" Target="slides/slide125.xml"/><Relationship Id="rId151" Type="http://schemas.openxmlformats.org/officeDocument/2006/relationships/slide" Target="slides/slide146.xml"/><Relationship Id="rId172" Type="http://schemas.openxmlformats.org/officeDocument/2006/relationships/slide" Target="slides/slide167.xml"/><Relationship Id="rId193" Type="http://schemas.microsoft.com/office/2016/11/relationships/changesInfo" Target="changesInfos/changesInfo1.xml"/><Relationship Id="rId13" Type="http://schemas.openxmlformats.org/officeDocument/2006/relationships/slide" Target="slides/slide8.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slide" Target="slides/slide136.xml"/><Relationship Id="rId146" Type="http://schemas.openxmlformats.org/officeDocument/2006/relationships/slide" Target="slides/slide141.xml"/><Relationship Id="rId167" Type="http://schemas.openxmlformats.org/officeDocument/2006/relationships/slide" Target="slides/slide162.xml"/><Relationship Id="rId188"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162" Type="http://schemas.openxmlformats.org/officeDocument/2006/relationships/slide" Target="slides/slide157.xml"/><Relationship Id="rId183" Type="http://schemas.openxmlformats.org/officeDocument/2006/relationships/slide" Target="slides/slide178.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157" Type="http://schemas.openxmlformats.org/officeDocument/2006/relationships/slide" Target="slides/slide152.xml"/><Relationship Id="rId178" Type="http://schemas.openxmlformats.org/officeDocument/2006/relationships/slide" Target="slides/slide173.xml"/><Relationship Id="rId61" Type="http://schemas.openxmlformats.org/officeDocument/2006/relationships/slide" Target="slides/slide56.xml"/><Relationship Id="rId82" Type="http://schemas.openxmlformats.org/officeDocument/2006/relationships/slide" Target="slides/slide77.xml"/><Relationship Id="rId152" Type="http://schemas.openxmlformats.org/officeDocument/2006/relationships/slide" Target="slides/slide147.xml"/><Relationship Id="rId173" Type="http://schemas.openxmlformats.org/officeDocument/2006/relationships/slide" Target="slides/slide168.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slide" Target="slides/slide142.xml"/><Relationship Id="rId168" Type="http://schemas.openxmlformats.org/officeDocument/2006/relationships/slide" Target="slides/slide163.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slide" Target="slides/slide137.xml"/><Relationship Id="rId163" Type="http://schemas.openxmlformats.org/officeDocument/2006/relationships/slide" Target="slides/slide158.xml"/><Relationship Id="rId184" Type="http://schemas.openxmlformats.org/officeDocument/2006/relationships/slide" Target="slides/slide179.xml"/><Relationship Id="rId189"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137" Type="http://schemas.openxmlformats.org/officeDocument/2006/relationships/slide" Target="slides/slide132.xml"/><Relationship Id="rId158" Type="http://schemas.openxmlformats.org/officeDocument/2006/relationships/slide" Target="slides/slide153.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slide" Target="slides/slide127.xml"/><Relationship Id="rId153" Type="http://schemas.openxmlformats.org/officeDocument/2006/relationships/slide" Target="slides/slide148.xml"/><Relationship Id="rId174" Type="http://schemas.openxmlformats.org/officeDocument/2006/relationships/slide" Target="slides/slide169.xml"/><Relationship Id="rId179" Type="http://schemas.openxmlformats.org/officeDocument/2006/relationships/slide" Target="slides/slide174.xml"/><Relationship Id="rId190" Type="http://schemas.openxmlformats.org/officeDocument/2006/relationships/viewProps" Target="viewProps.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43" Type="http://schemas.openxmlformats.org/officeDocument/2006/relationships/slide" Target="slides/slide138.xml"/><Relationship Id="rId148" Type="http://schemas.openxmlformats.org/officeDocument/2006/relationships/slide" Target="slides/slide143.xml"/><Relationship Id="rId164" Type="http://schemas.openxmlformats.org/officeDocument/2006/relationships/slide" Target="slides/slide159.xml"/><Relationship Id="rId169" Type="http://schemas.openxmlformats.org/officeDocument/2006/relationships/slide" Target="slides/slide164.xml"/><Relationship Id="rId185" Type="http://schemas.openxmlformats.org/officeDocument/2006/relationships/slide" Target="slides/slide180.xml"/><Relationship Id="rId4" Type="http://schemas.openxmlformats.org/officeDocument/2006/relationships/slideMaster" Target="slideMasters/slideMaster1.xml"/><Relationship Id="rId9" Type="http://schemas.openxmlformats.org/officeDocument/2006/relationships/slide" Target="slides/slide4.xml"/><Relationship Id="rId180" Type="http://schemas.openxmlformats.org/officeDocument/2006/relationships/slide" Target="slides/slide175.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54" Type="http://schemas.openxmlformats.org/officeDocument/2006/relationships/slide" Target="slides/slide149.xml"/><Relationship Id="rId175" Type="http://schemas.openxmlformats.org/officeDocument/2006/relationships/slide" Target="slides/slide170.xml"/><Relationship Id="rId16" Type="http://schemas.openxmlformats.org/officeDocument/2006/relationships/slide" Target="slides/slide11.xml"/><Relationship Id="rId37" Type="http://schemas.openxmlformats.org/officeDocument/2006/relationships/slide" Target="slides/slide32.xml"/><Relationship Id="rId58" Type="http://schemas.openxmlformats.org/officeDocument/2006/relationships/slide" Target="slides/slide53.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44" Type="http://schemas.openxmlformats.org/officeDocument/2006/relationships/slide" Target="slides/slide139.xml"/><Relationship Id="rId90" Type="http://schemas.openxmlformats.org/officeDocument/2006/relationships/slide" Target="slides/slide85.xml"/><Relationship Id="rId165" Type="http://schemas.openxmlformats.org/officeDocument/2006/relationships/slide" Target="slides/slide160.xml"/><Relationship Id="rId186" Type="http://schemas.openxmlformats.org/officeDocument/2006/relationships/notesMaster" Target="notesMasters/notesMaster1.xml"/><Relationship Id="rId27" Type="http://schemas.openxmlformats.org/officeDocument/2006/relationships/slide" Target="slides/slide22.xml"/><Relationship Id="rId48" Type="http://schemas.openxmlformats.org/officeDocument/2006/relationships/slide" Target="slides/slide43.xml"/><Relationship Id="rId69" Type="http://schemas.openxmlformats.org/officeDocument/2006/relationships/slide" Target="slides/slide64.xml"/><Relationship Id="rId113" Type="http://schemas.openxmlformats.org/officeDocument/2006/relationships/slide" Target="slides/slide108.xml"/><Relationship Id="rId134" Type="http://schemas.openxmlformats.org/officeDocument/2006/relationships/slide" Target="slides/slide129.xml"/><Relationship Id="rId80" Type="http://schemas.openxmlformats.org/officeDocument/2006/relationships/slide" Target="slides/slide75.xml"/><Relationship Id="rId155" Type="http://schemas.openxmlformats.org/officeDocument/2006/relationships/slide" Target="slides/slide150.xml"/><Relationship Id="rId176" Type="http://schemas.openxmlformats.org/officeDocument/2006/relationships/slide" Target="slides/slide171.xml"/><Relationship Id="rId17" Type="http://schemas.openxmlformats.org/officeDocument/2006/relationships/slide" Target="slides/slide12.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24" Type="http://schemas.openxmlformats.org/officeDocument/2006/relationships/slide" Target="slides/slide119.xml"/><Relationship Id="rId70" Type="http://schemas.openxmlformats.org/officeDocument/2006/relationships/slide" Target="slides/slide65.xml"/><Relationship Id="rId91" Type="http://schemas.openxmlformats.org/officeDocument/2006/relationships/slide" Target="slides/slide86.xml"/><Relationship Id="rId145" Type="http://schemas.openxmlformats.org/officeDocument/2006/relationships/slide" Target="slides/slide140.xml"/><Relationship Id="rId166" Type="http://schemas.openxmlformats.org/officeDocument/2006/relationships/slide" Target="slides/slide161.xml"/><Relationship Id="rId187" Type="http://schemas.openxmlformats.org/officeDocument/2006/relationships/handoutMaster" Target="handoutMasters/handoutMaster1.xml"/><Relationship Id="rId1" Type="http://schemas.openxmlformats.org/officeDocument/2006/relationships/customXml" Target="../customXml/item1.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60" Type="http://schemas.openxmlformats.org/officeDocument/2006/relationships/slide" Target="slides/slide55.xml"/><Relationship Id="rId81" Type="http://schemas.openxmlformats.org/officeDocument/2006/relationships/slide" Target="slides/slide76.xml"/><Relationship Id="rId135" Type="http://schemas.openxmlformats.org/officeDocument/2006/relationships/slide" Target="slides/slide130.xml"/><Relationship Id="rId156" Type="http://schemas.openxmlformats.org/officeDocument/2006/relationships/slide" Target="slides/slide151.xml"/><Relationship Id="rId177" Type="http://schemas.openxmlformats.org/officeDocument/2006/relationships/slide" Target="slides/slide172.xml"/><Relationship Id="rId18" Type="http://schemas.openxmlformats.org/officeDocument/2006/relationships/slide" Target="slides/slide13.xml"/><Relationship Id="rId39" Type="http://schemas.openxmlformats.org/officeDocument/2006/relationships/slide" Target="slides/slide3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x Wilson" userId="be77e4dd-1b3c-48b4-a41f-000304a595a0" providerId="ADAL" clId="{A2894864-8AE4-4873-9E64-87EBA54E4945}"/>
    <pc:docChg chg="modSld">
      <pc:chgData name="Alex Wilson" userId="be77e4dd-1b3c-48b4-a41f-000304a595a0" providerId="ADAL" clId="{A2894864-8AE4-4873-9E64-87EBA54E4945}" dt="2020-09-24T14:38:47.257" v="0" actId="1076"/>
      <pc:docMkLst>
        <pc:docMk/>
      </pc:docMkLst>
      <pc:sldChg chg="modSp">
        <pc:chgData name="Alex Wilson" userId="be77e4dd-1b3c-48b4-a41f-000304a595a0" providerId="ADAL" clId="{A2894864-8AE4-4873-9E64-87EBA54E4945}" dt="2020-09-24T14:38:47.257" v="0" actId="1076"/>
        <pc:sldMkLst>
          <pc:docMk/>
          <pc:sldMk cId="0" sldId="301"/>
        </pc:sldMkLst>
        <pc:picChg chg="mod">
          <ac:chgData name="Alex Wilson" userId="be77e4dd-1b3c-48b4-a41f-000304a595a0" providerId="ADAL" clId="{A2894864-8AE4-4873-9E64-87EBA54E4945}" dt="2020-09-24T14:38:47.257" v="0" actId="1076"/>
          <ac:picMkLst>
            <pc:docMk/>
            <pc:sldMk cId="0" sldId="301"/>
            <ac:picMk id="12292" creationId="{7D490B15-3603-4826-83E6-B7D494F77E2D}"/>
          </ac:picMkLst>
        </pc:picChg>
      </pc:sldChg>
    </pc:docChg>
  </pc:docChgLst>
  <pc:docChgLst>
    <pc:chgData name="Kate Brickson" userId="433ac5e7-e7b7-490b-8a44-601ba6d33589" providerId="ADAL" clId="{EAA9B00A-AF00-4478-8EFF-32534CF8CD3A}"/>
    <pc:docChg chg="custSel delSld modSld sldOrd">
      <pc:chgData name="Kate Brickson" userId="433ac5e7-e7b7-490b-8a44-601ba6d33589" providerId="ADAL" clId="{EAA9B00A-AF00-4478-8EFF-32534CF8CD3A}" dt="2020-05-14T12:32:38.438" v="355" actId="20577"/>
      <pc:docMkLst>
        <pc:docMk/>
      </pc:docMkLst>
      <pc:sldChg chg="modSp modNotesTx">
        <pc:chgData name="Kate Brickson" userId="433ac5e7-e7b7-490b-8a44-601ba6d33589" providerId="ADAL" clId="{EAA9B00A-AF00-4478-8EFF-32534CF8CD3A}" dt="2020-05-14T12:31:21.653" v="291" actId="207"/>
        <pc:sldMkLst>
          <pc:docMk/>
          <pc:sldMk cId="0" sldId="301"/>
        </pc:sldMkLst>
        <pc:spChg chg="mod">
          <ac:chgData name="Kate Brickson" userId="433ac5e7-e7b7-490b-8a44-601ba6d33589" providerId="ADAL" clId="{EAA9B00A-AF00-4478-8EFF-32534CF8CD3A}" dt="2020-05-14T12:31:16.789" v="290"/>
          <ac:spMkLst>
            <pc:docMk/>
            <pc:sldMk cId="0" sldId="301"/>
            <ac:spMk id="2" creationId="{2C976D92-6BF8-4FA8-8021-DB872EA7C895}"/>
          </ac:spMkLst>
        </pc:spChg>
      </pc:sldChg>
      <pc:sldChg chg="modSp ord">
        <pc:chgData name="Kate Brickson" userId="433ac5e7-e7b7-490b-8a44-601ba6d33589" providerId="ADAL" clId="{EAA9B00A-AF00-4478-8EFF-32534CF8CD3A}" dt="2020-05-14T12:32:26.928" v="330"/>
        <pc:sldMkLst>
          <pc:docMk/>
          <pc:sldMk cId="0" sldId="302"/>
        </pc:sldMkLst>
        <pc:spChg chg="mod">
          <ac:chgData name="Kate Brickson" userId="433ac5e7-e7b7-490b-8a44-601ba6d33589" providerId="ADAL" clId="{EAA9B00A-AF00-4478-8EFF-32534CF8CD3A}" dt="2020-05-14T12:31:35.551" v="300" actId="20577"/>
          <ac:spMkLst>
            <pc:docMk/>
            <pc:sldMk cId="0" sldId="302"/>
            <ac:spMk id="3" creationId="{18F46198-883E-4E94-86AE-9382E5D57ECD}"/>
          </ac:spMkLst>
        </pc:spChg>
        <pc:spChg chg="mod">
          <ac:chgData name="Kate Brickson" userId="433ac5e7-e7b7-490b-8a44-601ba6d33589" providerId="ADAL" clId="{EAA9B00A-AF00-4478-8EFF-32534CF8CD3A}" dt="2020-05-14T12:32:20.094" v="329" actId="20577"/>
          <ac:spMkLst>
            <pc:docMk/>
            <pc:sldMk cId="0" sldId="302"/>
            <ac:spMk id="4" creationId="{5F16DA04-3815-40FE-9766-7E6069846286}"/>
          </ac:spMkLst>
        </pc:spChg>
      </pc:sldChg>
      <pc:sldChg chg="modSp">
        <pc:chgData name="Kate Brickson" userId="433ac5e7-e7b7-490b-8a44-601ba6d33589" providerId="ADAL" clId="{EAA9B00A-AF00-4478-8EFF-32534CF8CD3A}" dt="2020-05-14T12:29:51.180" v="88" actId="6549"/>
        <pc:sldMkLst>
          <pc:docMk/>
          <pc:sldMk cId="2724613026" sldId="303"/>
        </pc:sldMkLst>
        <pc:spChg chg="mod">
          <ac:chgData name="Kate Brickson" userId="433ac5e7-e7b7-490b-8a44-601ba6d33589" providerId="ADAL" clId="{EAA9B00A-AF00-4478-8EFF-32534CF8CD3A}" dt="2020-05-14T12:29:51.180" v="88" actId="6549"/>
          <ac:spMkLst>
            <pc:docMk/>
            <pc:sldMk cId="2724613026" sldId="303"/>
            <ac:spMk id="3" creationId="{5D7734D3-276F-4DAE-A308-1264B1F3C2F0}"/>
          </ac:spMkLst>
        </pc:spChg>
      </pc:sldChg>
      <pc:sldChg chg="modSp ord">
        <pc:chgData name="Kate Brickson" userId="433ac5e7-e7b7-490b-8a44-601ba6d33589" providerId="ADAL" clId="{EAA9B00A-AF00-4478-8EFF-32534CF8CD3A}" dt="2020-05-14T12:32:38.438" v="355" actId="20577"/>
        <pc:sldMkLst>
          <pc:docMk/>
          <pc:sldMk cId="292017388" sldId="305"/>
        </pc:sldMkLst>
        <pc:spChg chg="mod">
          <ac:chgData name="Kate Brickson" userId="433ac5e7-e7b7-490b-8a44-601ba6d33589" providerId="ADAL" clId="{EAA9B00A-AF00-4478-8EFF-32534CF8CD3A}" dt="2020-05-14T12:32:38.438" v="355" actId="20577"/>
          <ac:spMkLst>
            <pc:docMk/>
            <pc:sldMk cId="292017388" sldId="305"/>
            <ac:spMk id="3" creationId="{4CCC7938-F9C2-4286-87C3-BD76401EC81C}"/>
          </ac:spMkLst>
        </pc:spChg>
      </pc:sldChg>
      <pc:sldChg chg="modSp">
        <pc:chgData name="Kate Brickson" userId="433ac5e7-e7b7-490b-8a44-601ba6d33589" providerId="ADAL" clId="{EAA9B00A-AF00-4478-8EFF-32534CF8CD3A}" dt="2020-05-14T12:28:44.635" v="26" actId="20577"/>
        <pc:sldMkLst>
          <pc:docMk/>
          <pc:sldMk cId="0" sldId="306"/>
        </pc:sldMkLst>
        <pc:spChg chg="mod">
          <ac:chgData name="Kate Brickson" userId="433ac5e7-e7b7-490b-8a44-601ba6d33589" providerId="ADAL" clId="{EAA9B00A-AF00-4478-8EFF-32534CF8CD3A}" dt="2020-05-14T12:28:44.635" v="26" actId="20577"/>
          <ac:spMkLst>
            <pc:docMk/>
            <pc:sldMk cId="0" sldId="306"/>
            <ac:spMk id="3" creationId="{C4995A56-2789-4D75-9053-88944ECD7BE1}"/>
          </ac:spMkLst>
        </pc:spChg>
      </pc:sldChg>
      <pc:sldMasterChg chg="delSldLayout">
        <pc:chgData name="Kate Brickson" userId="433ac5e7-e7b7-490b-8a44-601ba6d33589" providerId="ADAL" clId="{EAA9B00A-AF00-4478-8EFF-32534CF8CD3A}" dt="2020-05-14T12:29:41.994" v="87" actId="2696"/>
        <pc:sldMasterMkLst>
          <pc:docMk/>
          <pc:sldMasterMk cId="0" sldId="2147484054"/>
        </pc:sldMasterMkLst>
      </pc:sldMasterChg>
    </pc:docChg>
  </pc:docChgLst>
  <pc:docChgLst>
    <pc:chgData name="Kate Brickson" userId="433ac5e7-e7b7-490b-8a44-601ba6d33589" providerId="ADAL" clId="{AED8FD80-2DC6-44D8-BB6F-50F1B5F1D05D}"/>
    <pc:docChg chg="custSel modSld">
      <pc:chgData name="Kate Brickson" userId="433ac5e7-e7b7-490b-8a44-601ba6d33589" providerId="ADAL" clId="{AED8FD80-2DC6-44D8-BB6F-50F1B5F1D05D}" dt="2020-07-21T20:03:00.259" v="145" actId="1035"/>
      <pc:docMkLst>
        <pc:docMk/>
      </pc:docMkLst>
      <pc:sldChg chg="modSp modNotesTx">
        <pc:chgData name="Kate Brickson" userId="433ac5e7-e7b7-490b-8a44-601ba6d33589" providerId="ADAL" clId="{AED8FD80-2DC6-44D8-BB6F-50F1B5F1D05D}" dt="2020-07-21T20:02:21.364" v="97" actId="6549"/>
        <pc:sldMkLst>
          <pc:docMk/>
          <pc:sldMk cId="0" sldId="290"/>
        </pc:sldMkLst>
        <pc:spChg chg="mod">
          <ac:chgData name="Kate Brickson" userId="433ac5e7-e7b7-490b-8a44-601ba6d33589" providerId="ADAL" clId="{AED8FD80-2DC6-44D8-BB6F-50F1B5F1D05D}" dt="2020-07-21T20:02:18.392" v="96" actId="20577"/>
          <ac:spMkLst>
            <pc:docMk/>
            <pc:sldMk cId="0" sldId="290"/>
            <ac:spMk id="3" creationId="{3DDC4C97-4694-4FA3-A1C6-32E6107E510E}"/>
          </ac:spMkLst>
        </pc:spChg>
      </pc:sldChg>
      <pc:sldChg chg="delSp modSp modNotesTx">
        <pc:chgData name="Kate Brickson" userId="433ac5e7-e7b7-490b-8a44-601ba6d33589" providerId="ADAL" clId="{AED8FD80-2DC6-44D8-BB6F-50F1B5F1D05D}" dt="2020-07-21T20:03:00.259" v="145" actId="1035"/>
        <pc:sldMkLst>
          <pc:docMk/>
          <pc:sldMk cId="0" sldId="301"/>
        </pc:sldMkLst>
        <pc:picChg chg="del">
          <ac:chgData name="Kate Brickson" userId="433ac5e7-e7b7-490b-8a44-601ba6d33589" providerId="ADAL" clId="{AED8FD80-2DC6-44D8-BB6F-50F1B5F1D05D}" dt="2020-07-21T20:00:30.539" v="0" actId="478"/>
          <ac:picMkLst>
            <pc:docMk/>
            <pc:sldMk cId="0" sldId="301"/>
            <ac:picMk id="12291" creationId="{25C13133-7D08-498B-B25A-82AA51DE4E3D}"/>
          </ac:picMkLst>
        </pc:picChg>
        <pc:picChg chg="mod">
          <ac:chgData name="Kate Brickson" userId="433ac5e7-e7b7-490b-8a44-601ba6d33589" providerId="ADAL" clId="{AED8FD80-2DC6-44D8-BB6F-50F1B5F1D05D}" dt="2020-07-21T20:02:40.174" v="99" actId="1035"/>
          <ac:picMkLst>
            <pc:docMk/>
            <pc:sldMk cId="0" sldId="301"/>
            <ac:picMk id="12292" creationId="{7D490B15-3603-4826-83E6-B7D494F77E2D}"/>
          </ac:picMkLst>
        </pc:picChg>
        <pc:picChg chg="mod">
          <ac:chgData name="Kate Brickson" userId="433ac5e7-e7b7-490b-8a44-601ba6d33589" providerId="ADAL" clId="{AED8FD80-2DC6-44D8-BB6F-50F1B5F1D05D}" dt="2020-07-21T20:03:00.259" v="145" actId="1035"/>
          <ac:picMkLst>
            <pc:docMk/>
            <pc:sldMk cId="0" sldId="301"/>
            <ac:picMk id="12293" creationId="{7D36A2DB-04A6-49B9-8C55-AF80B7AE130C}"/>
          </ac:picMkLst>
        </pc:picChg>
      </pc:sldChg>
    </pc:docChg>
  </pc:docChgLst>
  <pc:docChgLst>
    <pc:chgData name="Kate Brickson" userId="433ac5e7-e7b7-490b-8a44-601ba6d33589" providerId="ADAL" clId="{20A5A1A5-09E3-4C45-AEF2-0BB263F14B92}"/>
    <pc:docChg chg="custSel addSld delSld modSld">
      <pc:chgData name="Kate Brickson" userId="433ac5e7-e7b7-490b-8a44-601ba6d33589" providerId="ADAL" clId="{20A5A1A5-09E3-4C45-AEF2-0BB263F14B92}" dt="2020-06-20T14:26:01.302" v="593" actId="20577"/>
      <pc:docMkLst>
        <pc:docMk/>
      </pc:docMkLst>
      <pc:sldChg chg="modNotesTx">
        <pc:chgData name="Kate Brickson" userId="433ac5e7-e7b7-490b-8a44-601ba6d33589" providerId="ADAL" clId="{20A5A1A5-09E3-4C45-AEF2-0BB263F14B92}" dt="2020-06-20T14:24:30.399" v="492" actId="207"/>
        <pc:sldMkLst>
          <pc:docMk/>
          <pc:sldMk cId="0" sldId="276"/>
        </pc:sldMkLst>
      </pc:sldChg>
      <pc:sldChg chg="modSp modNotesTx">
        <pc:chgData name="Kate Brickson" userId="433ac5e7-e7b7-490b-8a44-601ba6d33589" providerId="ADAL" clId="{20A5A1A5-09E3-4C45-AEF2-0BB263F14B92}" dt="2020-06-10T21:59:32.908" v="451" actId="27636"/>
        <pc:sldMkLst>
          <pc:docMk/>
          <pc:sldMk cId="0" sldId="290"/>
        </pc:sldMkLst>
        <pc:spChg chg="mod">
          <ac:chgData name="Kate Brickson" userId="433ac5e7-e7b7-490b-8a44-601ba6d33589" providerId="ADAL" clId="{20A5A1A5-09E3-4C45-AEF2-0BB263F14B92}" dt="2020-06-10T21:59:32.908" v="451" actId="27636"/>
          <ac:spMkLst>
            <pc:docMk/>
            <pc:sldMk cId="0" sldId="290"/>
            <ac:spMk id="3" creationId="{3DDC4C97-4694-4FA3-A1C6-32E6107E510E}"/>
          </ac:spMkLst>
        </pc:spChg>
      </pc:sldChg>
      <pc:sldChg chg="delSp modSp modNotesTx">
        <pc:chgData name="Kate Brickson" userId="433ac5e7-e7b7-490b-8a44-601ba6d33589" providerId="ADAL" clId="{20A5A1A5-09E3-4C45-AEF2-0BB263F14B92}" dt="2020-06-20T14:26:01.302" v="593" actId="20577"/>
        <pc:sldMkLst>
          <pc:docMk/>
          <pc:sldMk cId="0" sldId="301"/>
        </pc:sldMkLst>
        <pc:grpChg chg="del">
          <ac:chgData name="Kate Brickson" userId="433ac5e7-e7b7-490b-8a44-601ba6d33589" providerId="ADAL" clId="{20A5A1A5-09E3-4C45-AEF2-0BB263F14B92}" dt="2020-05-27T18:29:48.376" v="51" actId="478"/>
          <ac:grpSpMkLst>
            <pc:docMk/>
            <pc:sldMk cId="0" sldId="301"/>
            <ac:grpSpMk id="8" creationId="{0E49410E-8B23-470B-BCF3-DC3D38416355}"/>
          </ac:grpSpMkLst>
        </pc:grpChg>
        <pc:picChg chg="mod">
          <ac:chgData name="Kate Brickson" userId="433ac5e7-e7b7-490b-8a44-601ba6d33589" providerId="ADAL" clId="{20A5A1A5-09E3-4C45-AEF2-0BB263F14B92}" dt="2020-06-10T18:34:30.679" v="53" actId="1076"/>
          <ac:picMkLst>
            <pc:docMk/>
            <pc:sldMk cId="0" sldId="301"/>
            <ac:picMk id="12292" creationId="{7D490B15-3603-4826-83E6-B7D494F77E2D}"/>
          </ac:picMkLst>
        </pc:picChg>
        <pc:picChg chg="mod">
          <ac:chgData name="Kate Brickson" userId="433ac5e7-e7b7-490b-8a44-601ba6d33589" providerId="ADAL" clId="{20A5A1A5-09E3-4C45-AEF2-0BB263F14B92}" dt="2020-06-20T14:24:45.549" v="496" actId="1035"/>
          <ac:picMkLst>
            <pc:docMk/>
            <pc:sldMk cId="0" sldId="301"/>
            <ac:picMk id="12293" creationId="{7D36A2DB-04A6-49B9-8C55-AF80B7AE130C}"/>
          </ac:picMkLst>
        </pc:picChg>
      </pc:sldChg>
      <pc:sldChg chg="modSp">
        <pc:chgData name="Kate Brickson" userId="433ac5e7-e7b7-490b-8a44-601ba6d33589" providerId="ADAL" clId="{20A5A1A5-09E3-4C45-AEF2-0BB263F14B92}" dt="2020-06-10T21:55:59.438" v="443" actId="14100"/>
        <pc:sldMkLst>
          <pc:docMk/>
          <pc:sldMk cId="0" sldId="302"/>
        </pc:sldMkLst>
        <pc:spChg chg="mod">
          <ac:chgData name="Kate Brickson" userId="433ac5e7-e7b7-490b-8a44-601ba6d33589" providerId="ADAL" clId="{20A5A1A5-09E3-4C45-AEF2-0BB263F14B92}" dt="2020-06-10T21:55:59.438" v="443" actId="14100"/>
          <ac:spMkLst>
            <pc:docMk/>
            <pc:sldMk cId="0" sldId="302"/>
            <ac:spMk id="3" creationId="{18F46198-883E-4E94-86AE-9382E5D57ECD}"/>
          </ac:spMkLst>
        </pc:spChg>
      </pc:sldChg>
      <pc:sldChg chg="modSp">
        <pc:chgData name="Kate Brickson" userId="433ac5e7-e7b7-490b-8a44-601ba6d33589" providerId="ADAL" clId="{20A5A1A5-09E3-4C45-AEF2-0BB263F14B92}" dt="2020-05-14T14:25:20.600" v="50" actId="14100"/>
        <pc:sldMkLst>
          <pc:docMk/>
          <pc:sldMk cId="0" sldId="306"/>
        </pc:sldMkLst>
        <pc:spChg chg="mod">
          <ac:chgData name="Kate Brickson" userId="433ac5e7-e7b7-490b-8a44-601ba6d33589" providerId="ADAL" clId="{20A5A1A5-09E3-4C45-AEF2-0BB263F14B92}" dt="2020-05-14T14:25:20.600" v="50" actId="14100"/>
          <ac:spMkLst>
            <pc:docMk/>
            <pc:sldMk cId="0" sldId="306"/>
            <ac:spMk id="3" creationId="{C4995A56-2789-4D75-9053-88944ECD7BE1}"/>
          </ac:spMkLst>
        </pc:spChg>
      </pc:sldChg>
    </pc:docChg>
  </pc:docChgLst>
  <pc:docChgLst>
    <pc:chgData name="Alex Wilson" userId="S::awilson@jhpiego.org::be77e4dd-1b3c-48b4-a41f-000304a595a0" providerId="AD" clId="Web-{6E9C86F9-5876-B1AB-C4E3-7B7734CAE768}"/>
    <pc:docChg chg="modSld">
      <pc:chgData name="Alex Wilson" userId="S::awilson@jhpiego.org::be77e4dd-1b3c-48b4-a41f-000304a595a0" providerId="AD" clId="Web-{6E9C86F9-5876-B1AB-C4E3-7B7734CAE768}" dt="2020-09-03T21:16:40.943" v="1"/>
      <pc:docMkLst>
        <pc:docMk/>
      </pc:docMkLst>
      <pc:sldChg chg="addSp delSp">
        <pc:chgData name="Alex Wilson" userId="S::awilson@jhpiego.org::be77e4dd-1b3c-48b4-a41f-000304a595a0" providerId="AD" clId="Web-{6E9C86F9-5876-B1AB-C4E3-7B7734CAE768}" dt="2020-09-03T21:16:40.943" v="1"/>
        <pc:sldMkLst>
          <pc:docMk/>
          <pc:sldMk cId="0" sldId="301"/>
        </pc:sldMkLst>
        <pc:picChg chg="add del">
          <ac:chgData name="Alex Wilson" userId="S::awilson@jhpiego.org::be77e4dd-1b3c-48b4-a41f-000304a595a0" providerId="AD" clId="Web-{6E9C86F9-5876-B1AB-C4E3-7B7734CAE768}" dt="2020-09-03T21:16:40.943" v="1"/>
          <ac:picMkLst>
            <pc:docMk/>
            <pc:sldMk cId="0" sldId="301"/>
            <ac:picMk id="5" creationId="{4537D17B-E1A3-469B-A757-9EBF574E7D87}"/>
          </ac:picMkLst>
        </pc:picChg>
      </pc:sldChg>
    </pc:docChg>
  </pc:docChgLst>
  <pc:docChgLst>
    <pc:chgData name="Kate Brickson" userId="433ac5e7-e7b7-490b-8a44-601ba6d33589" providerId="ADAL" clId="{3DE9A8FD-FF45-4FD8-8CB0-A36A412AB865}"/>
    <pc:docChg chg="undo custSel modSld modMainMaster">
      <pc:chgData name="Kate Brickson" userId="433ac5e7-e7b7-490b-8a44-601ba6d33589" providerId="ADAL" clId="{3DE9A8FD-FF45-4FD8-8CB0-A36A412AB865}" dt="2020-07-21T19:59:24.712" v="26" actId="478"/>
      <pc:docMkLst>
        <pc:docMk/>
      </pc:docMkLst>
      <pc:sldChg chg="addSp delSp modSp">
        <pc:chgData name="Kate Brickson" userId="433ac5e7-e7b7-490b-8a44-601ba6d33589" providerId="ADAL" clId="{3DE9A8FD-FF45-4FD8-8CB0-A36A412AB865}" dt="2020-07-21T19:54:50.628" v="1"/>
        <pc:sldMkLst>
          <pc:docMk/>
          <pc:sldMk cId="0" sldId="276"/>
        </pc:sldMkLst>
        <pc:spChg chg="add del mod">
          <ac:chgData name="Kate Brickson" userId="433ac5e7-e7b7-490b-8a44-601ba6d33589" providerId="ADAL" clId="{3DE9A8FD-FF45-4FD8-8CB0-A36A412AB865}" dt="2020-07-21T19:54:50.628" v="1"/>
          <ac:spMkLst>
            <pc:docMk/>
            <pc:sldMk cId="0" sldId="276"/>
            <ac:spMk id="3" creationId="{B1C72E1B-8A1E-46B2-B609-542005C7F656}"/>
          </ac:spMkLst>
        </pc:spChg>
        <pc:spChg chg="add del mod">
          <ac:chgData name="Kate Brickson" userId="433ac5e7-e7b7-490b-8a44-601ba6d33589" providerId="ADAL" clId="{3DE9A8FD-FF45-4FD8-8CB0-A36A412AB865}" dt="2020-07-21T19:54:50.628" v="1"/>
          <ac:spMkLst>
            <pc:docMk/>
            <pc:sldMk cId="0" sldId="276"/>
            <ac:spMk id="5" creationId="{75F24558-3AD2-43C4-B195-487BF5200267}"/>
          </ac:spMkLst>
        </pc:spChg>
      </pc:sldChg>
      <pc:sldMasterChg chg="delSldLayout modSldLayout">
        <pc:chgData name="Kate Brickson" userId="433ac5e7-e7b7-490b-8a44-601ba6d33589" providerId="ADAL" clId="{3DE9A8FD-FF45-4FD8-8CB0-A36A412AB865}" dt="2020-07-21T19:59:24.712" v="26" actId="478"/>
        <pc:sldMasterMkLst>
          <pc:docMk/>
          <pc:sldMasterMk cId="0" sldId="2147484054"/>
        </pc:sldMasterMkLst>
        <pc:sldLayoutChg chg="del">
          <pc:chgData name="Kate Brickson" userId="433ac5e7-e7b7-490b-8a44-601ba6d33589" providerId="ADAL" clId="{3DE9A8FD-FF45-4FD8-8CB0-A36A412AB865}" dt="2020-07-21T19:55:47.179" v="2" actId="2696"/>
          <pc:sldLayoutMkLst>
            <pc:docMk/>
            <pc:sldMasterMk cId="0" sldId="2147484054"/>
            <pc:sldLayoutMk cId="4080410124" sldId="2147484600"/>
          </pc:sldLayoutMkLst>
        </pc:sldLayoutChg>
        <pc:sldLayoutChg chg="delSp modSp">
          <pc:chgData name="Kate Brickson" userId="433ac5e7-e7b7-490b-8a44-601ba6d33589" providerId="ADAL" clId="{3DE9A8FD-FF45-4FD8-8CB0-A36A412AB865}" dt="2020-07-21T19:58:11.653" v="13" actId="1076"/>
          <pc:sldLayoutMkLst>
            <pc:docMk/>
            <pc:sldMasterMk cId="0" sldId="2147484054"/>
            <pc:sldLayoutMk cId="2660663696" sldId="2147484601"/>
          </pc:sldLayoutMkLst>
          <pc:spChg chg="del">
            <ac:chgData name="Kate Brickson" userId="433ac5e7-e7b7-490b-8a44-601ba6d33589" providerId="ADAL" clId="{3DE9A8FD-FF45-4FD8-8CB0-A36A412AB865}" dt="2020-07-21T19:58:07.888" v="12" actId="478"/>
            <ac:spMkLst>
              <pc:docMk/>
              <pc:sldMasterMk cId="0" sldId="2147484054"/>
              <pc:sldLayoutMk cId="2660663696" sldId="2147484601"/>
              <ac:spMk id="5" creationId="{6E1C082B-12BB-4F31-B8E4-62869560F933}"/>
            </ac:spMkLst>
          </pc:spChg>
          <pc:spChg chg="del">
            <ac:chgData name="Kate Brickson" userId="433ac5e7-e7b7-490b-8a44-601ba6d33589" providerId="ADAL" clId="{3DE9A8FD-FF45-4FD8-8CB0-A36A412AB865}" dt="2020-07-21T19:58:04.580" v="11" actId="478"/>
            <ac:spMkLst>
              <pc:docMk/>
              <pc:sldMasterMk cId="0" sldId="2147484054"/>
              <pc:sldLayoutMk cId="2660663696" sldId="2147484601"/>
              <ac:spMk id="6" creationId="{5EB7E03F-1DE4-4D11-A538-145172B57543}"/>
            </ac:spMkLst>
          </pc:spChg>
          <pc:spChg chg="mod">
            <ac:chgData name="Kate Brickson" userId="433ac5e7-e7b7-490b-8a44-601ba6d33589" providerId="ADAL" clId="{3DE9A8FD-FF45-4FD8-8CB0-A36A412AB865}" dt="2020-07-21T19:58:11.653" v="13" actId="1076"/>
            <ac:spMkLst>
              <pc:docMk/>
              <pc:sldMasterMk cId="0" sldId="2147484054"/>
              <pc:sldLayoutMk cId="2660663696" sldId="2147484601"/>
              <ac:spMk id="8" creationId="{00000000-0000-0000-0000-000000000000}"/>
            </ac:spMkLst>
          </pc:spChg>
        </pc:sldLayoutChg>
        <pc:sldLayoutChg chg="delSp">
          <pc:chgData name="Kate Brickson" userId="433ac5e7-e7b7-490b-8a44-601ba6d33589" providerId="ADAL" clId="{3DE9A8FD-FF45-4FD8-8CB0-A36A412AB865}" dt="2020-07-21T19:58:19.941" v="15" actId="478"/>
          <pc:sldLayoutMkLst>
            <pc:docMk/>
            <pc:sldMasterMk cId="0" sldId="2147484054"/>
            <pc:sldLayoutMk cId="624669969" sldId="2147484602"/>
          </pc:sldLayoutMkLst>
          <pc:spChg chg="del">
            <ac:chgData name="Kate Brickson" userId="433ac5e7-e7b7-490b-8a44-601ba6d33589" providerId="ADAL" clId="{3DE9A8FD-FF45-4FD8-8CB0-A36A412AB865}" dt="2020-07-21T19:58:19.941" v="15" actId="478"/>
            <ac:spMkLst>
              <pc:docMk/>
              <pc:sldMasterMk cId="0" sldId="2147484054"/>
              <pc:sldLayoutMk cId="624669969" sldId="2147484602"/>
              <ac:spMk id="7" creationId="{F98F4599-7B32-442B-8B7A-5389BC6AC3FF}"/>
            </ac:spMkLst>
          </pc:spChg>
          <pc:spChg chg="del">
            <ac:chgData name="Kate Brickson" userId="433ac5e7-e7b7-490b-8a44-601ba6d33589" providerId="ADAL" clId="{3DE9A8FD-FF45-4FD8-8CB0-A36A412AB865}" dt="2020-07-21T19:58:17.336" v="14" actId="478"/>
            <ac:spMkLst>
              <pc:docMk/>
              <pc:sldMasterMk cId="0" sldId="2147484054"/>
              <pc:sldLayoutMk cId="624669969" sldId="2147484602"/>
              <ac:spMk id="8" creationId="{12525C66-843C-4BE6-9B6B-308F94C58426}"/>
            </ac:spMkLst>
          </pc:spChg>
        </pc:sldLayoutChg>
        <pc:sldLayoutChg chg="del">
          <pc:chgData name="Kate Brickson" userId="433ac5e7-e7b7-490b-8a44-601ba6d33589" providerId="ADAL" clId="{3DE9A8FD-FF45-4FD8-8CB0-A36A412AB865}" dt="2020-07-21T19:58:40.483" v="16" actId="2696"/>
          <pc:sldLayoutMkLst>
            <pc:docMk/>
            <pc:sldMasterMk cId="0" sldId="2147484054"/>
            <pc:sldLayoutMk cId="3493082532" sldId="2147484603"/>
          </pc:sldLayoutMkLst>
        </pc:sldLayoutChg>
        <pc:sldLayoutChg chg="del">
          <pc:chgData name="Kate Brickson" userId="433ac5e7-e7b7-490b-8a44-601ba6d33589" providerId="ADAL" clId="{3DE9A8FD-FF45-4FD8-8CB0-A36A412AB865}" dt="2020-07-21T19:58:44.052" v="17" actId="2696"/>
          <pc:sldLayoutMkLst>
            <pc:docMk/>
            <pc:sldMasterMk cId="0" sldId="2147484054"/>
            <pc:sldLayoutMk cId="3848065889" sldId="2147484604"/>
          </pc:sldLayoutMkLst>
        </pc:sldLayoutChg>
        <pc:sldLayoutChg chg="addSp delSp">
          <pc:chgData name="Kate Brickson" userId="433ac5e7-e7b7-490b-8a44-601ba6d33589" providerId="ADAL" clId="{3DE9A8FD-FF45-4FD8-8CB0-A36A412AB865}" dt="2020-07-21T19:59:24.712" v="26" actId="478"/>
          <pc:sldLayoutMkLst>
            <pc:docMk/>
            <pc:sldMasterMk cId="0" sldId="2147484054"/>
            <pc:sldLayoutMk cId="2673352175" sldId="2147484607"/>
          </pc:sldLayoutMkLst>
          <pc:spChg chg="add del">
            <ac:chgData name="Kate Brickson" userId="433ac5e7-e7b7-490b-8a44-601ba6d33589" providerId="ADAL" clId="{3DE9A8FD-FF45-4FD8-8CB0-A36A412AB865}" dt="2020-07-21T19:59:22.956" v="25" actId="478"/>
            <ac:spMkLst>
              <pc:docMk/>
              <pc:sldMasterMk cId="0" sldId="2147484054"/>
              <pc:sldLayoutMk cId="2673352175" sldId="2147484607"/>
              <ac:spMk id="4" creationId="{A1FCE274-A9F0-4625-97A9-ED7529B83C8C}"/>
            </ac:spMkLst>
          </pc:spChg>
          <pc:spChg chg="del">
            <ac:chgData name="Kate Brickson" userId="433ac5e7-e7b7-490b-8a44-601ba6d33589" providerId="ADAL" clId="{3DE9A8FD-FF45-4FD8-8CB0-A36A412AB865}" dt="2020-07-21T19:59:24.712" v="26" actId="478"/>
            <ac:spMkLst>
              <pc:docMk/>
              <pc:sldMasterMk cId="0" sldId="2147484054"/>
              <pc:sldLayoutMk cId="2673352175" sldId="2147484607"/>
              <ac:spMk id="9" creationId="{886550AB-6E49-457D-A589-16FF4518752D}"/>
            </ac:spMkLst>
          </pc:spChg>
          <pc:spChg chg="del">
            <ac:chgData name="Kate Brickson" userId="433ac5e7-e7b7-490b-8a44-601ba6d33589" providerId="ADAL" clId="{3DE9A8FD-FF45-4FD8-8CB0-A36A412AB865}" dt="2020-07-21T19:59:19.715" v="23" actId="478"/>
            <ac:spMkLst>
              <pc:docMk/>
              <pc:sldMasterMk cId="0" sldId="2147484054"/>
              <pc:sldLayoutMk cId="2673352175" sldId="2147484607"/>
              <ac:spMk id="10" creationId="{80652EC9-D60E-48FF-9A8A-E495FDC86018}"/>
            </ac:spMkLst>
          </pc:spChg>
        </pc:sldLayoutChg>
        <pc:sldLayoutChg chg="addSp delSp">
          <pc:chgData name="Kate Brickson" userId="433ac5e7-e7b7-490b-8a44-601ba6d33589" providerId="ADAL" clId="{3DE9A8FD-FF45-4FD8-8CB0-A36A412AB865}" dt="2020-07-21T19:57:37.607" v="6" actId="478"/>
          <pc:sldLayoutMkLst>
            <pc:docMk/>
            <pc:sldMasterMk cId="0" sldId="2147484054"/>
            <pc:sldLayoutMk cId="3126358604" sldId="2147484608"/>
          </pc:sldLayoutMkLst>
          <pc:spChg chg="add del">
            <ac:chgData name="Kate Brickson" userId="433ac5e7-e7b7-490b-8a44-601ba6d33589" providerId="ADAL" clId="{3DE9A8FD-FF45-4FD8-8CB0-A36A412AB865}" dt="2020-07-21T19:57:30.076" v="4" actId="478"/>
            <ac:spMkLst>
              <pc:docMk/>
              <pc:sldMasterMk cId="0" sldId="2147484054"/>
              <pc:sldLayoutMk cId="3126358604" sldId="2147484608"/>
              <ac:spMk id="4" creationId="{8C9921F0-C1FF-4CC9-8E71-1A99DD2CB89D}"/>
            </ac:spMkLst>
          </pc:spChg>
          <pc:spChg chg="del">
            <ac:chgData name="Kate Brickson" userId="433ac5e7-e7b7-490b-8a44-601ba6d33589" providerId="ADAL" clId="{3DE9A8FD-FF45-4FD8-8CB0-A36A412AB865}" dt="2020-07-21T19:57:37.607" v="6" actId="478"/>
            <ac:spMkLst>
              <pc:docMk/>
              <pc:sldMasterMk cId="0" sldId="2147484054"/>
              <pc:sldLayoutMk cId="3126358604" sldId="2147484608"/>
              <ac:spMk id="7" creationId="{972B0F07-3131-425D-A5A4-776B4401740F}"/>
            </ac:spMkLst>
          </pc:spChg>
          <pc:spChg chg="del">
            <ac:chgData name="Kate Brickson" userId="433ac5e7-e7b7-490b-8a44-601ba6d33589" providerId="ADAL" clId="{3DE9A8FD-FF45-4FD8-8CB0-A36A412AB865}" dt="2020-07-21T19:57:33.467" v="5" actId="478"/>
            <ac:spMkLst>
              <pc:docMk/>
              <pc:sldMasterMk cId="0" sldId="2147484054"/>
              <pc:sldLayoutMk cId="3126358604" sldId="2147484608"/>
              <ac:spMk id="8" creationId="{EEDEFC66-33E5-49A0-BC89-3C3ED986076A}"/>
            </ac:spMkLst>
          </pc:spChg>
        </pc:sldLayoutChg>
        <pc:sldLayoutChg chg="delSp modSp">
          <pc:chgData name="Kate Brickson" userId="433ac5e7-e7b7-490b-8a44-601ba6d33589" providerId="ADAL" clId="{3DE9A8FD-FF45-4FD8-8CB0-A36A412AB865}" dt="2020-07-21T19:58:00.275" v="10" actId="478"/>
          <pc:sldLayoutMkLst>
            <pc:docMk/>
            <pc:sldMasterMk cId="0" sldId="2147484054"/>
            <pc:sldLayoutMk cId="2362003179" sldId="2147484609"/>
          </pc:sldLayoutMkLst>
          <pc:spChg chg="mod">
            <ac:chgData name="Kate Brickson" userId="433ac5e7-e7b7-490b-8a44-601ba6d33589" providerId="ADAL" clId="{3DE9A8FD-FF45-4FD8-8CB0-A36A412AB865}" dt="2020-07-21T19:57:58.106" v="9" actId="20577"/>
            <ac:spMkLst>
              <pc:docMk/>
              <pc:sldMasterMk cId="0" sldId="2147484054"/>
              <pc:sldLayoutMk cId="2362003179" sldId="2147484609"/>
              <ac:spMk id="4" creationId="{C00DDF0D-AB9E-4926-946C-32BDC0E2A274}"/>
            </ac:spMkLst>
          </pc:spChg>
          <pc:spChg chg="del">
            <ac:chgData name="Kate Brickson" userId="433ac5e7-e7b7-490b-8a44-601ba6d33589" providerId="ADAL" clId="{3DE9A8FD-FF45-4FD8-8CB0-A36A412AB865}" dt="2020-07-21T19:58:00.275" v="10" actId="478"/>
            <ac:spMkLst>
              <pc:docMk/>
              <pc:sldMasterMk cId="0" sldId="2147484054"/>
              <pc:sldLayoutMk cId="2362003179" sldId="2147484609"/>
              <ac:spMk id="7" creationId="{0913093C-86E2-4BF2-9679-74AD2ABCE6C2}"/>
            </ac:spMkLst>
          </pc:spChg>
          <pc:spChg chg="del mod">
            <ac:chgData name="Kate Brickson" userId="433ac5e7-e7b7-490b-8a44-601ba6d33589" providerId="ADAL" clId="{3DE9A8FD-FF45-4FD8-8CB0-A36A412AB865}" dt="2020-07-21T19:57:49.757" v="8" actId="478"/>
            <ac:spMkLst>
              <pc:docMk/>
              <pc:sldMasterMk cId="0" sldId="2147484054"/>
              <pc:sldLayoutMk cId="2362003179" sldId="2147484609"/>
              <ac:spMk id="8" creationId="{5325E9DD-8C90-435C-A369-F3EF5CF0D0E7}"/>
            </ac:spMkLst>
          </pc:spChg>
        </pc:sldLayoutChg>
        <pc:sldLayoutChg chg="delSp">
          <pc:chgData name="Kate Brickson" userId="433ac5e7-e7b7-490b-8a44-601ba6d33589" providerId="ADAL" clId="{3DE9A8FD-FF45-4FD8-8CB0-A36A412AB865}" dt="2020-07-21T19:58:55.758" v="19" actId="478"/>
          <pc:sldLayoutMkLst>
            <pc:docMk/>
            <pc:sldMasterMk cId="0" sldId="2147484054"/>
            <pc:sldLayoutMk cId="764281478" sldId="2147484610"/>
          </pc:sldLayoutMkLst>
          <pc:spChg chg="del">
            <ac:chgData name="Kate Brickson" userId="433ac5e7-e7b7-490b-8a44-601ba6d33589" providerId="ADAL" clId="{3DE9A8FD-FF45-4FD8-8CB0-A36A412AB865}" dt="2020-07-21T19:58:55.758" v="19" actId="478"/>
            <ac:spMkLst>
              <pc:docMk/>
              <pc:sldMasterMk cId="0" sldId="2147484054"/>
              <pc:sldLayoutMk cId="764281478" sldId="2147484610"/>
              <ac:spMk id="7" creationId="{E5AEF8E0-633B-40FE-98FC-5E769A7CB569}"/>
            </ac:spMkLst>
          </pc:spChg>
          <pc:spChg chg="del">
            <ac:chgData name="Kate Brickson" userId="433ac5e7-e7b7-490b-8a44-601ba6d33589" providerId="ADAL" clId="{3DE9A8FD-FF45-4FD8-8CB0-A36A412AB865}" dt="2020-07-21T19:58:47.715" v="18" actId="478"/>
            <ac:spMkLst>
              <pc:docMk/>
              <pc:sldMasterMk cId="0" sldId="2147484054"/>
              <pc:sldLayoutMk cId="764281478" sldId="2147484610"/>
              <ac:spMk id="8" creationId="{BFC0CB05-3F13-4E4E-BD07-B512F5EE631D}"/>
            </ac:spMkLst>
          </pc:spChg>
        </pc:sldLayoutChg>
        <pc:sldLayoutChg chg="delSp modSp">
          <pc:chgData name="Kate Brickson" userId="433ac5e7-e7b7-490b-8a44-601ba6d33589" providerId="ADAL" clId="{3DE9A8FD-FF45-4FD8-8CB0-A36A412AB865}" dt="2020-07-21T19:59:05.279" v="22" actId="478"/>
          <pc:sldLayoutMkLst>
            <pc:docMk/>
            <pc:sldMasterMk cId="0" sldId="2147484054"/>
            <pc:sldLayoutMk cId="2246743224" sldId="2147484611"/>
          </pc:sldLayoutMkLst>
          <pc:spChg chg="del">
            <ac:chgData name="Kate Brickson" userId="433ac5e7-e7b7-490b-8a44-601ba6d33589" providerId="ADAL" clId="{3DE9A8FD-FF45-4FD8-8CB0-A36A412AB865}" dt="2020-07-21T19:59:05.279" v="22" actId="478"/>
            <ac:spMkLst>
              <pc:docMk/>
              <pc:sldMasterMk cId="0" sldId="2147484054"/>
              <pc:sldLayoutMk cId="2246743224" sldId="2147484611"/>
              <ac:spMk id="7" creationId="{BA9FB837-9092-4C56-A4EC-29C913F8E783}"/>
            </ac:spMkLst>
          </pc:spChg>
          <pc:spChg chg="del mod">
            <ac:chgData name="Kate Brickson" userId="433ac5e7-e7b7-490b-8a44-601ba6d33589" providerId="ADAL" clId="{3DE9A8FD-FF45-4FD8-8CB0-A36A412AB865}" dt="2020-07-21T19:59:00.828" v="21" actId="478"/>
            <ac:spMkLst>
              <pc:docMk/>
              <pc:sldMasterMk cId="0" sldId="2147484054"/>
              <pc:sldLayoutMk cId="2246743224" sldId="2147484611"/>
              <ac:spMk id="8" creationId="{BA48D737-768B-4409-B8F8-777806BD01B4}"/>
            </ac:spMkLst>
          </pc:spChg>
        </pc:sldLayoutChg>
      </pc:sldMasterChg>
    </pc:docChg>
  </pc:docChgLst>
  <pc:docChgLst>
    <pc:chgData name="Megan McAndrew" userId="891b3440-3463-4085-ae5d-a1721d44918f" providerId="ADAL" clId="{2D5BC2C3-9CEE-41F3-AD4F-7AAD5341B046}"/>
    <pc:docChg chg="custSel addSld delSld modSld">
      <pc:chgData name="Megan McAndrew" userId="891b3440-3463-4085-ae5d-a1721d44918f" providerId="ADAL" clId="{2D5BC2C3-9CEE-41F3-AD4F-7AAD5341B046}" dt="2020-07-17T16:41:28.024" v="18" actId="20577"/>
      <pc:docMkLst>
        <pc:docMk/>
      </pc:docMkLst>
      <pc:sldChg chg="delSp">
        <pc:chgData name="Megan McAndrew" userId="891b3440-3463-4085-ae5d-a1721d44918f" providerId="ADAL" clId="{2D5BC2C3-9CEE-41F3-AD4F-7AAD5341B046}" dt="2020-07-17T16:13:30.854" v="0" actId="478"/>
        <pc:sldMkLst>
          <pc:docMk/>
          <pc:sldMk cId="0" sldId="276"/>
        </pc:sldMkLst>
        <pc:spChg chg="del">
          <ac:chgData name="Megan McAndrew" userId="891b3440-3463-4085-ae5d-a1721d44918f" providerId="ADAL" clId="{2D5BC2C3-9CEE-41F3-AD4F-7AAD5341B046}" dt="2020-07-17T16:13:30.854" v="0" actId="478"/>
          <ac:spMkLst>
            <pc:docMk/>
            <pc:sldMk cId="0" sldId="276"/>
            <ac:spMk id="3" creationId="{C150C195-E3FF-438D-959E-8F864E5B425D}"/>
          </ac:spMkLst>
        </pc:spChg>
      </pc:sldChg>
      <pc:sldChg chg="delSp">
        <pc:chgData name="Megan McAndrew" userId="891b3440-3463-4085-ae5d-a1721d44918f" providerId="ADAL" clId="{2D5BC2C3-9CEE-41F3-AD4F-7AAD5341B046}" dt="2020-07-17T16:13:58.254" v="3" actId="478"/>
        <pc:sldMkLst>
          <pc:docMk/>
          <pc:sldMk cId="0" sldId="290"/>
        </pc:sldMkLst>
        <pc:spChg chg="del">
          <ac:chgData name="Megan McAndrew" userId="891b3440-3463-4085-ae5d-a1721d44918f" providerId="ADAL" clId="{2D5BC2C3-9CEE-41F3-AD4F-7AAD5341B046}" dt="2020-07-17T16:13:58.254" v="3" actId="478"/>
          <ac:spMkLst>
            <pc:docMk/>
            <pc:sldMk cId="0" sldId="290"/>
            <ac:spMk id="5" creationId="{0DC4E6AB-2687-46C9-A297-E274888C4911}"/>
          </ac:spMkLst>
        </pc:spChg>
      </pc:sldChg>
      <pc:sldChg chg="delSp modSp">
        <pc:chgData name="Megan McAndrew" userId="891b3440-3463-4085-ae5d-a1721d44918f" providerId="ADAL" clId="{2D5BC2C3-9CEE-41F3-AD4F-7AAD5341B046}" dt="2020-07-17T16:31:21.765" v="5" actId="5793"/>
        <pc:sldMkLst>
          <pc:docMk/>
          <pc:sldMk cId="0" sldId="302"/>
        </pc:sldMkLst>
        <pc:spChg chg="del">
          <ac:chgData name="Megan McAndrew" userId="891b3440-3463-4085-ae5d-a1721d44918f" providerId="ADAL" clId="{2D5BC2C3-9CEE-41F3-AD4F-7AAD5341B046}" dt="2020-07-17T16:13:45.935" v="2" actId="478"/>
          <ac:spMkLst>
            <pc:docMk/>
            <pc:sldMk cId="0" sldId="302"/>
            <ac:spMk id="2" creationId="{9913044F-766A-4132-9B5A-A2871A66933C}"/>
          </ac:spMkLst>
        </pc:spChg>
        <pc:spChg chg="mod">
          <ac:chgData name="Megan McAndrew" userId="891b3440-3463-4085-ae5d-a1721d44918f" providerId="ADAL" clId="{2D5BC2C3-9CEE-41F3-AD4F-7AAD5341B046}" dt="2020-07-17T16:31:21.765" v="5" actId="5793"/>
          <ac:spMkLst>
            <pc:docMk/>
            <pc:sldMk cId="0" sldId="302"/>
            <ac:spMk id="3" creationId="{18F46198-883E-4E94-86AE-9382E5D57ECD}"/>
          </ac:spMkLst>
        </pc:spChg>
      </pc:sldChg>
      <pc:sldChg chg="modSp add">
        <pc:chgData name="Megan McAndrew" userId="891b3440-3463-4085-ae5d-a1721d44918f" providerId="ADAL" clId="{2D5BC2C3-9CEE-41F3-AD4F-7AAD5341B046}" dt="2020-07-17T16:41:28.024" v="18" actId="20577"/>
        <pc:sldMkLst>
          <pc:docMk/>
          <pc:sldMk cId="528095737" sldId="307"/>
        </pc:sldMkLst>
        <pc:spChg chg="mod">
          <ac:chgData name="Megan McAndrew" userId="891b3440-3463-4085-ae5d-a1721d44918f" providerId="ADAL" clId="{2D5BC2C3-9CEE-41F3-AD4F-7AAD5341B046}" dt="2020-07-17T16:41:28.024" v="18" actId="20577"/>
          <ac:spMkLst>
            <pc:docMk/>
            <pc:sldMk cId="528095737" sldId="307"/>
            <ac:spMk id="2" creationId="{7DFA48DF-72A9-4D5D-90F3-CD6277E12EC6}"/>
          </ac:spMkLst>
        </pc:spChg>
      </pc:sldChg>
    </pc:docChg>
  </pc:docChgLst>
</pc:chgInfo>
</file>

<file path=ppt/diagrams/_rels/data1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svg"/><Relationship Id="rId1" Type="http://schemas.openxmlformats.org/officeDocument/2006/relationships/image" Target="../media/image138.png"/><Relationship Id="rId6" Type="http://schemas.openxmlformats.org/officeDocument/2006/relationships/image" Target="../media/image143.svg"/><Relationship Id="rId5" Type="http://schemas.openxmlformats.org/officeDocument/2006/relationships/image" Target="../media/image142.png"/><Relationship Id="rId4" Type="http://schemas.openxmlformats.org/officeDocument/2006/relationships/image" Target="../media/image141.svg"/></Relationships>
</file>

<file path=ppt/diagrams/_rels/data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svg"/><Relationship Id="rId1" Type="http://schemas.openxmlformats.org/officeDocument/2006/relationships/image" Target="../media/image93.png"/><Relationship Id="rId4" Type="http://schemas.openxmlformats.org/officeDocument/2006/relationships/image" Target="../media/image96.svg"/></Relationships>
</file>

<file path=ppt/diagrams/_rels/data6.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jpeg"/><Relationship Id="rId1" Type="http://schemas.openxmlformats.org/officeDocument/2006/relationships/image" Target="../media/image110.jpeg"/></Relationships>
</file>

<file path=ppt/diagrams/_rels/data7.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image" Target="../media/image113.jpeg"/></Relationships>
</file>

<file path=ppt/diagrams/_rels/drawing1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svg"/><Relationship Id="rId1" Type="http://schemas.openxmlformats.org/officeDocument/2006/relationships/image" Target="../media/image138.png"/><Relationship Id="rId6" Type="http://schemas.openxmlformats.org/officeDocument/2006/relationships/image" Target="../media/image143.svg"/><Relationship Id="rId5" Type="http://schemas.openxmlformats.org/officeDocument/2006/relationships/image" Target="../media/image142.png"/><Relationship Id="rId4" Type="http://schemas.openxmlformats.org/officeDocument/2006/relationships/image" Target="../media/image141.svg"/></Relationships>
</file>

<file path=ppt/diagrams/_rels/drawing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svg"/><Relationship Id="rId1" Type="http://schemas.openxmlformats.org/officeDocument/2006/relationships/image" Target="../media/image93.png"/><Relationship Id="rId4" Type="http://schemas.openxmlformats.org/officeDocument/2006/relationships/image" Target="../media/image96.svg"/></Relationships>
</file>

<file path=ppt/diagrams/_rels/drawing6.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jpeg"/><Relationship Id="rId1" Type="http://schemas.openxmlformats.org/officeDocument/2006/relationships/image" Target="../media/image110.jpeg"/></Relationships>
</file>

<file path=ppt/diagrams/_rels/drawing7.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image" Target="../media/image113.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23D1F30-9D05-044F-B755-9843EA6BF91E}"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GB"/>
        </a:p>
      </dgm:t>
    </dgm:pt>
    <dgm:pt modelId="{4A4CB902-18AC-0846-AA25-7813E5A45919}">
      <dgm:prSet phldrT="[Text]" custT="1"/>
      <dgm:spPr/>
      <dgm:t>
        <a:bodyPr/>
        <a:lstStyle/>
        <a:p>
          <a:r>
            <a:rPr lang="en-IN" sz="1600" b="1" u="none" dirty="0">
              <a:latin typeface="+mn-lt"/>
            </a:rPr>
            <a:t>Oxygen Source </a:t>
          </a:r>
          <a:endParaRPr lang="en-GB" sz="1600" b="1" u="none" dirty="0">
            <a:latin typeface="+mn-lt"/>
          </a:endParaRPr>
        </a:p>
      </dgm:t>
    </dgm:pt>
    <dgm:pt modelId="{A5A1A720-180C-4940-BF37-6C8E73850D35}" type="parTrans" cxnId="{C73813B6-2353-2F44-A246-DF9CA0573DD4}">
      <dgm:prSet/>
      <dgm:spPr/>
      <dgm:t>
        <a:bodyPr/>
        <a:lstStyle/>
        <a:p>
          <a:endParaRPr lang="en-GB" sz="1600" u="none">
            <a:latin typeface="+mn-lt"/>
          </a:endParaRPr>
        </a:p>
      </dgm:t>
    </dgm:pt>
    <dgm:pt modelId="{165D421E-B61A-2C49-B3F2-26AFF03F4B8A}" type="sibTrans" cxnId="{C73813B6-2353-2F44-A246-DF9CA0573DD4}">
      <dgm:prSet/>
      <dgm:spPr/>
      <dgm:t>
        <a:bodyPr/>
        <a:lstStyle/>
        <a:p>
          <a:endParaRPr lang="en-GB" sz="1600" u="none">
            <a:latin typeface="+mn-lt"/>
          </a:endParaRPr>
        </a:p>
      </dgm:t>
    </dgm:pt>
    <dgm:pt modelId="{E337973E-77EA-014D-AE18-7CFD03C17BD4}">
      <dgm:prSet phldrT="[Text]" custT="1"/>
      <dgm:spPr/>
      <dgm:t>
        <a:bodyPr/>
        <a:lstStyle/>
        <a:p>
          <a:r>
            <a:rPr lang="en-IN" sz="1600" u="none" dirty="0">
              <a:latin typeface="+mn-lt"/>
            </a:rPr>
            <a:t>Concentrator</a:t>
          </a:r>
          <a:endParaRPr lang="en-GB" sz="1600" u="none" dirty="0">
            <a:latin typeface="+mn-lt"/>
          </a:endParaRPr>
        </a:p>
      </dgm:t>
    </dgm:pt>
    <dgm:pt modelId="{B49A7E0A-3344-6D43-92C9-335F2ABD00F5}" type="parTrans" cxnId="{2655F8EF-C879-B94F-8B16-2BAFF29E945D}">
      <dgm:prSet/>
      <dgm:spPr/>
      <dgm:t>
        <a:bodyPr/>
        <a:lstStyle/>
        <a:p>
          <a:endParaRPr lang="en-GB" sz="1600" u="none">
            <a:latin typeface="+mn-lt"/>
          </a:endParaRPr>
        </a:p>
      </dgm:t>
    </dgm:pt>
    <dgm:pt modelId="{2A1312E9-C757-B343-A045-102BCFB5421E}" type="sibTrans" cxnId="{2655F8EF-C879-B94F-8B16-2BAFF29E945D}">
      <dgm:prSet/>
      <dgm:spPr/>
      <dgm:t>
        <a:bodyPr/>
        <a:lstStyle/>
        <a:p>
          <a:endParaRPr lang="en-GB" sz="1600" u="none">
            <a:latin typeface="+mn-lt"/>
          </a:endParaRPr>
        </a:p>
      </dgm:t>
    </dgm:pt>
    <dgm:pt modelId="{276878CC-DE65-BF48-94D6-631026E8015E}">
      <dgm:prSet phldrT="[Text]" custT="1"/>
      <dgm:spPr/>
      <dgm:t>
        <a:bodyPr/>
        <a:lstStyle/>
        <a:p>
          <a:r>
            <a:rPr lang="en-IN" sz="1600" b="1" u="none" dirty="0">
              <a:latin typeface="+mn-lt"/>
            </a:rPr>
            <a:t>Distribution</a:t>
          </a:r>
          <a:endParaRPr lang="en-GB" sz="1600" b="1" u="none" dirty="0">
            <a:latin typeface="+mn-lt"/>
          </a:endParaRPr>
        </a:p>
      </dgm:t>
    </dgm:pt>
    <dgm:pt modelId="{B11288CF-C2AC-6540-9EB1-216FDE56500A}" type="parTrans" cxnId="{99BFEA1B-2F47-5F40-A555-7367F0D9D1F1}">
      <dgm:prSet/>
      <dgm:spPr/>
      <dgm:t>
        <a:bodyPr/>
        <a:lstStyle/>
        <a:p>
          <a:endParaRPr lang="en-GB" sz="1600" u="none">
            <a:latin typeface="+mn-lt"/>
          </a:endParaRPr>
        </a:p>
      </dgm:t>
    </dgm:pt>
    <dgm:pt modelId="{46553EC8-3392-B14D-A5E4-CA230C8A50C2}" type="sibTrans" cxnId="{99BFEA1B-2F47-5F40-A555-7367F0D9D1F1}">
      <dgm:prSet/>
      <dgm:spPr/>
      <dgm:t>
        <a:bodyPr/>
        <a:lstStyle/>
        <a:p>
          <a:endParaRPr lang="en-GB" sz="1600" u="none">
            <a:latin typeface="+mn-lt"/>
          </a:endParaRPr>
        </a:p>
      </dgm:t>
    </dgm:pt>
    <dgm:pt modelId="{CD77A08C-B2CF-8140-A496-5453A8D6F225}">
      <dgm:prSet phldrT="[Text]" custT="1"/>
      <dgm:spPr/>
      <dgm:t>
        <a:bodyPr/>
        <a:lstStyle/>
        <a:p>
          <a:r>
            <a:rPr lang="en-IN" sz="1600" u="none" dirty="0">
              <a:latin typeface="+mn-lt"/>
            </a:rPr>
            <a:t>Central or sub-central piping</a:t>
          </a:r>
          <a:endParaRPr lang="en-GB" sz="1600" u="none" dirty="0">
            <a:latin typeface="+mn-lt"/>
          </a:endParaRPr>
        </a:p>
      </dgm:t>
    </dgm:pt>
    <dgm:pt modelId="{2305B77B-1DA9-1646-B86C-39FF23E402E8}" type="parTrans" cxnId="{882600DB-B19C-CB48-90D8-C468EA6D7554}">
      <dgm:prSet/>
      <dgm:spPr/>
      <dgm:t>
        <a:bodyPr/>
        <a:lstStyle/>
        <a:p>
          <a:endParaRPr lang="en-GB" sz="1600" u="none">
            <a:latin typeface="+mn-lt"/>
          </a:endParaRPr>
        </a:p>
      </dgm:t>
    </dgm:pt>
    <dgm:pt modelId="{4EBF0DAB-FA6B-E44E-9C76-987B4CB7EF30}" type="sibTrans" cxnId="{882600DB-B19C-CB48-90D8-C468EA6D7554}">
      <dgm:prSet/>
      <dgm:spPr/>
      <dgm:t>
        <a:bodyPr/>
        <a:lstStyle/>
        <a:p>
          <a:endParaRPr lang="en-GB" sz="1600" u="none">
            <a:latin typeface="+mn-lt"/>
          </a:endParaRPr>
        </a:p>
      </dgm:t>
    </dgm:pt>
    <dgm:pt modelId="{C79C5E61-4FB1-514F-82D3-895DF0A9B817}">
      <dgm:prSet phldrT="[Text]" custT="1"/>
      <dgm:spPr/>
      <dgm:t>
        <a:bodyPr/>
        <a:lstStyle/>
        <a:p>
          <a:r>
            <a:rPr lang="en-IN" sz="1600" b="1" u="none" dirty="0">
              <a:latin typeface="+mn-lt"/>
            </a:rPr>
            <a:t>Delivery </a:t>
          </a:r>
          <a:endParaRPr lang="en-GB" sz="1600" b="1" u="none" dirty="0">
            <a:latin typeface="+mn-lt"/>
          </a:endParaRPr>
        </a:p>
      </dgm:t>
    </dgm:pt>
    <dgm:pt modelId="{02AD1FDB-FE7A-234E-A8C6-533FE8C7B481}" type="parTrans" cxnId="{4B286033-3BD4-7148-B1DB-DAD324E2E917}">
      <dgm:prSet/>
      <dgm:spPr/>
      <dgm:t>
        <a:bodyPr/>
        <a:lstStyle/>
        <a:p>
          <a:endParaRPr lang="en-GB" sz="1600" u="none">
            <a:latin typeface="+mn-lt"/>
          </a:endParaRPr>
        </a:p>
      </dgm:t>
    </dgm:pt>
    <dgm:pt modelId="{BE77AA39-6194-E944-912F-74DC20BD6C29}" type="sibTrans" cxnId="{4B286033-3BD4-7148-B1DB-DAD324E2E917}">
      <dgm:prSet/>
      <dgm:spPr/>
      <dgm:t>
        <a:bodyPr/>
        <a:lstStyle/>
        <a:p>
          <a:endParaRPr lang="en-GB" sz="1600" u="none">
            <a:latin typeface="+mn-lt"/>
          </a:endParaRPr>
        </a:p>
      </dgm:t>
    </dgm:pt>
    <dgm:pt modelId="{4F952E90-BBC9-C94F-80DC-EB309E0EE356}">
      <dgm:prSet phldrT="[Text]" custT="1"/>
      <dgm:spPr/>
      <dgm:t>
        <a:bodyPr/>
        <a:lstStyle/>
        <a:p>
          <a:r>
            <a:rPr lang="en-IN" sz="1600" u="none" dirty="0">
              <a:latin typeface="+mn-lt"/>
            </a:rPr>
            <a:t>Nasal cannula</a:t>
          </a:r>
          <a:endParaRPr lang="en-GB" sz="1600" u="none" dirty="0">
            <a:latin typeface="+mn-lt"/>
          </a:endParaRPr>
        </a:p>
      </dgm:t>
    </dgm:pt>
    <dgm:pt modelId="{772050C0-7BB6-C545-8145-89D5DFB10836}" type="parTrans" cxnId="{BD7C7DE1-AD23-FA46-BAF5-A196C8435776}">
      <dgm:prSet/>
      <dgm:spPr/>
      <dgm:t>
        <a:bodyPr/>
        <a:lstStyle/>
        <a:p>
          <a:endParaRPr lang="en-GB" sz="1600" u="none">
            <a:latin typeface="+mn-lt"/>
          </a:endParaRPr>
        </a:p>
      </dgm:t>
    </dgm:pt>
    <dgm:pt modelId="{D1F186A9-4C50-F545-94D7-F469DB368059}" type="sibTrans" cxnId="{BD7C7DE1-AD23-FA46-BAF5-A196C8435776}">
      <dgm:prSet/>
      <dgm:spPr/>
      <dgm:t>
        <a:bodyPr/>
        <a:lstStyle/>
        <a:p>
          <a:endParaRPr lang="en-GB" sz="1600" u="none">
            <a:latin typeface="+mn-lt"/>
          </a:endParaRPr>
        </a:p>
      </dgm:t>
    </dgm:pt>
    <dgm:pt modelId="{DBB39C13-1FF0-7D4B-8959-F6F3AF6435FD}">
      <dgm:prSet custT="1"/>
      <dgm:spPr/>
      <dgm:t>
        <a:bodyPr/>
        <a:lstStyle/>
        <a:p>
          <a:r>
            <a:rPr lang="en-IN" sz="1600" b="1" u="none" dirty="0">
              <a:latin typeface="+mn-lt"/>
            </a:rPr>
            <a:t>Regulation &amp; Conditioning</a:t>
          </a:r>
          <a:endParaRPr lang="en-GB" sz="1600" b="1" u="none" dirty="0">
            <a:latin typeface="+mn-lt"/>
          </a:endParaRPr>
        </a:p>
      </dgm:t>
    </dgm:pt>
    <dgm:pt modelId="{1FDCA0AE-1B2F-9446-AADA-F4C6B7C39A75}" type="parTrans" cxnId="{BD49E504-D194-A146-B7CD-68FDC7246B50}">
      <dgm:prSet/>
      <dgm:spPr/>
      <dgm:t>
        <a:bodyPr/>
        <a:lstStyle/>
        <a:p>
          <a:endParaRPr lang="en-GB" sz="1600" u="none">
            <a:latin typeface="+mn-lt"/>
          </a:endParaRPr>
        </a:p>
      </dgm:t>
    </dgm:pt>
    <dgm:pt modelId="{3FDF87F1-D397-8346-B381-36EACC7C0067}" type="sibTrans" cxnId="{BD49E504-D194-A146-B7CD-68FDC7246B50}">
      <dgm:prSet/>
      <dgm:spPr/>
      <dgm:t>
        <a:bodyPr/>
        <a:lstStyle/>
        <a:p>
          <a:endParaRPr lang="en-GB" sz="1600" u="none">
            <a:latin typeface="+mn-lt"/>
          </a:endParaRPr>
        </a:p>
      </dgm:t>
    </dgm:pt>
    <dgm:pt modelId="{79E861C7-A9AF-2040-B419-F5AC5038A356}">
      <dgm:prSet custT="1"/>
      <dgm:spPr/>
      <dgm:t>
        <a:bodyPr/>
        <a:lstStyle/>
        <a:p>
          <a:r>
            <a:rPr lang="en-IN" sz="1600" u="none" dirty="0">
              <a:latin typeface="+mn-lt"/>
            </a:rPr>
            <a:t>Regulator</a:t>
          </a:r>
          <a:endParaRPr lang="en-GB" sz="1600" u="none" dirty="0">
            <a:latin typeface="+mn-lt"/>
          </a:endParaRPr>
        </a:p>
      </dgm:t>
    </dgm:pt>
    <dgm:pt modelId="{9A34BC1F-BBB0-594A-AE93-EB819D40740E}" type="parTrans" cxnId="{F183C42B-066F-5143-8DBC-ACCB59E71F82}">
      <dgm:prSet/>
      <dgm:spPr/>
      <dgm:t>
        <a:bodyPr/>
        <a:lstStyle/>
        <a:p>
          <a:endParaRPr lang="en-GB" sz="1600" u="none">
            <a:latin typeface="+mn-lt"/>
          </a:endParaRPr>
        </a:p>
      </dgm:t>
    </dgm:pt>
    <dgm:pt modelId="{0DB17C36-7797-484F-AAB9-9021B1A06302}" type="sibTrans" cxnId="{F183C42B-066F-5143-8DBC-ACCB59E71F82}">
      <dgm:prSet/>
      <dgm:spPr/>
      <dgm:t>
        <a:bodyPr/>
        <a:lstStyle/>
        <a:p>
          <a:endParaRPr lang="en-GB" sz="1600" u="none">
            <a:latin typeface="+mn-lt"/>
          </a:endParaRPr>
        </a:p>
      </dgm:t>
    </dgm:pt>
    <dgm:pt modelId="{1A4357BF-108B-8C41-AEC9-6281B9589735}">
      <dgm:prSet custT="1"/>
      <dgm:spPr/>
      <dgm:t>
        <a:bodyPr/>
        <a:lstStyle/>
        <a:p>
          <a:r>
            <a:rPr lang="en-IN" sz="1600" b="1" u="none" dirty="0">
              <a:latin typeface="+mn-lt"/>
            </a:rPr>
            <a:t>Patient Monitoring</a:t>
          </a:r>
          <a:endParaRPr lang="en-GB" sz="1600" b="1" u="none" dirty="0">
            <a:latin typeface="+mn-lt"/>
          </a:endParaRPr>
        </a:p>
      </dgm:t>
    </dgm:pt>
    <dgm:pt modelId="{EB7BBB5B-C4BC-B443-8FD9-80CFC109BC6C}" type="parTrans" cxnId="{E43256E9-442E-E445-BC75-0CDC82859592}">
      <dgm:prSet/>
      <dgm:spPr/>
      <dgm:t>
        <a:bodyPr/>
        <a:lstStyle/>
        <a:p>
          <a:endParaRPr lang="en-GB" sz="1600" u="none">
            <a:latin typeface="+mn-lt"/>
          </a:endParaRPr>
        </a:p>
      </dgm:t>
    </dgm:pt>
    <dgm:pt modelId="{9D57DF3C-8FB6-5A4A-A521-C33A6B9677EC}" type="sibTrans" cxnId="{E43256E9-442E-E445-BC75-0CDC82859592}">
      <dgm:prSet/>
      <dgm:spPr/>
      <dgm:t>
        <a:bodyPr/>
        <a:lstStyle/>
        <a:p>
          <a:endParaRPr lang="en-GB" sz="1600" u="none">
            <a:latin typeface="+mn-lt"/>
          </a:endParaRPr>
        </a:p>
      </dgm:t>
    </dgm:pt>
    <dgm:pt modelId="{FCA1FB2F-868D-9C4D-90E9-F2D3988531FE}">
      <dgm:prSet custT="1"/>
      <dgm:spPr/>
      <dgm:t>
        <a:bodyPr/>
        <a:lstStyle/>
        <a:p>
          <a:r>
            <a:rPr lang="en-IN" sz="1600" u="none" dirty="0">
              <a:latin typeface="+mn-lt"/>
            </a:rPr>
            <a:t>Cylinder</a:t>
          </a:r>
        </a:p>
      </dgm:t>
    </dgm:pt>
    <dgm:pt modelId="{A2C022B4-8A6A-9B45-B493-FF01237CE128}" type="parTrans" cxnId="{3C7AF1F4-01C4-A84B-98C1-55136568B259}">
      <dgm:prSet/>
      <dgm:spPr/>
      <dgm:t>
        <a:bodyPr/>
        <a:lstStyle/>
        <a:p>
          <a:endParaRPr lang="en-GB" sz="1600" u="none">
            <a:latin typeface="+mn-lt"/>
          </a:endParaRPr>
        </a:p>
      </dgm:t>
    </dgm:pt>
    <dgm:pt modelId="{AE49C009-749F-C648-85D0-10F742AF2FBB}" type="sibTrans" cxnId="{3C7AF1F4-01C4-A84B-98C1-55136568B259}">
      <dgm:prSet/>
      <dgm:spPr/>
      <dgm:t>
        <a:bodyPr/>
        <a:lstStyle/>
        <a:p>
          <a:endParaRPr lang="en-GB" sz="1600" u="none">
            <a:latin typeface="+mn-lt"/>
          </a:endParaRPr>
        </a:p>
      </dgm:t>
    </dgm:pt>
    <dgm:pt modelId="{5167F3E8-012D-144A-8B68-B02ACFEE5ED3}">
      <dgm:prSet custT="1"/>
      <dgm:spPr/>
      <dgm:t>
        <a:bodyPr/>
        <a:lstStyle/>
        <a:p>
          <a:r>
            <a:rPr lang="en-IN" sz="1600" u="none" dirty="0">
              <a:latin typeface="+mn-lt"/>
            </a:rPr>
            <a:t>PSA/VSA/VPSA Plant</a:t>
          </a:r>
        </a:p>
      </dgm:t>
    </dgm:pt>
    <dgm:pt modelId="{72842849-918D-184B-9CE3-8387589C5438}" type="parTrans" cxnId="{9F772D33-11A0-504F-AB09-B0A88804DCB5}">
      <dgm:prSet/>
      <dgm:spPr/>
      <dgm:t>
        <a:bodyPr/>
        <a:lstStyle/>
        <a:p>
          <a:endParaRPr lang="en-GB" sz="1600" u="none">
            <a:latin typeface="+mn-lt"/>
          </a:endParaRPr>
        </a:p>
      </dgm:t>
    </dgm:pt>
    <dgm:pt modelId="{3B40C4ED-0DDB-9142-B575-6ED111425D65}" type="sibTrans" cxnId="{9F772D33-11A0-504F-AB09-B0A88804DCB5}">
      <dgm:prSet/>
      <dgm:spPr/>
      <dgm:t>
        <a:bodyPr/>
        <a:lstStyle/>
        <a:p>
          <a:endParaRPr lang="en-GB" sz="1600" u="none">
            <a:latin typeface="+mn-lt"/>
          </a:endParaRPr>
        </a:p>
      </dgm:t>
    </dgm:pt>
    <dgm:pt modelId="{E00FC5A1-A931-5B48-BFDF-924EEA8C6246}">
      <dgm:prSet custT="1"/>
      <dgm:spPr/>
      <dgm:t>
        <a:bodyPr/>
        <a:lstStyle/>
        <a:p>
          <a:r>
            <a:rPr lang="en-IN" sz="1600" u="none">
              <a:latin typeface="+mn-lt"/>
            </a:rPr>
            <a:t>Liquid Medical Oxygen (ASU Plant)</a:t>
          </a:r>
          <a:endParaRPr lang="en-IN" sz="1600" u="none" dirty="0">
            <a:latin typeface="+mn-lt"/>
          </a:endParaRPr>
        </a:p>
      </dgm:t>
    </dgm:pt>
    <dgm:pt modelId="{5C4ACD47-6428-FB49-AF2B-6AE0EC60DB07}" type="parTrans" cxnId="{E8553BD2-E1F6-8341-9DEA-1A071AB2F8B4}">
      <dgm:prSet/>
      <dgm:spPr/>
      <dgm:t>
        <a:bodyPr/>
        <a:lstStyle/>
        <a:p>
          <a:endParaRPr lang="en-GB" sz="1600" u="none">
            <a:latin typeface="+mn-lt"/>
          </a:endParaRPr>
        </a:p>
      </dgm:t>
    </dgm:pt>
    <dgm:pt modelId="{0BCE0044-F56F-4E4D-9920-65C4548A0F1F}" type="sibTrans" cxnId="{E8553BD2-E1F6-8341-9DEA-1A071AB2F8B4}">
      <dgm:prSet/>
      <dgm:spPr/>
      <dgm:t>
        <a:bodyPr/>
        <a:lstStyle/>
        <a:p>
          <a:endParaRPr lang="en-GB" sz="1600" u="none">
            <a:latin typeface="+mn-lt"/>
          </a:endParaRPr>
        </a:p>
      </dgm:t>
    </dgm:pt>
    <dgm:pt modelId="{FE2F1D43-4D6A-C348-AA23-7B3B800CCB85}">
      <dgm:prSet custT="1"/>
      <dgm:spPr/>
      <dgm:t>
        <a:bodyPr/>
        <a:lstStyle/>
        <a:p>
          <a:r>
            <a:rPr lang="en-IN" sz="1600" u="none">
              <a:latin typeface="+mn-lt"/>
            </a:rPr>
            <a:t>Tubing</a:t>
          </a:r>
          <a:endParaRPr lang="en-IN" sz="1600" u="none" dirty="0">
            <a:latin typeface="+mn-lt"/>
          </a:endParaRPr>
        </a:p>
      </dgm:t>
    </dgm:pt>
    <dgm:pt modelId="{3BBC301F-A659-F44C-A5F1-0759C9C24F51}" type="parTrans" cxnId="{3817DF16-698C-CE4E-A8C9-7504EF97D4B0}">
      <dgm:prSet/>
      <dgm:spPr/>
      <dgm:t>
        <a:bodyPr/>
        <a:lstStyle/>
        <a:p>
          <a:endParaRPr lang="en-GB" sz="1600" u="none">
            <a:latin typeface="+mn-lt"/>
          </a:endParaRPr>
        </a:p>
      </dgm:t>
    </dgm:pt>
    <dgm:pt modelId="{8606A716-22CB-1A41-80A1-35E6080AAD42}" type="sibTrans" cxnId="{3817DF16-698C-CE4E-A8C9-7504EF97D4B0}">
      <dgm:prSet/>
      <dgm:spPr/>
      <dgm:t>
        <a:bodyPr/>
        <a:lstStyle/>
        <a:p>
          <a:endParaRPr lang="en-GB" sz="1600" u="none">
            <a:latin typeface="+mn-lt"/>
          </a:endParaRPr>
        </a:p>
      </dgm:t>
    </dgm:pt>
    <dgm:pt modelId="{9AD9B66D-E738-AD48-8AE3-DA522DA0E5EA}">
      <dgm:prSet custT="1"/>
      <dgm:spPr/>
      <dgm:t>
        <a:bodyPr/>
        <a:lstStyle/>
        <a:p>
          <a:r>
            <a:rPr lang="en-IN" sz="1600" u="none">
              <a:latin typeface="+mn-lt"/>
            </a:rPr>
            <a:t>Transport (for cylinders)</a:t>
          </a:r>
          <a:endParaRPr lang="en-IN" sz="1600" u="none" dirty="0">
            <a:latin typeface="+mn-lt"/>
          </a:endParaRPr>
        </a:p>
      </dgm:t>
    </dgm:pt>
    <dgm:pt modelId="{DB410D74-9767-EB47-820A-EE495ED8FD63}" type="parTrans" cxnId="{06DA9DBD-F0E9-6047-926B-132A51F0E283}">
      <dgm:prSet/>
      <dgm:spPr/>
      <dgm:t>
        <a:bodyPr/>
        <a:lstStyle/>
        <a:p>
          <a:endParaRPr lang="en-GB" sz="1600" u="none">
            <a:latin typeface="+mn-lt"/>
          </a:endParaRPr>
        </a:p>
      </dgm:t>
    </dgm:pt>
    <dgm:pt modelId="{CFA76A5E-3628-6540-95D2-F278AEF48271}" type="sibTrans" cxnId="{06DA9DBD-F0E9-6047-926B-132A51F0E283}">
      <dgm:prSet/>
      <dgm:spPr/>
      <dgm:t>
        <a:bodyPr/>
        <a:lstStyle/>
        <a:p>
          <a:endParaRPr lang="en-GB" sz="1600" u="none">
            <a:latin typeface="+mn-lt"/>
          </a:endParaRPr>
        </a:p>
      </dgm:t>
    </dgm:pt>
    <dgm:pt modelId="{10743DCF-A4BC-1042-87A7-434ECD55DF31}">
      <dgm:prSet custT="1"/>
      <dgm:spPr/>
      <dgm:t>
        <a:bodyPr/>
        <a:lstStyle/>
        <a:p>
          <a:r>
            <a:rPr lang="en-IN" sz="1600" u="none">
              <a:latin typeface="+mn-lt"/>
            </a:rPr>
            <a:t>Transport (for Liquid Oxygen)</a:t>
          </a:r>
          <a:endParaRPr lang="en-IN" sz="1600" u="none" dirty="0">
            <a:latin typeface="+mn-lt"/>
          </a:endParaRPr>
        </a:p>
      </dgm:t>
    </dgm:pt>
    <dgm:pt modelId="{FF04F9E1-1DCC-DD4F-B2D1-7F68A1ABF3A8}" type="parTrans" cxnId="{67630068-4E72-104D-A2C3-2928CAE7CEA1}">
      <dgm:prSet/>
      <dgm:spPr/>
      <dgm:t>
        <a:bodyPr/>
        <a:lstStyle/>
        <a:p>
          <a:endParaRPr lang="en-GB" sz="1600" u="none">
            <a:latin typeface="+mn-lt"/>
          </a:endParaRPr>
        </a:p>
      </dgm:t>
    </dgm:pt>
    <dgm:pt modelId="{B753FF13-6053-B740-B588-29DB2305483B}" type="sibTrans" cxnId="{67630068-4E72-104D-A2C3-2928CAE7CEA1}">
      <dgm:prSet/>
      <dgm:spPr/>
      <dgm:t>
        <a:bodyPr/>
        <a:lstStyle/>
        <a:p>
          <a:endParaRPr lang="en-GB" sz="1600" u="none">
            <a:latin typeface="+mn-lt"/>
          </a:endParaRPr>
        </a:p>
      </dgm:t>
    </dgm:pt>
    <dgm:pt modelId="{EBB87C04-6399-C04D-B81A-601F4CC57BBA}">
      <dgm:prSet custT="1"/>
      <dgm:spPr/>
      <dgm:t>
        <a:bodyPr/>
        <a:lstStyle/>
        <a:p>
          <a:r>
            <a:rPr lang="en-IN" sz="1600" u="none">
              <a:latin typeface="+mn-lt"/>
            </a:rPr>
            <a:t>Flowmeter</a:t>
          </a:r>
          <a:endParaRPr lang="en-IN" sz="1600" u="none" dirty="0">
            <a:latin typeface="+mn-lt"/>
          </a:endParaRPr>
        </a:p>
      </dgm:t>
    </dgm:pt>
    <dgm:pt modelId="{11701E51-25ED-234D-81AB-FD9FADB662D4}" type="parTrans" cxnId="{CCAD6EF7-FC04-D747-BC5F-922172F5F229}">
      <dgm:prSet/>
      <dgm:spPr/>
      <dgm:t>
        <a:bodyPr/>
        <a:lstStyle/>
        <a:p>
          <a:endParaRPr lang="en-GB" sz="1600" u="none">
            <a:latin typeface="+mn-lt"/>
          </a:endParaRPr>
        </a:p>
      </dgm:t>
    </dgm:pt>
    <dgm:pt modelId="{A0BEC5A5-09C8-7B43-A93F-E5DACFF31159}" type="sibTrans" cxnId="{CCAD6EF7-FC04-D747-BC5F-922172F5F229}">
      <dgm:prSet/>
      <dgm:spPr/>
      <dgm:t>
        <a:bodyPr/>
        <a:lstStyle/>
        <a:p>
          <a:endParaRPr lang="en-GB" sz="1600" u="none">
            <a:latin typeface="+mn-lt"/>
          </a:endParaRPr>
        </a:p>
      </dgm:t>
    </dgm:pt>
    <dgm:pt modelId="{7DB28244-8613-C34E-B3FE-E8E6B0008C29}">
      <dgm:prSet custT="1"/>
      <dgm:spPr/>
      <dgm:t>
        <a:bodyPr/>
        <a:lstStyle/>
        <a:p>
          <a:r>
            <a:rPr lang="en-IN" sz="1600" u="none">
              <a:latin typeface="+mn-lt"/>
            </a:rPr>
            <a:t>Flowmeter stand (flow splitter)</a:t>
          </a:r>
          <a:endParaRPr lang="en-IN" sz="1600" u="none" dirty="0">
            <a:latin typeface="+mn-lt"/>
          </a:endParaRPr>
        </a:p>
      </dgm:t>
    </dgm:pt>
    <dgm:pt modelId="{76B8EA60-80A1-024A-9C83-D8C53BF225E1}" type="parTrans" cxnId="{64DC8672-4DDE-7F45-A2F0-288234B16D48}">
      <dgm:prSet/>
      <dgm:spPr/>
      <dgm:t>
        <a:bodyPr/>
        <a:lstStyle/>
        <a:p>
          <a:endParaRPr lang="en-GB" sz="1600" u="none">
            <a:latin typeface="+mn-lt"/>
          </a:endParaRPr>
        </a:p>
      </dgm:t>
    </dgm:pt>
    <dgm:pt modelId="{5E0B9269-432A-3A47-8614-91006995AAC9}" type="sibTrans" cxnId="{64DC8672-4DDE-7F45-A2F0-288234B16D48}">
      <dgm:prSet/>
      <dgm:spPr/>
      <dgm:t>
        <a:bodyPr/>
        <a:lstStyle/>
        <a:p>
          <a:endParaRPr lang="en-GB" sz="1600" u="none">
            <a:latin typeface="+mn-lt"/>
          </a:endParaRPr>
        </a:p>
      </dgm:t>
    </dgm:pt>
    <dgm:pt modelId="{69E49F27-4066-A548-8093-E4FE02A8766F}">
      <dgm:prSet custT="1"/>
      <dgm:spPr/>
      <dgm:t>
        <a:bodyPr/>
        <a:lstStyle/>
        <a:p>
          <a:r>
            <a:rPr lang="en-IN" sz="1600" u="none">
              <a:latin typeface="+mn-lt"/>
            </a:rPr>
            <a:t>Humidifier (heated and non-heated)</a:t>
          </a:r>
          <a:endParaRPr lang="en-IN" sz="1600" u="none" dirty="0">
            <a:latin typeface="+mn-lt"/>
          </a:endParaRPr>
        </a:p>
      </dgm:t>
    </dgm:pt>
    <dgm:pt modelId="{9D69E750-C84C-3B4C-8134-FFAE83827BFC}" type="parTrans" cxnId="{FEF3CD3E-6C0E-CE47-A372-76CB65240439}">
      <dgm:prSet/>
      <dgm:spPr/>
      <dgm:t>
        <a:bodyPr/>
        <a:lstStyle/>
        <a:p>
          <a:endParaRPr lang="en-GB" sz="1600" u="none">
            <a:latin typeface="+mn-lt"/>
          </a:endParaRPr>
        </a:p>
      </dgm:t>
    </dgm:pt>
    <dgm:pt modelId="{DCC3C653-1BC8-C045-83C0-76A11762F32D}" type="sibTrans" cxnId="{FEF3CD3E-6C0E-CE47-A372-76CB65240439}">
      <dgm:prSet/>
      <dgm:spPr/>
      <dgm:t>
        <a:bodyPr/>
        <a:lstStyle/>
        <a:p>
          <a:endParaRPr lang="en-GB" sz="1600" u="none">
            <a:latin typeface="+mn-lt"/>
          </a:endParaRPr>
        </a:p>
      </dgm:t>
    </dgm:pt>
    <dgm:pt modelId="{79AED052-2AD2-F945-949A-7F805A7FF486}">
      <dgm:prSet custT="1"/>
      <dgm:spPr/>
      <dgm:t>
        <a:bodyPr/>
        <a:lstStyle/>
        <a:p>
          <a:r>
            <a:rPr lang="en-IN" sz="1600" u="none">
              <a:latin typeface="+mn-lt"/>
            </a:rPr>
            <a:t>Blender</a:t>
          </a:r>
          <a:endParaRPr lang="en-IN" sz="1600" u="none" dirty="0">
            <a:latin typeface="+mn-lt"/>
          </a:endParaRPr>
        </a:p>
      </dgm:t>
    </dgm:pt>
    <dgm:pt modelId="{B1CCC77E-D93F-CD42-9BFE-FC9B5DE7F715}" type="parTrans" cxnId="{769092DB-DAF9-6840-9DEA-5FD2E49BC155}">
      <dgm:prSet/>
      <dgm:spPr/>
      <dgm:t>
        <a:bodyPr/>
        <a:lstStyle/>
        <a:p>
          <a:endParaRPr lang="en-GB" sz="1600" u="none">
            <a:latin typeface="+mn-lt"/>
          </a:endParaRPr>
        </a:p>
      </dgm:t>
    </dgm:pt>
    <dgm:pt modelId="{4B5990EB-F8CE-F141-8F91-C250C070A315}" type="sibTrans" cxnId="{769092DB-DAF9-6840-9DEA-5FD2E49BC155}">
      <dgm:prSet/>
      <dgm:spPr/>
      <dgm:t>
        <a:bodyPr/>
        <a:lstStyle/>
        <a:p>
          <a:endParaRPr lang="en-GB" sz="1600" u="none">
            <a:latin typeface="+mn-lt"/>
          </a:endParaRPr>
        </a:p>
      </dgm:t>
    </dgm:pt>
    <dgm:pt modelId="{AECB5F47-B3B1-1246-9FD2-00701858AB41}">
      <dgm:prSet custT="1"/>
      <dgm:spPr/>
      <dgm:t>
        <a:bodyPr/>
        <a:lstStyle/>
        <a:p>
          <a:r>
            <a:rPr lang="en-IN" sz="1600" u="none">
              <a:latin typeface="+mn-lt"/>
            </a:rPr>
            <a:t>CPAP</a:t>
          </a:r>
          <a:endParaRPr lang="en-IN" sz="1600" u="none" dirty="0">
            <a:latin typeface="+mn-lt"/>
          </a:endParaRPr>
        </a:p>
      </dgm:t>
    </dgm:pt>
    <dgm:pt modelId="{45CCEA9E-B925-8342-ACD8-071D94A8BBE9}" type="parTrans" cxnId="{7A16316E-188E-6749-B791-F6D053BDE6D5}">
      <dgm:prSet/>
      <dgm:spPr/>
      <dgm:t>
        <a:bodyPr/>
        <a:lstStyle/>
        <a:p>
          <a:endParaRPr lang="en-GB" sz="1600" u="none">
            <a:latin typeface="+mn-lt"/>
          </a:endParaRPr>
        </a:p>
      </dgm:t>
    </dgm:pt>
    <dgm:pt modelId="{663A0A43-51BF-E849-A986-2862251D7759}" type="sibTrans" cxnId="{7A16316E-188E-6749-B791-F6D053BDE6D5}">
      <dgm:prSet/>
      <dgm:spPr/>
      <dgm:t>
        <a:bodyPr/>
        <a:lstStyle/>
        <a:p>
          <a:endParaRPr lang="en-GB" sz="1600" u="none">
            <a:latin typeface="+mn-lt"/>
          </a:endParaRPr>
        </a:p>
      </dgm:t>
    </dgm:pt>
    <dgm:pt modelId="{587688A2-FB45-CE4A-B62A-087CD89007D9}">
      <dgm:prSet custT="1"/>
      <dgm:spPr/>
      <dgm:t>
        <a:bodyPr/>
        <a:lstStyle/>
        <a:p>
          <a:r>
            <a:rPr lang="en-IN" sz="1600" u="none">
              <a:latin typeface="+mn-lt"/>
            </a:rPr>
            <a:t>BiPAP</a:t>
          </a:r>
          <a:endParaRPr lang="en-IN" sz="1600" u="none" dirty="0">
            <a:latin typeface="+mn-lt"/>
          </a:endParaRPr>
        </a:p>
      </dgm:t>
    </dgm:pt>
    <dgm:pt modelId="{EED2E704-F373-EB40-B50B-C298D5A82724}" type="parTrans" cxnId="{6D5B403C-A0F5-6444-82B1-EE62E2E12453}">
      <dgm:prSet/>
      <dgm:spPr/>
      <dgm:t>
        <a:bodyPr/>
        <a:lstStyle/>
        <a:p>
          <a:endParaRPr lang="en-GB" sz="1600" u="none">
            <a:latin typeface="+mn-lt"/>
          </a:endParaRPr>
        </a:p>
      </dgm:t>
    </dgm:pt>
    <dgm:pt modelId="{0355361A-1F07-9245-A8E1-E9587BC61719}" type="sibTrans" cxnId="{6D5B403C-A0F5-6444-82B1-EE62E2E12453}">
      <dgm:prSet/>
      <dgm:spPr/>
      <dgm:t>
        <a:bodyPr/>
        <a:lstStyle/>
        <a:p>
          <a:endParaRPr lang="en-GB" sz="1600" u="none">
            <a:latin typeface="+mn-lt"/>
          </a:endParaRPr>
        </a:p>
      </dgm:t>
    </dgm:pt>
    <dgm:pt modelId="{F8034787-D4D5-F94F-8C60-992693E8602C}">
      <dgm:prSet custT="1"/>
      <dgm:spPr/>
      <dgm:t>
        <a:bodyPr/>
        <a:lstStyle/>
        <a:p>
          <a:r>
            <a:rPr lang="en-IN" sz="1600" u="none">
              <a:latin typeface="+mn-lt"/>
            </a:rPr>
            <a:t>Ventilator</a:t>
          </a:r>
          <a:endParaRPr lang="en-IN" sz="1600" u="none" dirty="0">
            <a:latin typeface="+mn-lt"/>
          </a:endParaRPr>
        </a:p>
      </dgm:t>
    </dgm:pt>
    <dgm:pt modelId="{4FCDBC70-D33E-6C46-AF21-988594362DB0}" type="parTrans" cxnId="{F3445390-0588-E741-A890-9026ACAB503E}">
      <dgm:prSet/>
      <dgm:spPr/>
      <dgm:t>
        <a:bodyPr/>
        <a:lstStyle/>
        <a:p>
          <a:endParaRPr lang="en-GB" sz="1600" u="none">
            <a:latin typeface="+mn-lt"/>
          </a:endParaRPr>
        </a:p>
      </dgm:t>
    </dgm:pt>
    <dgm:pt modelId="{FF804D57-E0BD-5A42-B692-425DE03A4E3A}" type="sibTrans" cxnId="{F3445390-0588-E741-A890-9026ACAB503E}">
      <dgm:prSet/>
      <dgm:spPr/>
      <dgm:t>
        <a:bodyPr/>
        <a:lstStyle/>
        <a:p>
          <a:endParaRPr lang="en-GB" sz="1600" u="none">
            <a:latin typeface="+mn-lt"/>
          </a:endParaRPr>
        </a:p>
      </dgm:t>
    </dgm:pt>
    <dgm:pt modelId="{2077C361-2113-F243-BF63-7F685773126E}">
      <dgm:prSet custT="1"/>
      <dgm:spPr/>
      <dgm:t>
        <a:bodyPr/>
        <a:lstStyle/>
        <a:p>
          <a:r>
            <a:rPr lang="en-IN" sz="1600" u="none">
              <a:latin typeface="+mn-lt"/>
            </a:rPr>
            <a:t>Nasal catheter</a:t>
          </a:r>
          <a:endParaRPr lang="en-IN" sz="1600" u="none" dirty="0">
            <a:latin typeface="+mn-lt"/>
          </a:endParaRPr>
        </a:p>
      </dgm:t>
    </dgm:pt>
    <dgm:pt modelId="{FD9168F9-A513-2B41-9C62-3388779ECA44}" type="parTrans" cxnId="{C7E6C5EF-E7DF-BA41-8A4D-B840A88C460C}">
      <dgm:prSet/>
      <dgm:spPr/>
      <dgm:t>
        <a:bodyPr/>
        <a:lstStyle/>
        <a:p>
          <a:endParaRPr lang="en-GB" sz="1600" u="none">
            <a:latin typeface="+mn-lt"/>
          </a:endParaRPr>
        </a:p>
      </dgm:t>
    </dgm:pt>
    <dgm:pt modelId="{C4746E5B-5F79-5047-9B97-2094FE56CCA5}" type="sibTrans" cxnId="{C7E6C5EF-E7DF-BA41-8A4D-B840A88C460C}">
      <dgm:prSet/>
      <dgm:spPr/>
      <dgm:t>
        <a:bodyPr/>
        <a:lstStyle/>
        <a:p>
          <a:endParaRPr lang="en-GB" sz="1600" u="none">
            <a:latin typeface="+mn-lt"/>
          </a:endParaRPr>
        </a:p>
      </dgm:t>
    </dgm:pt>
    <dgm:pt modelId="{690D6196-D3C4-A144-BDF1-B88CF2B4ED72}">
      <dgm:prSet custT="1"/>
      <dgm:spPr/>
      <dgm:t>
        <a:bodyPr/>
        <a:lstStyle/>
        <a:p>
          <a:r>
            <a:rPr lang="en-IN" sz="1600" u="none">
              <a:latin typeface="+mn-lt"/>
            </a:rPr>
            <a:t>Masks</a:t>
          </a:r>
          <a:endParaRPr lang="en-IN" sz="1600" u="none" dirty="0">
            <a:latin typeface="+mn-lt"/>
          </a:endParaRPr>
        </a:p>
      </dgm:t>
    </dgm:pt>
    <dgm:pt modelId="{CD0D0B26-8A90-CA42-A70B-8EFC16DF509F}" type="parTrans" cxnId="{552748C0-FC72-B141-9A80-AF754A712DE3}">
      <dgm:prSet/>
      <dgm:spPr/>
      <dgm:t>
        <a:bodyPr/>
        <a:lstStyle/>
        <a:p>
          <a:endParaRPr lang="en-GB" sz="1600" u="none">
            <a:latin typeface="+mn-lt"/>
          </a:endParaRPr>
        </a:p>
      </dgm:t>
    </dgm:pt>
    <dgm:pt modelId="{3EEB21DE-F06E-FA4D-9C3F-5C0926BAD58B}" type="sibTrans" cxnId="{552748C0-FC72-B141-9A80-AF754A712DE3}">
      <dgm:prSet/>
      <dgm:spPr/>
      <dgm:t>
        <a:bodyPr/>
        <a:lstStyle/>
        <a:p>
          <a:endParaRPr lang="en-GB" sz="1600" u="none">
            <a:latin typeface="+mn-lt"/>
          </a:endParaRPr>
        </a:p>
      </dgm:t>
    </dgm:pt>
    <dgm:pt modelId="{C02D7897-7055-D443-B8B3-DC2D748B1E38}">
      <dgm:prSet custT="1"/>
      <dgm:spPr/>
      <dgm:t>
        <a:bodyPr/>
        <a:lstStyle/>
        <a:p>
          <a:r>
            <a:rPr lang="en-IN" sz="1600" u="none">
              <a:latin typeface="+mn-lt"/>
            </a:rPr>
            <a:t>Tubing</a:t>
          </a:r>
          <a:endParaRPr lang="en-IN" sz="1600" u="none" dirty="0">
            <a:latin typeface="+mn-lt"/>
          </a:endParaRPr>
        </a:p>
      </dgm:t>
    </dgm:pt>
    <dgm:pt modelId="{1EB8D605-1405-0A45-82EB-99FDD2B7E9D1}" type="parTrans" cxnId="{FA562923-9ECC-084E-8F54-1A02953B0EDC}">
      <dgm:prSet/>
      <dgm:spPr/>
      <dgm:t>
        <a:bodyPr/>
        <a:lstStyle/>
        <a:p>
          <a:endParaRPr lang="en-GB" sz="1600" u="none">
            <a:latin typeface="+mn-lt"/>
          </a:endParaRPr>
        </a:p>
      </dgm:t>
    </dgm:pt>
    <dgm:pt modelId="{ABFA7D33-EBA5-D840-8479-4A4256BD464A}" type="sibTrans" cxnId="{FA562923-9ECC-084E-8F54-1A02953B0EDC}">
      <dgm:prSet/>
      <dgm:spPr/>
      <dgm:t>
        <a:bodyPr/>
        <a:lstStyle/>
        <a:p>
          <a:endParaRPr lang="en-GB" sz="1600" u="none">
            <a:latin typeface="+mn-lt"/>
          </a:endParaRPr>
        </a:p>
      </dgm:t>
    </dgm:pt>
    <dgm:pt modelId="{85FD2ACB-4250-2741-95F1-715A7B00EE82}">
      <dgm:prSet custT="1"/>
      <dgm:spPr/>
      <dgm:t>
        <a:bodyPr/>
        <a:lstStyle/>
        <a:p>
          <a:r>
            <a:rPr lang="en-IN" sz="1600" u="none">
              <a:latin typeface="+mn-lt"/>
            </a:rPr>
            <a:t>Non ReBreather Mask</a:t>
          </a:r>
          <a:endParaRPr lang="en-IN" sz="1600" u="none" dirty="0">
            <a:latin typeface="+mn-lt"/>
          </a:endParaRPr>
        </a:p>
      </dgm:t>
    </dgm:pt>
    <dgm:pt modelId="{09248FC5-FD52-BA43-B4B1-567BB9B6324D}" type="parTrans" cxnId="{F80EE128-E11F-FA47-8944-367DF1101217}">
      <dgm:prSet/>
      <dgm:spPr/>
      <dgm:t>
        <a:bodyPr/>
        <a:lstStyle/>
        <a:p>
          <a:endParaRPr lang="en-GB" sz="1600" u="none">
            <a:latin typeface="+mn-lt"/>
          </a:endParaRPr>
        </a:p>
      </dgm:t>
    </dgm:pt>
    <dgm:pt modelId="{605ABD84-34F2-CA4D-AFCF-FE53EB6BF2BE}" type="sibTrans" cxnId="{F80EE128-E11F-FA47-8944-367DF1101217}">
      <dgm:prSet/>
      <dgm:spPr/>
      <dgm:t>
        <a:bodyPr/>
        <a:lstStyle/>
        <a:p>
          <a:endParaRPr lang="en-GB" sz="1600" u="none">
            <a:latin typeface="+mn-lt"/>
          </a:endParaRPr>
        </a:p>
      </dgm:t>
    </dgm:pt>
    <dgm:pt modelId="{AF7CEC81-38C4-CB40-8047-5518696CD62A}">
      <dgm:prSet custT="1"/>
      <dgm:spPr/>
      <dgm:t>
        <a:bodyPr/>
        <a:lstStyle/>
        <a:p>
          <a:r>
            <a:rPr lang="en-IN" sz="1600" u="none" dirty="0">
              <a:latin typeface="+mn-lt"/>
            </a:rPr>
            <a:t>Pulse oximeter</a:t>
          </a:r>
          <a:endParaRPr lang="en-GB" sz="1600" u="none" dirty="0">
            <a:latin typeface="+mn-lt"/>
          </a:endParaRPr>
        </a:p>
      </dgm:t>
    </dgm:pt>
    <dgm:pt modelId="{16CAD3DD-FC1D-FF4F-B753-2C718326EA22}" type="parTrans" cxnId="{138D2F11-2D4E-B841-A1A1-1887FB962BBF}">
      <dgm:prSet/>
      <dgm:spPr/>
      <dgm:t>
        <a:bodyPr/>
        <a:lstStyle/>
        <a:p>
          <a:endParaRPr lang="en-GB" sz="1600" u="none">
            <a:latin typeface="+mn-lt"/>
          </a:endParaRPr>
        </a:p>
      </dgm:t>
    </dgm:pt>
    <dgm:pt modelId="{812F808E-D1ED-324B-BB8E-724AF02573A4}" type="sibTrans" cxnId="{138D2F11-2D4E-B841-A1A1-1887FB962BBF}">
      <dgm:prSet/>
      <dgm:spPr/>
      <dgm:t>
        <a:bodyPr/>
        <a:lstStyle/>
        <a:p>
          <a:endParaRPr lang="en-GB" sz="1600" u="none">
            <a:latin typeface="+mn-lt"/>
          </a:endParaRPr>
        </a:p>
      </dgm:t>
    </dgm:pt>
    <dgm:pt modelId="{646A59B3-2621-B94F-8F1E-5495F20367D1}">
      <dgm:prSet custT="1"/>
      <dgm:spPr/>
      <dgm:t>
        <a:bodyPr/>
        <a:lstStyle/>
        <a:p>
          <a:r>
            <a:rPr lang="en-IN" sz="1600" u="none" dirty="0">
              <a:latin typeface="+mn-lt"/>
            </a:rPr>
            <a:t>Multi-parameter monitor</a:t>
          </a:r>
        </a:p>
      </dgm:t>
    </dgm:pt>
    <dgm:pt modelId="{42EAA7BE-698E-0248-BD69-74ADF367ABC1}" type="parTrans" cxnId="{64C42D0D-75FA-674F-858A-2306B14F856C}">
      <dgm:prSet/>
      <dgm:spPr/>
      <dgm:t>
        <a:bodyPr/>
        <a:lstStyle/>
        <a:p>
          <a:endParaRPr lang="en-GB" sz="1600" u="none">
            <a:latin typeface="+mn-lt"/>
          </a:endParaRPr>
        </a:p>
      </dgm:t>
    </dgm:pt>
    <dgm:pt modelId="{D15EF954-A669-B144-836E-BAD97C6D9B0A}" type="sibTrans" cxnId="{64C42D0D-75FA-674F-858A-2306B14F856C}">
      <dgm:prSet/>
      <dgm:spPr/>
      <dgm:t>
        <a:bodyPr/>
        <a:lstStyle/>
        <a:p>
          <a:endParaRPr lang="en-GB" sz="1600" u="none">
            <a:latin typeface="+mn-lt"/>
          </a:endParaRPr>
        </a:p>
      </dgm:t>
    </dgm:pt>
    <dgm:pt modelId="{C2782098-DEFA-2D49-8360-5C334BF4C43A}">
      <dgm:prSet phldrT="[Text]" custT="1"/>
      <dgm:spPr/>
      <dgm:t>
        <a:bodyPr/>
        <a:lstStyle/>
        <a:p>
          <a:endParaRPr lang="en-GB" sz="1600" u="none" dirty="0">
            <a:latin typeface="+mn-lt"/>
          </a:endParaRPr>
        </a:p>
      </dgm:t>
    </dgm:pt>
    <dgm:pt modelId="{FFD8903B-3A27-E747-9329-AF37453D3B54}" type="parTrans" cxnId="{FF378738-1DE0-7E48-A7AF-8164323F3EE7}">
      <dgm:prSet/>
      <dgm:spPr/>
      <dgm:t>
        <a:bodyPr/>
        <a:lstStyle/>
        <a:p>
          <a:endParaRPr lang="en-GB" sz="1600" u="none">
            <a:latin typeface="+mn-lt"/>
          </a:endParaRPr>
        </a:p>
      </dgm:t>
    </dgm:pt>
    <dgm:pt modelId="{A4262CE6-4956-774C-A723-D486184053D5}" type="sibTrans" cxnId="{FF378738-1DE0-7E48-A7AF-8164323F3EE7}">
      <dgm:prSet/>
      <dgm:spPr/>
      <dgm:t>
        <a:bodyPr/>
        <a:lstStyle/>
        <a:p>
          <a:endParaRPr lang="en-GB" sz="1600" u="none">
            <a:latin typeface="+mn-lt"/>
          </a:endParaRPr>
        </a:p>
      </dgm:t>
    </dgm:pt>
    <dgm:pt modelId="{ADC58B17-B933-304E-92C1-205284E60E63}">
      <dgm:prSet phldrT="[Text]" custT="1"/>
      <dgm:spPr/>
      <dgm:t>
        <a:bodyPr/>
        <a:lstStyle/>
        <a:p>
          <a:endParaRPr lang="en-GB" sz="1600" u="none" dirty="0">
            <a:latin typeface="+mn-lt"/>
          </a:endParaRPr>
        </a:p>
      </dgm:t>
    </dgm:pt>
    <dgm:pt modelId="{8540DF32-C0C7-F845-BF5D-8F7FB0950B86}" type="parTrans" cxnId="{68698B1B-950C-F74E-9B74-AC94D4AB4A24}">
      <dgm:prSet/>
      <dgm:spPr/>
      <dgm:t>
        <a:bodyPr/>
        <a:lstStyle/>
        <a:p>
          <a:endParaRPr lang="en-GB" sz="1600" u="none">
            <a:latin typeface="+mn-lt"/>
          </a:endParaRPr>
        </a:p>
      </dgm:t>
    </dgm:pt>
    <dgm:pt modelId="{58C46F22-5A08-3649-81B3-7463F9E513E1}" type="sibTrans" cxnId="{68698B1B-950C-F74E-9B74-AC94D4AB4A24}">
      <dgm:prSet/>
      <dgm:spPr/>
      <dgm:t>
        <a:bodyPr/>
        <a:lstStyle/>
        <a:p>
          <a:endParaRPr lang="en-GB" sz="1600" u="none">
            <a:latin typeface="+mn-lt"/>
          </a:endParaRPr>
        </a:p>
      </dgm:t>
    </dgm:pt>
    <dgm:pt modelId="{8EF629E7-3B67-C44A-A3E8-CE3BDA4A59EA}">
      <dgm:prSet custT="1"/>
      <dgm:spPr/>
      <dgm:t>
        <a:bodyPr/>
        <a:lstStyle/>
        <a:p>
          <a:endParaRPr lang="en-GB" sz="1600" u="none" dirty="0">
            <a:latin typeface="+mn-lt"/>
          </a:endParaRPr>
        </a:p>
      </dgm:t>
    </dgm:pt>
    <dgm:pt modelId="{A6D4D952-3E59-9C4A-A537-6DF66D2193C4}" type="parTrans" cxnId="{099DB83E-E219-1345-8270-8BC94DC13578}">
      <dgm:prSet/>
      <dgm:spPr/>
      <dgm:t>
        <a:bodyPr/>
        <a:lstStyle/>
        <a:p>
          <a:endParaRPr lang="en-GB" sz="1600" u="none">
            <a:latin typeface="+mn-lt"/>
          </a:endParaRPr>
        </a:p>
      </dgm:t>
    </dgm:pt>
    <dgm:pt modelId="{A998BFAD-253B-4C4F-BD78-8D60BD2FDA56}" type="sibTrans" cxnId="{099DB83E-E219-1345-8270-8BC94DC13578}">
      <dgm:prSet/>
      <dgm:spPr/>
      <dgm:t>
        <a:bodyPr/>
        <a:lstStyle/>
        <a:p>
          <a:endParaRPr lang="en-GB" sz="1600" u="none">
            <a:latin typeface="+mn-lt"/>
          </a:endParaRPr>
        </a:p>
      </dgm:t>
    </dgm:pt>
    <dgm:pt modelId="{A34C6910-A7EF-1F42-8530-A36CE4D2A395}">
      <dgm:prSet phldrT="[Text]" custT="1"/>
      <dgm:spPr/>
      <dgm:t>
        <a:bodyPr/>
        <a:lstStyle/>
        <a:p>
          <a:endParaRPr lang="en-GB" sz="1600" u="none" dirty="0">
            <a:latin typeface="+mn-lt"/>
          </a:endParaRPr>
        </a:p>
      </dgm:t>
    </dgm:pt>
    <dgm:pt modelId="{CD970EF1-2291-9946-9F35-774A448B699C}" type="parTrans" cxnId="{E6DFBFCD-0847-254F-A76F-BE05A86A65E6}">
      <dgm:prSet/>
      <dgm:spPr/>
      <dgm:t>
        <a:bodyPr/>
        <a:lstStyle/>
        <a:p>
          <a:endParaRPr lang="en-GB" sz="1600" u="none">
            <a:latin typeface="+mn-lt"/>
          </a:endParaRPr>
        </a:p>
      </dgm:t>
    </dgm:pt>
    <dgm:pt modelId="{82480736-26C1-5C4F-8FB7-2E4CAA9E3243}" type="sibTrans" cxnId="{E6DFBFCD-0847-254F-A76F-BE05A86A65E6}">
      <dgm:prSet/>
      <dgm:spPr/>
      <dgm:t>
        <a:bodyPr/>
        <a:lstStyle/>
        <a:p>
          <a:endParaRPr lang="en-GB" sz="1600" u="none">
            <a:latin typeface="+mn-lt"/>
          </a:endParaRPr>
        </a:p>
      </dgm:t>
    </dgm:pt>
    <dgm:pt modelId="{C2A213FA-B96F-2449-8EBE-7E6537466074}">
      <dgm:prSet custT="1"/>
      <dgm:spPr/>
      <dgm:t>
        <a:bodyPr/>
        <a:lstStyle/>
        <a:p>
          <a:endParaRPr lang="en-GB" sz="1600" u="none" dirty="0">
            <a:latin typeface="+mn-lt"/>
          </a:endParaRPr>
        </a:p>
      </dgm:t>
    </dgm:pt>
    <dgm:pt modelId="{31636C18-25CF-FE4E-9F88-8918FD5D92D1}" type="parTrans" cxnId="{82FA7E47-6428-DF4D-8C69-E3E8478F49EA}">
      <dgm:prSet/>
      <dgm:spPr/>
      <dgm:t>
        <a:bodyPr/>
        <a:lstStyle/>
        <a:p>
          <a:endParaRPr lang="en-GB" sz="1600" u="none">
            <a:latin typeface="+mn-lt"/>
          </a:endParaRPr>
        </a:p>
      </dgm:t>
    </dgm:pt>
    <dgm:pt modelId="{5AB8BFED-4C74-1B46-B3B3-9A3E5362AAC1}" type="sibTrans" cxnId="{82FA7E47-6428-DF4D-8C69-E3E8478F49EA}">
      <dgm:prSet/>
      <dgm:spPr/>
      <dgm:t>
        <a:bodyPr/>
        <a:lstStyle/>
        <a:p>
          <a:endParaRPr lang="en-GB" sz="1600" u="none">
            <a:latin typeface="+mn-lt"/>
          </a:endParaRPr>
        </a:p>
      </dgm:t>
    </dgm:pt>
    <dgm:pt modelId="{CF426B2A-AAC2-3E4F-BC94-72BFEC500E0B}" type="pres">
      <dgm:prSet presAssocID="{323D1F30-9D05-044F-B755-9843EA6BF91E}" presName="Name0" presStyleCnt="0">
        <dgm:presLayoutVars>
          <dgm:dir/>
          <dgm:animLvl val="lvl"/>
          <dgm:resizeHandles val="exact"/>
        </dgm:presLayoutVars>
      </dgm:prSet>
      <dgm:spPr/>
    </dgm:pt>
    <dgm:pt modelId="{2C437932-A0B6-364E-9696-C327A5F5CC2C}" type="pres">
      <dgm:prSet presAssocID="{4A4CB902-18AC-0846-AA25-7813E5A45919}" presName="composite" presStyleCnt="0"/>
      <dgm:spPr/>
    </dgm:pt>
    <dgm:pt modelId="{EDDC7501-6423-9243-B90E-8AD56BEF35F8}" type="pres">
      <dgm:prSet presAssocID="{4A4CB902-18AC-0846-AA25-7813E5A45919}" presName="parTx" presStyleLbl="alignNode1" presStyleIdx="0" presStyleCnt="5" custScaleX="104967">
        <dgm:presLayoutVars>
          <dgm:chMax val="0"/>
          <dgm:chPref val="0"/>
          <dgm:bulletEnabled val="1"/>
        </dgm:presLayoutVars>
      </dgm:prSet>
      <dgm:spPr/>
    </dgm:pt>
    <dgm:pt modelId="{A21D5157-D519-934D-A7FA-4B628D7867CB}" type="pres">
      <dgm:prSet presAssocID="{4A4CB902-18AC-0846-AA25-7813E5A45919}" presName="desTx" presStyleLbl="alignAccFollowNode1" presStyleIdx="0" presStyleCnt="5" custLinFactNeighborY="668">
        <dgm:presLayoutVars>
          <dgm:bulletEnabled val="1"/>
        </dgm:presLayoutVars>
      </dgm:prSet>
      <dgm:spPr/>
    </dgm:pt>
    <dgm:pt modelId="{5CEE50BF-FE65-7544-9E28-F7C629A2981B}" type="pres">
      <dgm:prSet presAssocID="{165D421E-B61A-2C49-B3F2-26AFF03F4B8A}" presName="space" presStyleCnt="0"/>
      <dgm:spPr/>
    </dgm:pt>
    <dgm:pt modelId="{726B8A86-AE6A-014B-BE50-CF18DD422F1A}" type="pres">
      <dgm:prSet presAssocID="{276878CC-DE65-BF48-94D6-631026E8015E}" presName="composite" presStyleCnt="0"/>
      <dgm:spPr/>
    </dgm:pt>
    <dgm:pt modelId="{38C3B912-6573-8643-8222-6D23A6C570F9}" type="pres">
      <dgm:prSet presAssocID="{276878CC-DE65-BF48-94D6-631026E8015E}" presName="parTx" presStyleLbl="alignNode1" presStyleIdx="1" presStyleCnt="5">
        <dgm:presLayoutVars>
          <dgm:chMax val="0"/>
          <dgm:chPref val="0"/>
          <dgm:bulletEnabled val="1"/>
        </dgm:presLayoutVars>
      </dgm:prSet>
      <dgm:spPr/>
    </dgm:pt>
    <dgm:pt modelId="{9050EE71-E1E4-E74C-8EF6-AE04A2A8853A}" type="pres">
      <dgm:prSet presAssocID="{276878CC-DE65-BF48-94D6-631026E8015E}" presName="desTx" presStyleLbl="alignAccFollowNode1" presStyleIdx="1" presStyleCnt="5">
        <dgm:presLayoutVars>
          <dgm:bulletEnabled val="1"/>
        </dgm:presLayoutVars>
      </dgm:prSet>
      <dgm:spPr/>
    </dgm:pt>
    <dgm:pt modelId="{0BED1177-93AE-FA4A-9EB1-F22F5926B0C0}" type="pres">
      <dgm:prSet presAssocID="{46553EC8-3392-B14D-A5E4-CA230C8A50C2}" presName="space" presStyleCnt="0"/>
      <dgm:spPr/>
    </dgm:pt>
    <dgm:pt modelId="{A119BA44-69FE-F14C-89E0-D6F25EF8876C}" type="pres">
      <dgm:prSet presAssocID="{DBB39C13-1FF0-7D4B-8959-F6F3AF6435FD}" presName="composite" presStyleCnt="0"/>
      <dgm:spPr/>
    </dgm:pt>
    <dgm:pt modelId="{658BCEFA-31DB-6344-99B2-81755ADD94AE}" type="pres">
      <dgm:prSet presAssocID="{DBB39C13-1FF0-7D4B-8959-F6F3AF6435FD}" presName="parTx" presStyleLbl="alignNode1" presStyleIdx="2" presStyleCnt="5" custScaleX="110252">
        <dgm:presLayoutVars>
          <dgm:chMax val="0"/>
          <dgm:chPref val="0"/>
          <dgm:bulletEnabled val="1"/>
        </dgm:presLayoutVars>
      </dgm:prSet>
      <dgm:spPr/>
    </dgm:pt>
    <dgm:pt modelId="{5EB5E48D-A7FF-5B40-8296-D6733EC1F50C}" type="pres">
      <dgm:prSet presAssocID="{DBB39C13-1FF0-7D4B-8959-F6F3AF6435FD}" presName="desTx" presStyleLbl="alignAccFollowNode1" presStyleIdx="2" presStyleCnt="5">
        <dgm:presLayoutVars>
          <dgm:bulletEnabled val="1"/>
        </dgm:presLayoutVars>
      </dgm:prSet>
      <dgm:spPr/>
    </dgm:pt>
    <dgm:pt modelId="{599EE6AC-E3B2-1B43-A34C-447EDDE076C8}" type="pres">
      <dgm:prSet presAssocID="{3FDF87F1-D397-8346-B381-36EACC7C0067}" presName="space" presStyleCnt="0"/>
      <dgm:spPr/>
    </dgm:pt>
    <dgm:pt modelId="{D3CB14FD-DF39-D642-8324-11077721654E}" type="pres">
      <dgm:prSet presAssocID="{C79C5E61-4FB1-514F-82D3-895DF0A9B817}" presName="composite" presStyleCnt="0"/>
      <dgm:spPr/>
    </dgm:pt>
    <dgm:pt modelId="{C088307D-1CC1-9943-BC7B-135AF2AB152A}" type="pres">
      <dgm:prSet presAssocID="{C79C5E61-4FB1-514F-82D3-895DF0A9B817}" presName="parTx" presStyleLbl="alignNode1" presStyleIdx="3" presStyleCnt="5">
        <dgm:presLayoutVars>
          <dgm:chMax val="0"/>
          <dgm:chPref val="0"/>
          <dgm:bulletEnabled val="1"/>
        </dgm:presLayoutVars>
      </dgm:prSet>
      <dgm:spPr/>
    </dgm:pt>
    <dgm:pt modelId="{7261BD65-8AE5-C64A-9D1C-C130649DFD54}" type="pres">
      <dgm:prSet presAssocID="{C79C5E61-4FB1-514F-82D3-895DF0A9B817}" presName="desTx" presStyleLbl="alignAccFollowNode1" presStyleIdx="3" presStyleCnt="5">
        <dgm:presLayoutVars>
          <dgm:bulletEnabled val="1"/>
        </dgm:presLayoutVars>
      </dgm:prSet>
      <dgm:spPr/>
    </dgm:pt>
    <dgm:pt modelId="{AB3F8B80-6009-5140-B102-EC611A3D5F2D}" type="pres">
      <dgm:prSet presAssocID="{BE77AA39-6194-E944-912F-74DC20BD6C29}" presName="space" presStyleCnt="0"/>
      <dgm:spPr/>
    </dgm:pt>
    <dgm:pt modelId="{446D22AE-29AB-4F45-B54B-59F3D7814ABF}" type="pres">
      <dgm:prSet presAssocID="{1A4357BF-108B-8C41-AEC9-6281B9589735}" presName="composite" presStyleCnt="0"/>
      <dgm:spPr/>
    </dgm:pt>
    <dgm:pt modelId="{F5A4A149-D24F-C146-9F0B-71629C0957D9}" type="pres">
      <dgm:prSet presAssocID="{1A4357BF-108B-8C41-AEC9-6281B9589735}" presName="parTx" presStyleLbl="alignNode1" presStyleIdx="4" presStyleCnt="5">
        <dgm:presLayoutVars>
          <dgm:chMax val="0"/>
          <dgm:chPref val="0"/>
          <dgm:bulletEnabled val="1"/>
        </dgm:presLayoutVars>
      </dgm:prSet>
      <dgm:spPr/>
    </dgm:pt>
    <dgm:pt modelId="{3EA14D89-47EA-1947-81E1-D3C623757F10}" type="pres">
      <dgm:prSet presAssocID="{1A4357BF-108B-8C41-AEC9-6281B9589735}" presName="desTx" presStyleLbl="alignAccFollowNode1" presStyleIdx="4" presStyleCnt="5">
        <dgm:presLayoutVars>
          <dgm:bulletEnabled val="1"/>
        </dgm:presLayoutVars>
      </dgm:prSet>
      <dgm:spPr/>
    </dgm:pt>
  </dgm:ptLst>
  <dgm:cxnLst>
    <dgm:cxn modelId="{A1D55401-7B81-4F4F-B643-488B68301802}" type="presOf" srcId="{10743DCF-A4BC-1042-87A7-434ECD55DF31}" destId="{9050EE71-E1E4-E74C-8EF6-AE04A2A8853A}" srcOrd="0" destOrd="4" presId="urn:microsoft.com/office/officeart/2005/8/layout/hList1"/>
    <dgm:cxn modelId="{BD49E504-D194-A146-B7CD-68FDC7246B50}" srcId="{323D1F30-9D05-044F-B755-9843EA6BF91E}" destId="{DBB39C13-1FF0-7D4B-8959-F6F3AF6435FD}" srcOrd="2" destOrd="0" parTransId="{1FDCA0AE-1B2F-9446-AADA-F4C6B7C39A75}" sibTransId="{3FDF87F1-D397-8346-B381-36EACC7C0067}"/>
    <dgm:cxn modelId="{64C42D0D-75FA-674F-858A-2306B14F856C}" srcId="{1A4357BF-108B-8C41-AEC9-6281B9589735}" destId="{646A59B3-2621-B94F-8F1E-5495F20367D1}" srcOrd="2" destOrd="0" parTransId="{42EAA7BE-698E-0248-BD69-74ADF367ABC1}" sibTransId="{D15EF954-A669-B144-836E-BAD97C6D9B0A}"/>
    <dgm:cxn modelId="{138D2F11-2D4E-B841-A1A1-1887FB962BBF}" srcId="{1A4357BF-108B-8C41-AEC9-6281B9589735}" destId="{AF7CEC81-38C4-CB40-8047-5518696CD62A}" srcOrd="1" destOrd="0" parTransId="{16CAD3DD-FC1D-FF4F-B753-2C718326EA22}" sibTransId="{812F808E-D1ED-324B-BB8E-724AF02573A4}"/>
    <dgm:cxn modelId="{89C0E211-F03D-8948-9898-04BBF9186BCB}" type="presOf" srcId="{AECB5F47-B3B1-1246-9FD2-00701858AB41}" destId="{5EB5E48D-A7FF-5B40-8296-D6733EC1F50C}" srcOrd="0" destOrd="6" presId="urn:microsoft.com/office/officeart/2005/8/layout/hList1"/>
    <dgm:cxn modelId="{3817DF16-698C-CE4E-A8C9-7504EF97D4B0}" srcId="{276878CC-DE65-BF48-94D6-631026E8015E}" destId="{FE2F1D43-4D6A-C348-AA23-7B3B800CCB85}" srcOrd="2" destOrd="0" parTransId="{3BBC301F-A659-F44C-A5F1-0759C9C24F51}" sibTransId="{8606A716-22CB-1A41-80A1-35E6080AAD42}"/>
    <dgm:cxn modelId="{B774F118-9C33-5F43-B3C7-C9A468D40D94}" type="presOf" srcId="{79AED052-2AD2-F945-949A-7F805A7FF486}" destId="{5EB5E48D-A7FF-5B40-8296-D6733EC1F50C}" srcOrd="0" destOrd="5" presId="urn:microsoft.com/office/officeart/2005/8/layout/hList1"/>
    <dgm:cxn modelId="{68698B1B-950C-F74E-9B74-AC94D4AB4A24}" srcId="{276878CC-DE65-BF48-94D6-631026E8015E}" destId="{ADC58B17-B933-304E-92C1-205284E60E63}" srcOrd="0" destOrd="0" parTransId="{8540DF32-C0C7-F845-BF5D-8F7FB0950B86}" sibTransId="{58C46F22-5A08-3649-81B3-7463F9E513E1}"/>
    <dgm:cxn modelId="{99BFEA1B-2F47-5F40-A555-7367F0D9D1F1}" srcId="{323D1F30-9D05-044F-B755-9843EA6BF91E}" destId="{276878CC-DE65-BF48-94D6-631026E8015E}" srcOrd="1" destOrd="0" parTransId="{B11288CF-C2AC-6540-9EB1-216FDE56500A}" sibTransId="{46553EC8-3392-B14D-A5E4-CA230C8A50C2}"/>
    <dgm:cxn modelId="{65D2DC1D-C7B5-9845-AB3B-6A91BEB6D6EB}" type="presOf" srcId="{4F952E90-BBC9-C94F-80DC-EB309E0EE356}" destId="{7261BD65-8AE5-C64A-9D1C-C130649DFD54}" srcOrd="0" destOrd="1" presId="urn:microsoft.com/office/officeart/2005/8/layout/hList1"/>
    <dgm:cxn modelId="{80F52F1F-6C7A-0E49-856A-30FA4E7FC7F8}" type="presOf" srcId="{C2A213FA-B96F-2449-8EBE-7E6537466074}" destId="{3EA14D89-47EA-1947-81E1-D3C623757F10}" srcOrd="0" destOrd="0" presId="urn:microsoft.com/office/officeart/2005/8/layout/hList1"/>
    <dgm:cxn modelId="{FA562923-9ECC-084E-8F54-1A02953B0EDC}" srcId="{C79C5E61-4FB1-514F-82D3-895DF0A9B817}" destId="{C02D7897-7055-D443-B8B3-DC2D748B1E38}" srcOrd="4" destOrd="0" parTransId="{1EB8D605-1405-0A45-82EB-99FDD2B7E9D1}" sibTransId="{ABFA7D33-EBA5-D840-8479-4A4256BD464A}"/>
    <dgm:cxn modelId="{F80EE128-E11F-FA47-8944-367DF1101217}" srcId="{C79C5E61-4FB1-514F-82D3-895DF0A9B817}" destId="{85FD2ACB-4250-2741-95F1-715A7B00EE82}" srcOrd="5" destOrd="0" parTransId="{09248FC5-FD52-BA43-B4B1-567BB9B6324D}" sibTransId="{605ABD84-34F2-CA4D-AFCF-FE53EB6BF2BE}"/>
    <dgm:cxn modelId="{F183C42B-066F-5143-8DBC-ACCB59E71F82}" srcId="{DBB39C13-1FF0-7D4B-8959-F6F3AF6435FD}" destId="{79E861C7-A9AF-2040-B419-F5AC5038A356}" srcOrd="1" destOrd="0" parTransId="{9A34BC1F-BBB0-594A-AE93-EB819D40740E}" sibTransId="{0DB17C36-7797-484F-AAB9-9021B1A06302}"/>
    <dgm:cxn modelId="{9F772D33-11A0-504F-AB09-B0A88804DCB5}" srcId="{4A4CB902-18AC-0846-AA25-7813E5A45919}" destId="{5167F3E8-012D-144A-8B68-B02ACFEE5ED3}" srcOrd="3" destOrd="0" parTransId="{72842849-918D-184B-9CE3-8387589C5438}" sibTransId="{3B40C4ED-0DDB-9142-B575-6ED111425D65}"/>
    <dgm:cxn modelId="{4B286033-3BD4-7148-B1DB-DAD324E2E917}" srcId="{323D1F30-9D05-044F-B755-9843EA6BF91E}" destId="{C79C5E61-4FB1-514F-82D3-895DF0A9B817}" srcOrd="3" destOrd="0" parTransId="{02AD1FDB-FE7A-234E-A8C6-533FE8C7B481}" sibTransId="{BE77AA39-6194-E944-912F-74DC20BD6C29}"/>
    <dgm:cxn modelId="{94870E37-5E97-E343-95F8-563930C8D86D}" type="presOf" srcId="{587688A2-FB45-CE4A-B62A-087CD89007D9}" destId="{5EB5E48D-A7FF-5B40-8296-D6733EC1F50C}" srcOrd="0" destOrd="7" presId="urn:microsoft.com/office/officeart/2005/8/layout/hList1"/>
    <dgm:cxn modelId="{1F475438-4C57-9548-8E3E-9C9DC08FE7EC}" type="presOf" srcId="{FCA1FB2F-868D-9C4D-90E9-F2D3988531FE}" destId="{A21D5157-D519-934D-A7FA-4B628D7867CB}" srcOrd="0" destOrd="2" presId="urn:microsoft.com/office/officeart/2005/8/layout/hList1"/>
    <dgm:cxn modelId="{FF378738-1DE0-7E48-A7AF-8164323F3EE7}" srcId="{4A4CB902-18AC-0846-AA25-7813E5A45919}" destId="{C2782098-DEFA-2D49-8360-5C334BF4C43A}" srcOrd="0" destOrd="0" parTransId="{FFD8903B-3A27-E747-9329-AF37453D3B54}" sibTransId="{A4262CE6-4956-774C-A723-D486184053D5}"/>
    <dgm:cxn modelId="{6D5B403C-A0F5-6444-82B1-EE62E2E12453}" srcId="{DBB39C13-1FF0-7D4B-8959-F6F3AF6435FD}" destId="{587688A2-FB45-CE4A-B62A-087CD89007D9}" srcOrd="7" destOrd="0" parTransId="{EED2E704-F373-EB40-B50B-C298D5A82724}" sibTransId="{0355361A-1F07-9245-A8E1-E9587BC61719}"/>
    <dgm:cxn modelId="{099DB83E-E219-1345-8270-8BC94DC13578}" srcId="{DBB39C13-1FF0-7D4B-8959-F6F3AF6435FD}" destId="{8EF629E7-3B67-C44A-A3E8-CE3BDA4A59EA}" srcOrd="0" destOrd="0" parTransId="{A6D4D952-3E59-9C4A-A537-6DF66D2193C4}" sibTransId="{A998BFAD-253B-4C4F-BD78-8D60BD2FDA56}"/>
    <dgm:cxn modelId="{FEF3CD3E-6C0E-CE47-A372-76CB65240439}" srcId="{DBB39C13-1FF0-7D4B-8959-F6F3AF6435FD}" destId="{69E49F27-4066-A548-8093-E4FE02A8766F}" srcOrd="4" destOrd="0" parTransId="{9D69E750-C84C-3B4C-8134-FFAE83827BFC}" sibTransId="{DCC3C653-1BC8-C045-83C0-76A11762F32D}"/>
    <dgm:cxn modelId="{1FB8BC3F-6E98-B449-AA49-2AE94134E77F}" type="presOf" srcId="{9AD9B66D-E738-AD48-8AE3-DA522DA0E5EA}" destId="{9050EE71-E1E4-E74C-8EF6-AE04A2A8853A}" srcOrd="0" destOrd="3" presId="urn:microsoft.com/office/officeart/2005/8/layout/hList1"/>
    <dgm:cxn modelId="{4D971543-A322-DE44-8CD3-FCE38E911D3A}" type="presOf" srcId="{1A4357BF-108B-8C41-AEC9-6281B9589735}" destId="{F5A4A149-D24F-C146-9F0B-71629C0957D9}" srcOrd="0" destOrd="0" presId="urn:microsoft.com/office/officeart/2005/8/layout/hList1"/>
    <dgm:cxn modelId="{82FA7E47-6428-DF4D-8C69-E3E8478F49EA}" srcId="{1A4357BF-108B-8C41-AEC9-6281B9589735}" destId="{C2A213FA-B96F-2449-8EBE-7E6537466074}" srcOrd="0" destOrd="0" parTransId="{31636C18-25CF-FE4E-9F88-8918FD5D92D1}" sibTransId="{5AB8BFED-4C74-1B46-B3B3-9A3E5362AAC1}"/>
    <dgm:cxn modelId="{67630068-4E72-104D-A2C3-2928CAE7CEA1}" srcId="{276878CC-DE65-BF48-94D6-631026E8015E}" destId="{10743DCF-A4BC-1042-87A7-434ECD55DF31}" srcOrd="4" destOrd="0" parTransId="{FF04F9E1-1DCC-DD4F-B2D1-7F68A1ABF3A8}" sibTransId="{B753FF13-6053-B740-B588-29DB2305483B}"/>
    <dgm:cxn modelId="{D5B70849-2B1F-6140-B5C8-DB80C5C94604}" type="presOf" srcId="{C2782098-DEFA-2D49-8360-5C334BF4C43A}" destId="{A21D5157-D519-934D-A7FA-4B628D7867CB}" srcOrd="0" destOrd="0" presId="urn:microsoft.com/office/officeart/2005/8/layout/hList1"/>
    <dgm:cxn modelId="{33736B6D-0046-6E45-9762-BBE6859FCA46}" type="presOf" srcId="{FE2F1D43-4D6A-C348-AA23-7B3B800CCB85}" destId="{9050EE71-E1E4-E74C-8EF6-AE04A2A8853A}" srcOrd="0" destOrd="2" presId="urn:microsoft.com/office/officeart/2005/8/layout/hList1"/>
    <dgm:cxn modelId="{7A16316E-188E-6749-B791-F6D053BDE6D5}" srcId="{DBB39C13-1FF0-7D4B-8959-F6F3AF6435FD}" destId="{AECB5F47-B3B1-1246-9FD2-00701858AB41}" srcOrd="6" destOrd="0" parTransId="{45CCEA9E-B925-8342-ACD8-071D94A8BBE9}" sibTransId="{663A0A43-51BF-E849-A986-2862251D7759}"/>
    <dgm:cxn modelId="{1F5D976F-CB4F-AD4F-B702-CE3A28017E6F}" type="presOf" srcId="{69E49F27-4066-A548-8093-E4FE02A8766F}" destId="{5EB5E48D-A7FF-5B40-8296-D6733EC1F50C}" srcOrd="0" destOrd="4" presId="urn:microsoft.com/office/officeart/2005/8/layout/hList1"/>
    <dgm:cxn modelId="{64DC8672-4DDE-7F45-A2F0-288234B16D48}" srcId="{DBB39C13-1FF0-7D4B-8959-F6F3AF6435FD}" destId="{7DB28244-8613-C34E-B3FE-E8E6B0008C29}" srcOrd="3" destOrd="0" parTransId="{76B8EA60-80A1-024A-9C83-D8C53BF225E1}" sibTransId="{5E0B9269-432A-3A47-8614-91006995AAC9}"/>
    <dgm:cxn modelId="{25804955-F438-C449-B1F1-DAE1ACA9FAD2}" type="presOf" srcId="{AF7CEC81-38C4-CB40-8047-5518696CD62A}" destId="{3EA14D89-47EA-1947-81E1-D3C623757F10}" srcOrd="0" destOrd="1" presId="urn:microsoft.com/office/officeart/2005/8/layout/hList1"/>
    <dgm:cxn modelId="{D3F5C755-EE9E-3246-B1E4-58688C86C44D}" type="presOf" srcId="{CD77A08C-B2CF-8140-A496-5453A8D6F225}" destId="{9050EE71-E1E4-E74C-8EF6-AE04A2A8853A}" srcOrd="0" destOrd="1" presId="urn:microsoft.com/office/officeart/2005/8/layout/hList1"/>
    <dgm:cxn modelId="{2DA9CF55-E5A0-A14E-BBF5-38038201AD54}" type="presOf" srcId="{8EF629E7-3B67-C44A-A3E8-CE3BDA4A59EA}" destId="{5EB5E48D-A7FF-5B40-8296-D6733EC1F50C}" srcOrd="0" destOrd="0" presId="urn:microsoft.com/office/officeart/2005/8/layout/hList1"/>
    <dgm:cxn modelId="{DEE99757-C50A-2145-8ECC-36E03565F4C4}" type="presOf" srcId="{E00FC5A1-A931-5B48-BFDF-924EEA8C6246}" destId="{A21D5157-D519-934D-A7FA-4B628D7867CB}" srcOrd="0" destOrd="4" presId="urn:microsoft.com/office/officeart/2005/8/layout/hList1"/>
    <dgm:cxn modelId="{BADD5E79-F1B5-DE47-9065-30B45623192E}" type="presOf" srcId="{276878CC-DE65-BF48-94D6-631026E8015E}" destId="{38C3B912-6573-8643-8222-6D23A6C570F9}" srcOrd="0" destOrd="0" presId="urn:microsoft.com/office/officeart/2005/8/layout/hList1"/>
    <dgm:cxn modelId="{3C03B85A-CCD2-1F43-B05D-1E76081DCBA6}" type="presOf" srcId="{C02D7897-7055-D443-B8B3-DC2D748B1E38}" destId="{7261BD65-8AE5-C64A-9D1C-C130649DFD54}" srcOrd="0" destOrd="4" presId="urn:microsoft.com/office/officeart/2005/8/layout/hList1"/>
    <dgm:cxn modelId="{4B275381-2D17-2B40-916B-4E3B6D2700E7}" type="presOf" srcId="{DBB39C13-1FF0-7D4B-8959-F6F3AF6435FD}" destId="{658BCEFA-31DB-6344-99B2-81755ADD94AE}" srcOrd="0" destOrd="0" presId="urn:microsoft.com/office/officeart/2005/8/layout/hList1"/>
    <dgm:cxn modelId="{F3445390-0588-E741-A890-9026ACAB503E}" srcId="{DBB39C13-1FF0-7D4B-8959-F6F3AF6435FD}" destId="{F8034787-D4D5-F94F-8C60-992693E8602C}" srcOrd="8" destOrd="0" parTransId="{4FCDBC70-D33E-6C46-AF21-988594362DB0}" sibTransId="{FF804D57-E0BD-5A42-B692-425DE03A4E3A}"/>
    <dgm:cxn modelId="{1DE9E997-65C5-8B48-8551-CA8DFC822B9E}" type="presOf" srcId="{323D1F30-9D05-044F-B755-9843EA6BF91E}" destId="{CF426B2A-AAC2-3E4F-BC94-72BFEC500E0B}" srcOrd="0" destOrd="0" presId="urn:microsoft.com/office/officeart/2005/8/layout/hList1"/>
    <dgm:cxn modelId="{DB2D1298-9384-7947-B179-0EBE2BCC9F7A}" type="presOf" srcId="{C79C5E61-4FB1-514F-82D3-895DF0A9B817}" destId="{C088307D-1CC1-9943-BC7B-135AF2AB152A}" srcOrd="0" destOrd="0" presId="urn:microsoft.com/office/officeart/2005/8/layout/hList1"/>
    <dgm:cxn modelId="{90B8C49A-A655-084A-A23C-809A067F0495}" type="presOf" srcId="{A34C6910-A7EF-1F42-8530-A36CE4D2A395}" destId="{7261BD65-8AE5-C64A-9D1C-C130649DFD54}" srcOrd="0" destOrd="0" presId="urn:microsoft.com/office/officeart/2005/8/layout/hList1"/>
    <dgm:cxn modelId="{08A1199B-503E-0447-8829-83E7620046A4}" type="presOf" srcId="{2077C361-2113-F243-BF63-7F685773126E}" destId="{7261BD65-8AE5-C64A-9D1C-C130649DFD54}" srcOrd="0" destOrd="2" presId="urn:microsoft.com/office/officeart/2005/8/layout/hList1"/>
    <dgm:cxn modelId="{FC98C8B0-43EA-354D-BD26-109D21B5A2D5}" type="presOf" srcId="{85FD2ACB-4250-2741-95F1-715A7B00EE82}" destId="{7261BD65-8AE5-C64A-9D1C-C130649DFD54}" srcOrd="0" destOrd="5" presId="urn:microsoft.com/office/officeart/2005/8/layout/hList1"/>
    <dgm:cxn modelId="{C73813B6-2353-2F44-A246-DF9CA0573DD4}" srcId="{323D1F30-9D05-044F-B755-9843EA6BF91E}" destId="{4A4CB902-18AC-0846-AA25-7813E5A45919}" srcOrd="0" destOrd="0" parTransId="{A5A1A720-180C-4940-BF37-6C8E73850D35}" sibTransId="{165D421E-B61A-2C49-B3F2-26AFF03F4B8A}"/>
    <dgm:cxn modelId="{06DA9DBD-F0E9-6047-926B-132A51F0E283}" srcId="{276878CC-DE65-BF48-94D6-631026E8015E}" destId="{9AD9B66D-E738-AD48-8AE3-DA522DA0E5EA}" srcOrd="3" destOrd="0" parTransId="{DB410D74-9767-EB47-820A-EE495ED8FD63}" sibTransId="{CFA76A5E-3628-6540-95D2-F278AEF48271}"/>
    <dgm:cxn modelId="{DDFE35BE-FD7F-214C-B225-68A3AD861F6B}" type="presOf" srcId="{E337973E-77EA-014D-AE18-7CFD03C17BD4}" destId="{A21D5157-D519-934D-A7FA-4B628D7867CB}" srcOrd="0" destOrd="1" presId="urn:microsoft.com/office/officeart/2005/8/layout/hList1"/>
    <dgm:cxn modelId="{552748C0-FC72-B141-9A80-AF754A712DE3}" srcId="{C79C5E61-4FB1-514F-82D3-895DF0A9B817}" destId="{690D6196-D3C4-A144-BDF1-B88CF2B4ED72}" srcOrd="3" destOrd="0" parTransId="{CD0D0B26-8A90-CA42-A70B-8EFC16DF509F}" sibTransId="{3EEB21DE-F06E-FA4D-9C3F-5C0926BAD58B}"/>
    <dgm:cxn modelId="{01D609C2-DC13-404F-99FE-00537A06C6AB}" type="presOf" srcId="{690D6196-D3C4-A144-BDF1-B88CF2B4ED72}" destId="{7261BD65-8AE5-C64A-9D1C-C130649DFD54}" srcOrd="0" destOrd="3" presId="urn:microsoft.com/office/officeart/2005/8/layout/hList1"/>
    <dgm:cxn modelId="{E6DFBFCD-0847-254F-A76F-BE05A86A65E6}" srcId="{C79C5E61-4FB1-514F-82D3-895DF0A9B817}" destId="{A34C6910-A7EF-1F42-8530-A36CE4D2A395}" srcOrd="0" destOrd="0" parTransId="{CD970EF1-2291-9946-9F35-774A448B699C}" sibTransId="{82480736-26C1-5C4F-8FB7-2E4CAA9E3243}"/>
    <dgm:cxn modelId="{E8553BD2-E1F6-8341-9DEA-1A071AB2F8B4}" srcId="{4A4CB902-18AC-0846-AA25-7813E5A45919}" destId="{E00FC5A1-A931-5B48-BFDF-924EEA8C6246}" srcOrd="4" destOrd="0" parTransId="{5C4ACD47-6428-FB49-AF2B-6AE0EC60DB07}" sibTransId="{0BCE0044-F56F-4E4D-9920-65C4548A0F1F}"/>
    <dgm:cxn modelId="{CBAA6ED6-21C8-984D-956B-98D7455381F4}" type="presOf" srcId="{79E861C7-A9AF-2040-B419-F5AC5038A356}" destId="{5EB5E48D-A7FF-5B40-8296-D6733EC1F50C}" srcOrd="0" destOrd="1" presId="urn:microsoft.com/office/officeart/2005/8/layout/hList1"/>
    <dgm:cxn modelId="{3CB2CFD7-BBC3-3E47-BD09-29F3CBE938A0}" type="presOf" srcId="{646A59B3-2621-B94F-8F1E-5495F20367D1}" destId="{3EA14D89-47EA-1947-81E1-D3C623757F10}" srcOrd="0" destOrd="2" presId="urn:microsoft.com/office/officeart/2005/8/layout/hList1"/>
    <dgm:cxn modelId="{882600DB-B19C-CB48-90D8-C468EA6D7554}" srcId="{276878CC-DE65-BF48-94D6-631026E8015E}" destId="{CD77A08C-B2CF-8140-A496-5453A8D6F225}" srcOrd="1" destOrd="0" parTransId="{2305B77B-1DA9-1646-B86C-39FF23E402E8}" sibTransId="{4EBF0DAB-FA6B-E44E-9C76-987B4CB7EF30}"/>
    <dgm:cxn modelId="{769092DB-DAF9-6840-9DEA-5FD2E49BC155}" srcId="{DBB39C13-1FF0-7D4B-8959-F6F3AF6435FD}" destId="{79AED052-2AD2-F945-949A-7F805A7FF486}" srcOrd="5" destOrd="0" parTransId="{B1CCC77E-D93F-CD42-9BFE-FC9B5DE7F715}" sibTransId="{4B5990EB-F8CE-F141-8F91-C250C070A315}"/>
    <dgm:cxn modelId="{BD7C7DE1-AD23-FA46-BAF5-A196C8435776}" srcId="{C79C5E61-4FB1-514F-82D3-895DF0A9B817}" destId="{4F952E90-BBC9-C94F-80DC-EB309E0EE356}" srcOrd="1" destOrd="0" parTransId="{772050C0-7BB6-C545-8145-89D5DFB10836}" sibTransId="{D1F186A9-4C50-F545-94D7-F469DB368059}"/>
    <dgm:cxn modelId="{7680A9E3-4AFD-B146-A38D-2342F38F6F7B}" type="presOf" srcId="{4A4CB902-18AC-0846-AA25-7813E5A45919}" destId="{EDDC7501-6423-9243-B90E-8AD56BEF35F8}" srcOrd="0" destOrd="0" presId="urn:microsoft.com/office/officeart/2005/8/layout/hList1"/>
    <dgm:cxn modelId="{E43256E9-442E-E445-BC75-0CDC82859592}" srcId="{323D1F30-9D05-044F-B755-9843EA6BF91E}" destId="{1A4357BF-108B-8C41-AEC9-6281B9589735}" srcOrd="4" destOrd="0" parTransId="{EB7BBB5B-C4BC-B443-8FD9-80CFC109BC6C}" sibTransId="{9D57DF3C-8FB6-5A4A-A521-C33A6B9677EC}"/>
    <dgm:cxn modelId="{C7E6C5EF-E7DF-BA41-8A4D-B840A88C460C}" srcId="{C79C5E61-4FB1-514F-82D3-895DF0A9B817}" destId="{2077C361-2113-F243-BF63-7F685773126E}" srcOrd="2" destOrd="0" parTransId="{FD9168F9-A513-2B41-9C62-3388779ECA44}" sibTransId="{C4746E5B-5F79-5047-9B97-2094FE56CCA5}"/>
    <dgm:cxn modelId="{2655F8EF-C879-B94F-8B16-2BAFF29E945D}" srcId="{4A4CB902-18AC-0846-AA25-7813E5A45919}" destId="{E337973E-77EA-014D-AE18-7CFD03C17BD4}" srcOrd="1" destOrd="0" parTransId="{B49A7E0A-3344-6D43-92C9-335F2ABD00F5}" sibTransId="{2A1312E9-C757-B343-A045-102BCFB5421E}"/>
    <dgm:cxn modelId="{3C7AF1F4-01C4-A84B-98C1-55136568B259}" srcId="{4A4CB902-18AC-0846-AA25-7813E5A45919}" destId="{FCA1FB2F-868D-9C4D-90E9-F2D3988531FE}" srcOrd="2" destOrd="0" parTransId="{A2C022B4-8A6A-9B45-B493-FF01237CE128}" sibTransId="{AE49C009-749F-C648-85D0-10F742AF2FBB}"/>
    <dgm:cxn modelId="{30848DF6-39C2-4C4B-A1AC-5AA6A2DA1F30}" type="presOf" srcId="{7DB28244-8613-C34E-B3FE-E8E6B0008C29}" destId="{5EB5E48D-A7FF-5B40-8296-D6733EC1F50C}" srcOrd="0" destOrd="3" presId="urn:microsoft.com/office/officeart/2005/8/layout/hList1"/>
    <dgm:cxn modelId="{A396C3F6-CB6E-A745-AD9F-00DDBFFA5834}" type="presOf" srcId="{5167F3E8-012D-144A-8B68-B02ACFEE5ED3}" destId="{A21D5157-D519-934D-A7FA-4B628D7867CB}" srcOrd="0" destOrd="3" presId="urn:microsoft.com/office/officeart/2005/8/layout/hList1"/>
    <dgm:cxn modelId="{CCAD6EF7-FC04-D747-BC5F-922172F5F229}" srcId="{DBB39C13-1FF0-7D4B-8959-F6F3AF6435FD}" destId="{EBB87C04-6399-C04D-B81A-601F4CC57BBA}" srcOrd="2" destOrd="0" parTransId="{11701E51-25ED-234D-81AB-FD9FADB662D4}" sibTransId="{A0BEC5A5-09C8-7B43-A93F-E5DACFF31159}"/>
    <dgm:cxn modelId="{333227FE-EEFE-F546-85B9-D279370673E6}" type="presOf" srcId="{F8034787-D4D5-F94F-8C60-992693E8602C}" destId="{5EB5E48D-A7FF-5B40-8296-D6733EC1F50C}" srcOrd="0" destOrd="8" presId="urn:microsoft.com/office/officeart/2005/8/layout/hList1"/>
    <dgm:cxn modelId="{1A7C38FF-3FAD-7548-9CEE-3BC55257B332}" type="presOf" srcId="{EBB87C04-6399-C04D-B81A-601F4CC57BBA}" destId="{5EB5E48D-A7FF-5B40-8296-D6733EC1F50C}" srcOrd="0" destOrd="2" presId="urn:microsoft.com/office/officeart/2005/8/layout/hList1"/>
    <dgm:cxn modelId="{CCF75AFF-E0ED-2E41-8B97-CD26FC03A6DD}" type="presOf" srcId="{ADC58B17-B933-304E-92C1-205284E60E63}" destId="{9050EE71-E1E4-E74C-8EF6-AE04A2A8853A}" srcOrd="0" destOrd="0" presId="urn:microsoft.com/office/officeart/2005/8/layout/hList1"/>
    <dgm:cxn modelId="{319CF1C9-EFF1-E046-BD3C-E20348BD008B}" type="presParOf" srcId="{CF426B2A-AAC2-3E4F-BC94-72BFEC500E0B}" destId="{2C437932-A0B6-364E-9696-C327A5F5CC2C}" srcOrd="0" destOrd="0" presId="urn:microsoft.com/office/officeart/2005/8/layout/hList1"/>
    <dgm:cxn modelId="{AC288ADF-DB44-EC44-8831-4D30F6CCDF2F}" type="presParOf" srcId="{2C437932-A0B6-364E-9696-C327A5F5CC2C}" destId="{EDDC7501-6423-9243-B90E-8AD56BEF35F8}" srcOrd="0" destOrd="0" presId="urn:microsoft.com/office/officeart/2005/8/layout/hList1"/>
    <dgm:cxn modelId="{4A12BD9F-C372-AE4A-9D4D-5E0230C9A803}" type="presParOf" srcId="{2C437932-A0B6-364E-9696-C327A5F5CC2C}" destId="{A21D5157-D519-934D-A7FA-4B628D7867CB}" srcOrd="1" destOrd="0" presId="urn:microsoft.com/office/officeart/2005/8/layout/hList1"/>
    <dgm:cxn modelId="{EEB14146-1E9B-5149-86E3-FCDA9FF31766}" type="presParOf" srcId="{CF426B2A-AAC2-3E4F-BC94-72BFEC500E0B}" destId="{5CEE50BF-FE65-7544-9E28-F7C629A2981B}" srcOrd="1" destOrd="0" presId="urn:microsoft.com/office/officeart/2005/8/layout/hList1"/>
    <dgm:cxn modelId="{63F99A55-0F25-D147-BB7D-CA3DD4887F28}" type="presParOf" srcId="{CF426B2A-AAC2-3E4F-BC94-72BFEC500E0B}" destId="{726B8A86-AE6A-014B-BE50-CF18DD422F1A}" srcOrd="2" destOrd="0" presId="urn:microsoft.com/office/officeart/2005/8/layout/hList1"/>
    <dgm:cxn modelId="{E4806385-8D8E-CE40-9EB7-495D2A805CA3}" type="presParOf" srcId="{726B8A86-AE6A-014B-BE50-CF18DD422F1A}" destId="{38C3B912-6573-8643-8222-6D23A6C570F9}" srcOrd="0" destOrd="0" presId="urn:microsoft.com/office/officeart/2005/8/layout/hList1"/>
    <dgm:cxn modelId="{BC316F27-0D15-1740-BC6C-22AAC1B8B385}" type="presParOf" srcId="{726B8A86-AE6A-014B-BE50-CF18DD422F1A}" destId="{9050EE71-E1E4-E74C-8EF6-AE04A2A8853A}" srcOrd="1" destOrd="0" presId="urn:microsoft.com/office/officeart/2005/8/layout/hList1"/>
    <dgm:cxn modelId="{D882452C-3862-7B44-AEC8-B9F50010A781}" type="presParOf" srcId="{CF426B2A-AAC2-3E4F-BC94-72BFEC500E0B}" destId="{0BED1177-93AE-FA4A-9EB1-F22F5926B0C0}" srcOrd="3" destOrd="0" presId="urn:microsoft.com/office/officeart/2005/8/layout/hList1"/>
    <dgm:cxn modelId="{08D12262-EE47-8B41-9D2B-E102AE5C1944}" type="presParOf" srcId="{CF426B2A-AAC2-3E4F-BC94-72BFEC500E0B}" destId="{A119BA44-69FE-F14C-89E0-D6F25EF8876C}" srcOrd="4" destOrd="0" presId="urn:microsoft.com/office/officeart/2005/8/layout/hList1"/>
    <dgm:cxn modelId="{6187B063-86D5-F24B-B57E-E28D8217C28D}" type="presParOf" srcId="{A119BA44-69FE-F14C-89E0-D6F25EF8876C}" destId="{658BCEFA-31DB-6344-99B2-81755ADD94AE}" srcOrd="0" destOrd="0" presId="urn:microsoft.com/office/officeart/2005/8/layout/hList1"/>
    <dgm:cxn modelId="{3C5CBA7A-7C2D-F04F-A708-8A3967ADD481}" type="presParOf" srcId="{A119BA44-69FE-F14C-89E0-D6F25EF8876C}" destId="{5EB5E48D-A7FF-5B40-8296-D6733EC1F50C}" srcOrd="1" destOrd="0" presId="urn:microsoft.com/office/officeart/2005/8/layout/hList1"/>
    <dgm:cxn modelId="{FAA10B10-A70A-1C45-8ABD-565E82107CC3}" type="presParOf" srcId="{CF426B2A-AAC2-3E4F-BC94-72BFEC500E0B}" destId="{599EE6AC-E3B2-1B43-A34C-447EDDE076C8}" srcOrd="5" destOrd="0" presId="urn:microsoft.com/office/officeart/2005/8/layout/hList1"/>
    <dgm:cxn modelId="{C0DB4345-67B5-C741-9EE0-C5B93676B2F1}" type="presParOf" srcId="{CF426B2A-AAC2-3E4F-BC94-72BFEC500E0B}" destId="{D3CB14FD-DF39-D642-8324-11077721654E}" srcOrd="6" destOrd="0" presId="urn:microsoft.com/office/officeart/2005/8/layout/hList1"/>
    <dgm:cxn modelId="{7120052B-2919-944C-A769-273AE2417A73}" type="presParOf" srcId="{D3CB14FD-DF39-D642-8324-11077721654E}" destId="{C088307D-1CC1-9943-BC7B-135AF2AB152A}" srcOrd="0" destOrd="0" presId="urn:microsoft.com/office/officeart/2005/8/layout/hList1"/>
    <dgm:cxn modelId="{6082A611-3DFA-2745-9FE0-C907DF9BF47F}" type="presParOf" srcId="{D3CB14FD-DF39-D642-8324-11077721654E}" destId="{7261BD65-8AE5-C64A-9D1C-C130649DFD54}" srcOrd="1" destOrd="0" presId="urn:microsoft.com/office/officeart/2005/8/layout/hList1"/>
    <dgm:cxn modelId="{FF071009-1809-1645-8043-0A756F9BA20D}" type="presParOf" srcId="{CF426B2A-AAC2-3E4F-BC94-72BFEC500E0B}" destId="{AB3F8B80-6009-5140-B102-EC611A3D5F2D}" srcOrd="7" destOrd="0" presId="urn:microsoft.com/office/officeart/2005/8/layout/hList1"/>
    <dgm:cxn modelId="{1B9F1028-1687-B44D-B47B-3061A55CCB51}" type="presParOf" srcId="{CF426B2A-AAC2-3E4F-BC94-72BFEC500E0B}" destId="{446D22AE-29AB-4F45-B54B-59F3D7814ABF}" srcOrd="8" destOrd="0" presId="urn:microsoft.com/office/officeart/2005/8/layout/hList1"/>
    <dgm:cxn modelId="{7DD64350-E3F1-1B41-92C6-301B36383764}" type="presParOf" srcId="{446D22AE-29AB-4F45-B54B-59F3D7814ABF}" destId="{F5A4A149-D24F-C146-9F0B-71629C0957D9}" srcOrd="0" destOrd="0" presId="urn:microsoft.com/office/officeart/2005/8/layout/hList1"/>
    <dgm:cxn modelId="{B57FD671-0282-E74E-8911-32035C4D126B}" type="presParOf" srcId="{446D22AE-29AB-4F45-B54B-59F3D7814ABF}" destId="{3EA14D89-47EA-1947-81E1-D3C623757F1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904ED9A-B882-4818-B3E6-8F7070B7B805}" type="doc">
      <dgm:prSet loTypeId="urn:microsoft.com/office/officeart/2009/3/layout/HorizontalOrganizationChart" loCatId="hierarchy" qsTypeId="urn:microsoft.com/office/officeart/2005/8/quickstyle/simple1" qsCatId="simple" csTypeId="urn:microsoft.com/office/officeart/2005/8/colors/accent0_3" csCatId="mainScheme" phldr="1"/>
      <dgm:spPr/>
      <dgm:t>
        <a:bodyPr/>
        <a:lstStyle/>
        <a:p>
          <a:endParaRPr lang="en-IN"/>
        </a:p>
      </dgm:t>
    </dgm:pt>
    <dgm:pt modelId="{CC26E21E-97FB-4B61-85CF-12ED4E05F933}">
      <dgm:prSet phldrT="[Text]" custT="1"/>
      <dgm:spPr/>
      <dgm:t>
        <a:bodyPr/>
        <a:lstStyle/>
        <a:p>
          <a:r>
            <a:rPr lang="en-IN" sz="1800" dirty="0">
              <a:latin typeface="Calibri" panose="020F0502020204030204" pitchFamily="34" charset="0"/>
            </a:rPr>
            <a:t>LMO manufacturers</a:t>
          </a:r>
        </a:p>
      </dgm:t>
    </dgm:pt>
    <dgm:pt modelId="{03FAB445-1159-471E-866E-C15D27ADACC0}" type="parTrans" cxnId="{69E852AF-623E-4B9F-AC96-E2581B729B51}">
      <dgm:prSet/>
      <dgm:spPr/>
      <dgm:t>
        <a:bodyPr/>
        <a:lstStyle/>
        <a:p>
          <a:endParaRPr lang="en-IN" sz="1800">
            <a:latin typeface="Gill Sans MT" panose="020B0502020104020203" pitchFamily="34" charset="0"/>
          </a:endParaRPr>
        </a:p>
      </dgm:t>
    </dgm:pt>
    <dgm:pt modelId="{873BF2E9-7592-483E-B94E-D3196EDEB589}" type="sibTrans" cxnId="{69E852AF-623E-4B9F-AC96-E2581B729B51}">
      <dgm:prSet/>
      <dgm:spPr/>
      <dgm:t>
        <a:bodyPr/>
        <a:lstStyle/>
        <a:p>
          <a:endParaRPr lang="en-IN" sz="1800">
            <a:latin typeface="Gill Sans MT" panose="020B0502020104020203" pitchFamily="34" charset="0"/>
          </a:endParaRPr>
        </a:p>
      </dgm:t>
    </dgm:pt>
    <dgm:pt modelId="{E288858E-E3CF-4A45-9AE7-C2D3E2A1A497}" type="asst">
      <dgm:prSet phldrT="[Text]" custT="1"/>
      <dgm:spPr/>
      <dgm:t>
        <a:bodyPr/>
        <a:lstStyle/>
        <a:p>
          <a:r>
            <a:rPr lang="en-IN" sz="1600" dirty="0">
              <a:latin typeface="Calibri" panose="020F0502020204030204" pitchFamily="34" charset="0"/>
            </a:rPr>
            <a:t>Inox Air Products</a:t>
          </a:r>
        </a:p>
      </dgm:t>
    </dgm:pt>
    <dgm:pt modelId="{2DBE6717-EF0A-4733-927B-B936E775CC0F}" type="parTrans" cxnId="{E0745A79-7E47-4F16-8BDD-58B901AC6641}">
      <dgm:prSet/>
      <dgm:spPr/>
      <dgm:t>
        <a:bodyPr/>
        <a:lstStyle/>
        <a:p>
          <a:endParaRPr lang="en-IN" sz="1800">
            <a:latin typeface="Gill Sans MT" panose="020B0502020104020203" pitchFamily="34" charset="0"/>
          </a:endParaRPr>
        </a:p>
      </dgm:t>
    </dgm:pt>
    <dgm:pt modelId="{C3305B54-596C-4D06-8239-B4AF9B1E5EB2}" type="sibTrans" cxnId="{E0745A79-7E47-4F16-8BDD-58B901AC6641}">
      <dgm:prSet/>
      <dgm:spPr/>
      <dgm:t>
        <a:bodyPr/>
        <a:lstStyle/>
        <a:p>
          <a:endParaRPr lang="en-IN" sz="1800">
            <a:latin typeface="Gill Sans MT" panose="020B0502020104020203" pitchFamily="34" charset="0"/>
          </a:endParaRPr>
        </a:p>
      </dgm:t>
    </dgm:pt>
    <dgm:pt modelId="{36EE68EA-3E39-4D3B-A657-407A4FF88F51}" type="asst">
      <dgm:prSet phldrT="[Text]" custT="1"/>
      <dgm:spPr/>
      <dgm:t>
        <a:bodyPr/>
        <a:lstStyle/>
        <a:p>
          <a:r>
            <a:rPr lang="en-IN" sz="1600" dirty="0">
              <a:latin typeface="Calibri" panose="020F0502020204030204" pitchFamily="34" charset="0"/>
            </a:rPr>
            <a:t>Linde India</a:t>
          </a:r>
        </a:p>
      </dgm:t>
    </dgm:pt>
    <dgm:pt modelId="{6FB7E8D0-06AC-4EC6-A2D7-90A57E6201A1}" type="parTrans" cxnId="{5116A802-B98F-4781-B1A3-2902DDE2B06F}">
      <dgm:prSet/>
      <dgm:spPr/>
      <dgm:t>
        <a:bodyPr/>
        <a:lstStyle/>
        <a:p>
          <a:endParaRPr lang="en-IN" sz="1800">
            <a:latin typeface="Gill Sans MT" panose="020B0502020104020203" pitchFamily="34" charset="0"/>
          </a:endParaRPr>
        </a:p>
      </dgm:t>
    </dgm:pt>
    <dgm:pt modelId="{9EB4CC88-F40F-4027-94F2-021F116807E1}" type="sibTrans" cxnId="{5116A802-B98F-4781-B1A3-2902DDE2B06F}">
      <dgm:prSet/>
      <dgm:spPr/>
      <dgm:t>
        <a:bodyPr/>
        <a:lstStyle/>
        <a:p>
          <a:endParaRPr lang="en-IN" sz="1800">
            <a:latin typeface="Gill Sans MT" panose="020B0502020104020203" pitchFamily="34" charset="0"/>
          </a:endParaRPr>
        </a:p>
      </dgm:t>
    </dgm:pt>
    <dgm:pt modelId="{41A9EF4E-3502-4A67-BECD-B7795D949E07}" type="asst">
      <dgm:prSet phldrT="[Text]" custT="1"/>
      <dgm:spPr/>
      <dgm:t>
        <a:bodyPr/>
        <a:lstStyle/>
        <a:p>
          <a:r>
            <a:rPr lang="en-IN" sz="1600" dirty="0">
              <a:latin typeface="Calibri" panose="020F0502020204030204" pitchFamily="34" charset="0"/>
            </a:rPr>
            <a:t>Goyal MG Gases</a:t>
          </a:r>
        </a:p>
      </dgm:t>
    </dgm:pt>
    <dgm:pt modelId="{1D4E3FCF-B3D8-4799-B171-37C9AF4FD089}" type="parTrans" cxnId="{29B17041-8146-4FA9-876A-1AC33AD71456}">
      <dgm:prSet/>
      <dgm:spPr/>
      <dgm:t>
        <a:bodyPr/>
        <a:lstStyle/>
        <a:p>
          <a:endParaRPr lang="en-IN" sz="1800">
            <a:latin typeface="Gill Sans MT" panose="020B0502020104020203" pitchFamily="34" charset="0"/>
          </a:endParaRPr>
        </a:p>
      </dgm:t>
    </dgm:pt>
    <dgm:pt modelId="{2E950C7D-9384-4C23-A90D-9D8556CA3B4B}" type="sibTrans" cxnId="{29B17041-8146-4FA9-876A-1AC33AD71456}">
      <dgm:prSet/>
      <dgm:spPr/>
      <dgm:t>
        <a:bodyPr/>
        <a:lstStyle/>
        <a:p>
          <a:endParaRPr lang="en-IN" sz="1800">
            <a:latin typeface="Gill Sans MT" panose="020B0502020104020203" pitchFamily="34" charset="0"/>
          </a:endParaRPr>
        </a:p>
      </dgm:t>
    </dgm:pt>
    <dgm:pt modelId="{12DACCCC-AE6D-4FFF-8C9B-2900E34E1061}" type="asst">
      <dgm:prSet phldrT="[Text]" custT="1"/>
      <dgm:spPr/>
      <dgm:t>
        <a:bodyPr/>
        <a:lstStyle/>
        <a:p>
          <a:r>
            <a:rPr lang="en-IN" sz="1600" dirty="0">
              <a:latin typeface="Calibri" panose="020F0502020204030204" pitchFamily="34" charset="0"/>
            </a:rPr>
            <a:t>National Oxygen Ltd.</a:t>
          </a:r>
        </a:p>
      </dgm:t>
    </dgm:pt>
    <dgm:pt modelId="{CAD08978-A893-478D-A0F4-AD3824050C62}" type="parTrans" cxnId="{A6AD247D-007F-4DEA-8BE3-9127DB1D6386}">
      <dgm:prSet/>
      <dgm:spPr/>
      <dgm:t>
        <a:bodyPr/>
        <a:lstStyle/>
        <a:p>
          <a:endParaRPr lang="en-IN" sz="1800">
            <a:latin typeface="Gill Sans MT" panose="020B0502020104020203" pitchFamily="34" charset="0"/>
          </a:endParaRPr>
        </a:p>
      </dgm:t>
    </dgm:pt>
    <dgm:pt modelId="{9A73DDA9-F6B2-41AA-8019-D862560063D5}" type="sibTrans" cxnId="{A6AD247D-007F-4DEA-8BE3-9127DB1D6386}">
      <dgm:prSet/>
      <dgm:spPr/>
      <dgm:t>
        <a:bodyPr/>
        <a:lstStyle/>
        <a:p>
          <a:endParaRPr lang="en-IN" sz="1800">
            <a:latin typeface="Gill Sans MT" panose="020B0502020104020203" pitchFamily="34" charset="0"/>
          </a:endParaRPr>
        </a:p>
      </dgm:t>
    </dgm:pt>
    <dgm:pt modelId="{CC1BA9E4-53AF-495E-B32B-95794474B209}" type="asst">
      <dgm:prSet phldrT="[Text]" custT="1"/>
      <dgm:spPr/>
      <dgm:t>
        <a:bodyPr/>
        <a:lstStyle/>
        <a:p>
          <a:r>
            <a:rPr lang="en-IN" sz="1600" dirty="0">
              <a:latin typeface="Calibri" panose="020F0502020204030204" pitchFamily="34" charset="0"/>
            </a:rPr>
            <a:t>Taiyo Nippon Sanso Corp.</a:t>
          </a:r>
        </a:p>
      </dgm:t>
    </dgm:pt>
    <dgm:pt modelId="{A4707A10-4B7E-4EE4-8115-AE2504C44D7B}" type="parTrans" cxnId="{D8C74AF5-1FA6-4DFE-A29A-2FBE5D1EC881}">
      <dgm:prSet/>
      <dgm:spPr/>
      <dgm:t>
        <a:bodyPr/>
        <a:lstStyle/>
        <a:p>
          <a:endParaRPr lang="en-IN" sz="1800">
            <a:latin typeface="Gill Sans MT" panose="020B0502020104020203" pitchFamily="34" charset="0"/>
          </a:endParaRPr>
        </a:p>
      </dgm:t>
    </dgm:pt>
    <dgm:pt modelId="{4A1F145A-7C7F-4024-8D9B-3E56D9130A8F}" type="sibTrans" cxnId="{D8C74AF5-1FA6-4DFE-A29A-2FBE5D1EC881}">
      <dgm:prSet/>
      <dgm:spPr/>
      <dgm:t>
        <a:bodyPr/>
        <a:lstStyle/>
        <a:p>
          <a:endParaRPr lang="en-IN" sz="1800">
            <a:latin typeface="Gill Sans MT" panose="020B0502020104020203" pitchFamily="34" charset="0"/>
          </a:endParaRPr>
        </a:p>
      </dgm:t>
    </dgm:pt>
    <dgm:pt modelId="{E2E041C3-369E-490A-9CFD-0D4685901ECE}" type="asst">
      <dgm:prSet phldrT="[Text]" custT="1"/>
      <dgm:spPr/>
      <dgm:t>
        <a:bodyPr/>
        <a:lstStyle/>
        <a:p>
          <a:r>
            <a:rPr lang="en-IN" sz="1600" dirty="0">
              <a:latin typeface="Calibri" panose="020F0502020204030204" pitchFamily="34" charset="0"/>
            </a:rPr>
            <a:t>Reliance</a:t>
          </a:r>
        </a:p>
      </dgm:t>
    </dgm:pt>
    <dgm:pt modelId="{3BFF7A9C-2E82-433D-B2FC-785B3C35C572}" type="parTrans" cxnId="{1A35ACB7-21A8-41DF-9DB2-E1A6B34ABB06}">
      <dgm:prSet/>
      <dgm:spPr/>
      <dgm:t>
        <a:bodyPr/>
        <a:lstStyle/>
        <a:p>
          <a:endParaRPr lang="en-IN" sz="1800">
            <a:latin typeface="Gill Sans MT" panose="020B0502020104020203" pitchFamily="34" charset="0"/>
          </a:endParaRPr>
        </a:p>
      </dgm:t>
    </dgm:pt>
    <dgm:pt modelId="{AC8384F9-6119-4A50-8D65-926F8B259039}" type="sibTrans" cxnId="{1A35ACB7-21A8-41DF-9DB2-E1A6B34ABB06}">
      <dgm:prSet/>
      <dgm:spPr/>
      <dgm:t>
        <a:bodyPr/>
        <a:lstStyle/>
        <a:p>
          <a:endParaRPr lang="en-IN" sz="1800">
            <a:latin typeface="Gill Sans MT" panose="020B0502020104020203" pitchFamily="34" charset="0"/>
          </a:endParaRPr>
        </a:p>
      </dgm:t>
    </dgm:pt>
    <dgm:pt modelId="{E248AB57-87AB-4C3C-9E4F-E530B30BA6B7}" type="asst">
      <dgm:prSet phldrT="[Text]" custT="1"/>
      <dgm:spPr/>
      <dgm:t>
        <a:bodyPr/>
        <a:lstStyle/>
        <a:p>
          <a:r>
            <a:rPr lang="en-IN" sz="1600" dirty="0">
              <a:latin typeface="Calibri" panose="020F0502020204030204" pitchFamily="34" charset="0"/>
            </a:rPr>
            <a:t>SAIL</a:t>
          </a:r>
        </a:p>
      </dgm:t>
    </dgm:pt>
    <dgm:pt modelId="{F7E563A9-9DB7-4062-87DC-274855B28A09}" type="parTrans" cxnId="{BFCB1409-65E5-49E2-8621-AD6CB4DE85EE}">
      <dgm:prSet/>
      <dgm:spPr/>
      <dgm:t>
        <a:bodyPr/>
        <a:lstStyle/>
        <a:p>
          <a:endParaRPr lang="en-IN" sz="1800">
            <a:latin typeface="Gill Sans MT" panose="020B0502020104020203" pitchFamily="34" charset="0"/>
          </a:endParaRPr>
        </a:p>
      </dgm:t>
    </dgm:pt>
    <dgm:pt modelId="{86D64CAB-583F-4036-8F57-555F0C21A39C}" type="sibTrans" cxnId="{BFCB1409-65E5-49E2-8621-AD6CB4DE85EE}">
      <dgm:prSet/>
      <dgm:spPr/>
      <dgm:t>
        <a:bodyPr/>
        <a:lstStyle/>
        <a:p>
          <a:endParaRPr lang="en-IN" sz="1800">
            <a:latin typeface="Gill Sans MT" panose="020B0502020104020203" pitchFamily="34" charset="0"/>
          </a:endParaRPr>
        </a:p>
      </dgm:t>
    </dgm:pt>
    <dgm:pt modelId="{2C60ECEF-9EF1-4709-9B51-37E3208684C4}" type="asst">
      <dgm:prSet phldrT="[Text]" custT="1"/>
      <dgm:spPr/>
      <dgm:t>
        <a:bodyPr/>
        <a:lstStyle/>
        <a:p>
          <a:r>
            <a:rPr lang="en-IN" sz="1600" dirty="0">
              <a:latin typeface="Calibri" panose="020F0502020204030204" pitchFamily="34" charset="0"/>
            </a:rPr>
            <a:t>Jindal Steel Plant </a:t>
          </a:r>
        </a:p>
      </dgm:t>
    </dgm:pt>
    <dgm:pt modelId="{48A0F699-DA21-49E3-BE7F-DD57A8DB6AB3}" type="parTrans" cxnId="{AE8CE349-676F-4B26-88CD-20E6A0D84579}">
      <dgm:prSet/>
      <dgm:spPr/>
      <dgm:t>
        <a:bodyPr/>
        <a:lstStyle/>
        <a:p>
          <a:endParaRPr lang="en-IN" sz="1800">
            <a:latin typeface="Gill Sans MT" panose="020B0502020104020203" pitchFamily="34" charset="0"/>
          </a:endParaRPr>
        </a:p>
      </dgm:t>
    </dgm:pt>
    <dgm:pt modelId="{51FB6B17-6B31-4D8A-9FB5-A6FB991E1653}" type="sibTrans" cxnId="{AE8CE349-676F-4B26-88CD-20E6A0D84579}">
      <dgm:prSet/>
      <dgm:spPr/>
      <dgm:t>
        <a:bodyPr/>
        <a:lstStyle/>
        <a:p>
          <a:endParaRPr lang="en-IN" sz="1800">
            <a:latin typeface="Gill Sans MT" panose="020B0502020104020203" pitchFamily="34" charset="0"/>
          </a:endParaRPr>
        </a:p>
      </dgm:t>
    </dgm:pt>
    <dgm:pt modelId="{191DBF83-B8D9-4D5D-868D-34742940F79F}" type="pres">
      <dgm:prSet presAssocID="{1904ED9A-B882-4818-B3E6-8F7070B7B805}" presName="hierChild1" presStyleCnt="0">
        <dgm:presLayoutVars>
          <dgm:orgChart val="1"/>
          <dgm:chPref val="1"/>
          <dgm:dir/>
          <dgm:animOne val="branch"/>
          <dgm:animLvl val="lvl"/>
          <dgm:resizeHandles/>
        </dgm:presLayoutVars>
      </dgm:prSet>
      <dgm:spPr/>
    </dgm:pt>
    <dgm:pt modelId="{B29F6E0C-6927-4E8E-BBBC-58BA0FB970B4}" type="pres">
      <dgm:prSet presAssocID="{CC26E21E-97FB-4B61-85CF-12ED4E05F933}" presName="hierRoot1" presStyleCnt="0">
        <dgm:presLayoutVars>
          <dgm:hierBranch val="init"/>
        </dgm:presLayoutVars>
      </dgm:prSet>
      <dgm:spPr/>
    </dgm:pt>
    <dgm:pt modelId="{FB089683-5BEF-4733-87A8-B6155ED2438A}" type="pres">
      <dgm:prSet presAssocID="{CC26E21E-97FB-4B61-85CF-12ED4E05F933}" presName="rootComposite1" presStyleCnt="0"/>
      <dgm:spPr/>
    </dgm:pt>
    <dgm:pt modelId="{6A145782-C3A3-41DB-AFB6-9455BE8B574C}" type="pres">
      <dgm:prSet presAssocID="{CC26E21E-97FB-4B61-85CF-12ED4E05F933}" presName="rootText1" presStyleLbl="node0" presStyleIdx="0" presStyleCnt="1" custScaleX="154031" custScaleY="260583">
        <dgm:presLayoutVars>
          <dgm:chPref val="3"/>
        </dgm:presLayoutVars>
      </dgm:prSet>
      <dgm:spPr/>
    </dgm:pt>
    <dgm:pt modelId="{F4D1B018-8A3D-4D4F-A190-AE06BC706EDC}" type="pres">
      <dgm:prSet presAssocID="{CC26E21E-97FB-4B61-85CF-12ED4E05F933}" presName="rootConnector1" presStyleLbl="node1" presStyleIdx="0" presStyleCnt="0"/>
      <dgm:spPr/>
    </dgm:pt>
    <dgm:pt modelId="{46338453-787D-444B-AF1F-5F475503EBF6}" type="pres">
      <dgm:prSet presAssocID="{CC26E21E-97FB-4B61-85CF-12ED4E05F933}" presName="hierChild2" presStyleCnt="0"/>
      <dgm:spPr/>
    </dgm:pt>
    <dgm:pt modelId="{21208BC9-F10E-4C4D-BCD8-A96FF2860805}" type="pres">
      <dgm:prSet presAssocID="{CC26E21E-97FB-4B61-85CF-12ED4E05F933}" presName="hierChild3" presStyleCnt="0"/>
      <dgm:spPr/>
    </dgm:pt>
    <dgm:pt modelId="{B1BC3CDD-470E-4336-91D7-2760F56365FD}" type="pres">
      <dgm:prSet presAssocID="{2DBE6717-EF0A-4733-927B-B936E775CC0F}" presName="Name115" presStyleLbl="parChTrans1D2" presStyleIdx="0" presStyleCnt="8"/>
      <dgm:spPr/>
    </dgm:pt>
    <dgm:pt modelId="{4A61BF79-ED25-442D-A391-8845FA81CDE6}" type="pres">
      <dgm:prSet presAssocID="{E288858E-E3CF-4A45-9AE7-C2D3E2A1A497}" presName="hierRoot3" presStyleCnt="0">
        <dgm:presLayoutVars>
          <dgm:hierBranch val="init"/>
        </dgm:presLayoutVars>
      </dgm:prSet>
      <dgm:spPr/>
    </dgm:pt>
    <dgm:pt modelId="{ADF38DED-7687-44AF-9B59-417205B9A246}" type="pres">
      <dgm:prSet presAssocID="{E288858E-E3CF-4A45-9AE7-C2D3E2A1A497}" presName="rootComposite3" presStyleCnt="0"/>
      <dgm:spPr/>
    </dgm:pt>
    <dgm:pt modelId="{B642EC9B-21DD-498A-9447-EF3CC1651F6A}" type="pres">
      <dgm:prSet presAssocID="{E288858E-E3CF-4A45-9AE7-C2D3E2A1A497}" presName="rootText3" presStyleLbl="asst1" presStyleIdx="0" presStyleCnt="8" custScaleY="212989" custLinFactNeighborX="-1337" custLinFactNeighborY="3647">
        <dgm:presLayoutVars>
          <dgm:chPref val="3"/>
        </dgm:presLayoutVars>
      </dgm:prSet>
      <dgm:spPr/>
    </dgm:pt>
    <dgm:pt modelId="{65FB1E6F-8B9D-46F3-AFBA-F43451F3C8E0}" type="pres">
      <dgm:prSet presAssocID="{E288858E-E3CF-4A45-9AE7-C2D3E2A1A497}" presName="rootConnector3" presStyleLbl="asst1" presStyleIdx="0" presStyleCnt="8"/>
      <dgm:spPr/>
    </dgm:pt>
    <dgm:pt modelId="{DC313738-09C3-4396-BB0D-89B34592EB68}" type="pres">
      <dgm:prSet presAssocID="{E288858E-E3CF-4A45-9AE7-C2D3E2A1A497}" presName="hierChild6" presStyleCnt="0"/>
      <dgm:spPr/>
    </dgm:pt>
    <dgm:pt modelId="{8C6F0870-C514-42F7-94F2-5C9ED82EE869}" type="pres">
      <dgm:prSet presAssocID="{E288858E-E3CF-4A45-9AE7-C2D3E2A1A497}" presName="hierChild7" presStyleCnt="0"/>
      <dgm:spPr/>
    </dgm:pt>
    <dgm:pt modelId="{E16449E1-F68E-4B2C-BDB4-2F260DD05F98}" type="pres">
      <dgm:prSet presAssocID="{6FB7E8D0-06AC-4EC6-A2D7-90A57E6201A1}" presName="Name115" presStyleLbl="parChTrans1D2" presStyleIdx="1" presStyleCnt="8"/>
      <dgm:spPr/>
    </dgm:pt>
    <dgm:pt modelId="{38DD27C3-843D-4391-9ECB-F83A11456BA3}" type="pres">
      <dgm:prSet presAssocID="{36EE68EA-3E39-4D3B-A657-407A4FF88F51}" presName="hierRoot3" presStyleCnt="0">
        <dgm:presLayoutVars>
          <dgm:hierBranch val="init"/>
        </dgm:presLayoutVars>
      </dgm:prSet>
      <dgm:spPr/>
    </dgm:pt>
    <dgm:pt modelId="{4419B7F0-EE0F-468D-9A76-1623726B6EB1}" type="pres">
      <dgm:prSet presAssocID="{36EE68EA-3E39-4D3B-A657-407A4FF88F51}" presName="rootComposite3" presStyleCnt="0"/>
      <dgm:spPr/>
    </dgm:pt>
    <dgm:pt modelId="{F2EBBBDE-DD3C-4D07-82FF-B5BEC553EDF8}" type="pres">
      <dgm:prSet presAssocID="{36EE68EA-3E39-4D3B-A657-407A4FF88F51}" presName="rootText3" presStyleLbl="asst1" presStyleIdx="1" presStyleCnt="8" custScaleY="212989" custLinFactNeighborX="-1337" custLinFactNeighborY="3647">
        <dgm:presLayoutVars>
          <dgm:chPref val="3"/>
        </dgm:presLayoutVars>
      </dgm:prSet>
      <dgm:spPr/>
    </dgm:pt>
    <dgm:pt modelId="{7017BBD0-BEF6-42ED-BA2B-203976A5F5FE}" type="pres">
      <dgm:prSet presAssocID="{36EE68EA-3E39-4D3B-A657-407A4FF88F51}" presName="rootConnector3" presStyleLbl="asst1" presStyleIdx="1" presStyleCnt="8"/>
      <dgm:spPr/>
    </dgm:pt>
    <dgm:pt modelId="{8CEFCA8C-D47D-4CF3-AD02-F19891787AAE}" type="pres">
      <dgm:prSet presAssocID="{36EE68EA-3E39-4D3B-A657-407A4FF88F51}" presName="hierChild6" presStyleCnt="0"/>
      <dgm:spPr/>
    </dgm:pt>
    <dgm:pt modelId="{1F92B39D-5BAF-4281-B004-F0D305C80EFC}" type="pres">
      <dgm:prSet presAssocID="{36EE68EA-3E39-4D3B-A657-407A4FF88F51}" presName="hierChild7" presStyleCnt="0"/>
      <dgm:spPr/>
    </dgm:pt>
    <dgm:pt modelId="{B94BA221-2B1E-4A9C-B6D1-E39E2BBF9123}" type="pres">
      <dgm:prSet presAssocID="{1D4E3FCF-B3D8-4799-B171-37C9AF4FD089}" presName="Name115" presStyleLbl="parChTrans1D2" presStyleIdx="2" presStyleCnt="8"/>
      <dgm:spPr/>
    </dgm:pt>
    <dgm:pt modelId="{857838E8-C447-47EA-8E92-1727B1788CFF}" type="pres">
      <dgm:prSet presAssocID="{41A9EF4E-3502-4A67-BECD-B7795D949E07}" presName="hierRoot3" presStyleCnt="0">
        <dgm:presLayoutVars>
          <dgm:hierBranch val="init"/>
        </dgm:presLayoutVars>
      </dgm:prSet>
      <dgm:spPr/>
    </dgm:pt>
    <dgm:pt modelId="{414433C5-DA2F-4502-850C-CBCB36202451}" type="pres">
      <dgm:prSet presAssocID="{41A9EF4E-3502-4A67-BECD-B7795D949E07}" presName="rootComposite3" presStyleCnt="0"/>
      <dgm:spPr/>
    </dgm:pt>
    <dgm:pt modelId="{EB77B50A-A143-4571-8B13-E62E1EAC3F88}" type="pres">
      <dgm:prSet presAssocID="{41A9EF4E-3502-4A67-BECD-B7795D949E07}" presName="rootText3" presStyleLbl="asst1" presStyleIdx="2" presStyleCnt="8" custScaleY="212989" custLinFactNeighborX="-1337" custLinFactNeighborY="3647">
        <dgm:presLayoutVars>
          <dgm:chPref val="3"/>
        </dgm:presLayoutVars>
      </dgm:prSet>
      <dgm:spPr/>
    </dgm:pt>
    <dgm:pt modelId="{A1A286BE-246A-4A84-99F1-7CD4124A6B41}" type="pres">
      <dgm:prSet presAssocID="{41A9EF4E-3502-4A67-BECD-B7795D949E07}" presName="rootConnector3" presStyleLbl="asst1" presStyleIdx="2" presStyleCnt="8"/>
      <dgm:spPr/>
    </dgm:pt>
    <dgm:pt modelId="{055CE620-9AD4-4BF3-9ECE-105F4E468383}" type="pres">
      <dgm:prSet presAssocID="{41A9EF4E-3502-4A67-BECD-B7795D949E07}" presName="hierChild6" presStyleCnt="0"/>
      <dgm:spPr/>
    </dgm:pt>
    <dgm:pt modelId="{ED15F50E-1470-41DF-A4FC-34EAFF7EEFD3}" type="pres">
      <dgm:prSet presAssocID="{41A9EF4E-3502-4A67-BECD-B7795D949E07}" presName="hierChild7" presStyleCnt="0"/>
      <dgm:spPr/>
    </dgm:pt>
    <dgm:pt modelId="{ED131662-7556-4F74-93A0-9AD5D9B92A84}" type="pres">
      <dgm:prSet presAssocID="{CAD08978-A893-478D-A0F4-AD3824050C62}" presName="Name115" presStyleLbl="parChTrans1D2" presStyleIdx="3" presStyleCnt="8"/>
      <dgm:spPr/>
    </dgm:pt>
    <dgm:pt modelId="{B0FDBD81-BAA2-4150-B50D-4B1A1084CC13}" type="pres">
      <dgm:prSet presAssocID="{12DACCCC-AE6D-4FFF-8C9B-2900E34E1061}" presName="hierRoot3" presStyleCnt="0">
        <dgm:presLayoutVars>
          <dgm:hierBranch val="init"/>
        </dgm:presLayoutVars>
      </dgm:prSet>
      <dgm:spPr/>
    </dgm:pt>
    <dgm:pt modelId="{30376DE9-F750-482C-8E6D-37C735E0DF5C}" type="pres">
      <dgm:prSet presAssocID="{12DACCCC-AE6D-4FFF-8C9B-2900E34E1061}" presName="rootComposite3" presStyleCnt="0"/>
      <dgm:spPr/>
    </dgm:pt>
    <dgm:pt modelId="{D0C62D36-537E-4076-B7F3-DC1FD4C6EC67}" type="pres">
      <dgm:prSet presAssocID="{12DACCCC-AE6D-4FFF-8C9B-2900E34E1061}" presName="rootText3" presStyleLbl="asst1" presStyleIdx="3" presStyleCnt="8" custScaleY="212989" custLinFactNeighborX="-1337" custLinFactNeighborY="3647">
        <dgm:presLayoutVars>
          <dgm:chPref val="3"/>
        </dgm:presLayoutVars>
      </dgm:prSet>
      <dgm:spPr/>
    </dgm:pt>
    <dgm:pt modelId="{AC5AF800-66D9-48A8-80A0-186CB2819A9F}" type="pres">
      <dgm:prSet presAssocID="{12DACCCC-AE6D-4FFF-8C9B-2900E34E1061}" presName="rootConnector3" presStyleLbl="asst1" presStyleIdx="3" presStyleCnt="8"/>
      <dgm:spPr/>
    </dgm:pt>
    <dgm:pt modelId="{975687FB-B2C2-4C44-93F2-D0FDAEAC182E}" type="pres">
      <dgm:prSet presAssocID="{12DACCCC-AE6D-4FFF-8C9B-2900E34E1061}" presName="hierChild6" presStyleCnt="0"/>
      <dgm:spPr/>
    </dgm:pt>
    <dgm:pt modelId="{746DECBB-ECAA-46FB-BA76-FCB5DD76A172}" type="pres">
      <dgm:prSet presAssocID="{12DACCCC-AE6D-4FFF-8C9B-2900E34E1061}" presName="hierChild7" presStyleCnt="0"/>
      <dgm:spPr/>
    </dgm:pt>
    <dgm:pt modelId="{401C5B77-DA38-43E3-B522-C47F40CAE717}" type="pres">
      <dgm:prSet presAssocID="{A4707A10-4B7E-4EE4-8115-AE2504C44D7B}" presName="Name115" presStyleLbl="parChTrans1D2" presStyleIdx="4" presStyleCnt="8"/>
      <dgm:spPr/>
    </dgm:pt>
    <dgm:pt modelId="{78AD3FD8-56EB-4EFE-BBC1-7657EE1E2576}" type="pres">
      <dgm:prSet presAssocID="{CC1BA9E4-53AF-495E-B32B-95794474B209}" presName="hierRoot3" presStyleCnt="0">
        <dgm:presLayoutVars>
          <dgm:hierBranch val="init"/>
        </dgm:presLayoutVars>
      </dgm:prSet>
      <dgm:spPr/>
    </dgm:pt>
    <dgm:pt modelId="{825DB150-543A-4B8C-BF0A-40234261EE28}" type="pres">
      <dgm:prSet presAssocID="{CC1BA9E4-53AF-495E-B32B-95794474B209}" presName="rootComposite3" presStyleCnt="0"/>
      <dgm:spPr/>
    </dgm:pt>
    <dgm:pt modelId="{9C2CBD33-B28B-4E34-AA1D-B1B39A4B6177}" type="pres">
      <dgm:prSet presAssocID="{CC1BA9E4-53AF-495E-B32B-95794474B209}" presName="rootText3" presStyleLbl="asst1" presStyleIdx="4" presStyleCnt="8" custScaleY="212989" custLinFactNeighborX="-1337" custLinFactNeighborY="3647">
        <dgm:presLayoutVars>
          <dgm:chPref val="3"/>
        </dgm:presLayoutVars>
      </dgm:prSet>
      <dgm:spPr/>
    </dgm:pt>
    <dgm:pt modelId="{4770D378-5DA1-4D8D-9198-6629CE4595CF}" type="pres">
      <dgm:prSet presAssocID="{CC1BA9E4-53AF-495E-B32B-95794474B209}" presName="rootConnector3" presStyleLbl="asst1" presStyleIdx="4" presStyleCnt="8"/>
      <dgm:spPr/>
    </dgm:pt>
    <dgm:pt modelId="{3933AAEC-2C84-4271-9777-3C126F235EEE}" type="pres">
      <dgm:prSet presAssocID="{CC1BA9E4-53AF-495E-B32B-95794474B209}" presName="hierChild6" presStyleCnt="0"/>
      <dgm:spPr/>
    </dgm:pt>
    <dgm:pt modelId="{8DB148C7-94BD-484D-9402-267CC0F5C2E2}" type="pres">
      <dgm:prSet presAssocID="{CC1BA9E4-53AF-495E-B32B-95794474B209}" presName="hierChild7" presStyleCnt="0"/>
      <dgm:spPr/>
    </dgm:pt>
    <dgm:pt modelId="{E2986E73-E28D-4B70-8A10-AA0E4BFF85F5}" type="pres">
      <dgm:prSet presAssocID="{3BFF7A9C-2E82-433D-B2FC-785B3C35C572}" presName="Name115" presStyleLbl="parChTrans1D2" presStyleIdx="5" presStyleCnt="8"/>
      <dgm:spPr/>
    </dgm:pt>
    <dgm:pt modelId="{093AFAED-5E4F-4328-8DEF-0D4130313E64}" type="pres">
      <dgm:prSet presAssocID="{E2E041C3-369E-490A-9CFD-0D4685901ECE}" presName="hierRoot3" presStyleCnt="0">
        <dgm:presLayoutVars>
          <dgm:hierBranch val="init"/>
        </dgm:presLayoutVars>
      </dgm:prSet>
      <dgm:spPr/>
    </dgm:pt>
    <dgm:pt modelId="{DEF1BB6F-3FAC-4623-9C6D-3C93BE1FFF71}" type="pres">
      <dgm:prSet presAssocID="{E2E041C3-369E-490A-9CFD-0D4685901ECE}" presName="rootComposite3" presStyleCnt="0"/>
      <dgm:spPr/>
    </dgm:pt>
    <dgm:pt modelId="{DB2AA0E5-87CB-4EA7-8FD8-8A8D9AD5FC09}" type="pres">
      <dgm:prSet presAssocID="{E2E041C3-369E-490A-9CFD-0D4685901ECE}" presName="rootText3" presStyleLbl="asst1" presStyleIdx="5" presStyleCnt="8" custScaleY="212989" custLinFactNeighborX="-1337" custLinFactNeighborY="3647">
        <dgm:presLayoutVars>
          <dgm:chPref val="3"/>
        </dgm:presLayoutVars>
      </dgm:prSet>
      <dgm:spPr/>
    </dgm:pt>
    <dgm:pt modelId="{A96CD2EF-CB98-428B-BA34-7EC14C6B2184}" type="pres">
      <dgm:prSet presAssocID="{E2E041C3-369E-490A-9CFD-0D4685901ECE}" presName="rootConnector3" presStyleLbl="asst1" presStyleIdx="5" presStyleCnt="8"/>
      <dgm:spPr/>
    </dgm:pt>
    <dgm:pt modelId="{49ECA1BB-613A-4BA6-AF97-8F75C4DA7016}" type="pres">
      <dgm:prSet presAssocID="{E2E041C3-369E-490A-9CFD-0D4685901ECE}" presName="hierChild6" presStyleCnt="0"/>
      <dgm:spPr/>
    </dgm:pt>
    <dgm:pt modelId="{9D8D1C90-789D-4ABE-AC71-F2C75C7BF140}" type="pres">
      <dgm:prSet presAssocID="{E2E041C3-369E-490A-9CFD-0D4685901ECE}" presName="hierChild7" presStyleCnt="0"/>
      <dgm:spPr/>
    </dgm:pt>
    <dgm:pt modelId="{DC25E44F-00BB-49DA-8E55-2B5AB8866DD8}" type="pres">
      <dgm:prSet presAssocID="{F7E563A9-9DB7-4062-87DC-274855B28A09}" presName="Name115" presStyleLbl="parChTrans1D2" presStyleIdx="6" presStyleCnt="8"/>
      <dgm:spPr/>
    </dgm:pt>
    <dgm:pt modelId="{E388FD2D-3B12-4111-A245-B72E057EA4A3}" type="pres">
      <dgm:prSet presAssocID="{E248AB57-87AB-4C3C-9E4F-E530B30BA6B7}" presName="hierRoot3" presStyleCnt="0">
        <dgm:presLayoutVars>
          <dgm:hierBranch val="init"/>
        </dgm:presLayoutVars>
      </dgm:prSet>
      <dgm:spPr/>
    </dgm:pt>
    <dgm:pt modelId="{B4DFAC06-3101-41D5-9B30-B01BE77A123F}" type="pres">
      <dgm:prSet presAssocID="{E248AB57-87AB-4C3C-9E4F-E530B30BA6B7}" presName="rootComposite3" presStyleCnt="0"/>
      <dgm:spPr/>
    </dgm:pt>
    <dgm:pt modelId="{56E2CA82-4F44-462C-93DE-130B345E7840}" type="pres">
      <dgm:prSet presAssocID="{E248AB57-87AB-4C3C-9E4F-E530B30BA6B7}" presName="rootText3" presStyleLbl="asst1" presStyleIdx="6" presStyleCnt="8" custScaleY="212989" custLinFactNeighborX="-1337" custLinFactNeighborY="3647">
        <dgm:presLayoutVars>
          <dgm:chPref val="3"/>
        </dgm:presLayoutVars>
      </dgm:prSet>
      <dgm:spPr/>
    </dgm:pt>
    <dgm:pt modelId="{09474C4A-CFAB-4820-BEFC-29F2CD025243}" type="pres">
      <dgm:prSet presAssocID="{E248AB57-87AB-4C3C-9E4F-E530B30BA6B7}" presName="rootConnector3" presStyleLbl="asst1" presStyleIdx="6" presStyleCnt="8"/>
      <dgm:spPr/>
    </dgm:pt>
    <dgm:pt modelId="{43862248-0170-4900-A1F0-9B45DFB8F9D2}" type="pres">
      <dgm:prSet presAssocID="{E248AB57-87AB-4C3C-9E4F-E530B30BA6B7}" presName="hierChild6" presStyleCnt="0"/>
      <dgm:spPr/>
    </dgm:pt>
    <dgm:pt modelId="{B314ED14-D6FB-4C06-B3BC-1DEB6C495DAC}" type="pres">
      <dgm:prSet presAssocID="{E248AB57-87AB-4C3C-9E4F-E530B30BA6B7}" presName="hierChild7" presStyleCnt="0"/>
      <dgm:spPr/>
    </dgm:pt>
    <dgm:pt modelId="{49184D98-F766-43AC-A52C-83A8442E076E}" type="pres">
      <dgm:prSet presAssocID="{48A0F699-DA21-49E3-BE7F-DD57A8DB6AB3}" presName="Name115" presStyleLbl="parChTrans1D2" presStyleIdx="7" presStyleCnt="8"/>
      <dgm:spPr/>
    </dgm:pt>
    <dgm:pt modelId="{2A0DB064-32D3-4BFB-99F4-CF072B599BE5}" type="pres">
      <dgm:prSet presAssocID="{2C60ECEF-9EF1-4709-9B51-37E3208684C4}" presName="hierRoot3" presStyleCnt="0">
        <dgm:presLayoutVars>
          <dgm:hierBranch val="init"/>
        </dgm:presLayoutVars>
      </dgm:prSet>
      <dgm:spPr/>
    </dgm:pt>
    <dgm:pt modelId="{15DDDF52-5352-43BF-BDB8-6BB9DC215669}" type="pres">
      <dgm:prSet presAssocID="{2C60ECEF-9EF1-4709-9B51-37E3208684C4}" presName="rootComposite3" presStyleCnt="0"/>
      <dgm:spPr/>
    </dgm:pt>
    <dgm:pt modelId="{4915B2BA-BBF3-452C-82AA-B80F831892EA}" type="pres">
      <dgm:prSet presAssocID="{2C60ECEF-9EF1-4709-9B51-37E3208684C4}" presName="rootText3" presStyleLbl="asst1" presStyleIdx="7" presStyleCnt="8" custScaleY="212989" custLinFactNeighborX="-1337" custLinFactNeighborY="3647">
        <dgm:presLayoutVars>
          <dgm:chPref val="3"/>
        </dgm:presLayoutVars>
      </dgm:prSet>
      <dgm:spPr/>
    </dgm:pt>
    <dgm:pt modelId="{A51240B3-E2AA-44EE-A0A3-A2C879168838}" type="pres">
      <dgm:prSet presAssocID="{2C60ECEF-9EF1-4709-9B51-37E3208684C4}" presName="rootConnector3" presStyleLbl="asst1" presStyleIdx="7" presStyleCnt="8"/>
      <dgm:spPr/>
    </dgm:pt>
    <dgm:pt modelId="{25EAF003-B7C3-4281-B068-BC2AD0FEA95A}" type="pres">
      <dgm:prSet presAssocID="{2C60ECEF-9EF1-4709-9B51-37E3208684C4}" presName="hierChild6" presStyleCnt="0"/>
      <dgm:spPr/>
    </dgm:pt>
    <dgm:pt modelId="{45630C15-9C07-4884-BD6A-F9FE9B218341}" type="pres">
      <dgm:prSet presAssocID="{2C60ECEF-9EF1-4709-9B51-37E3208684C4}" presName="hierChild7" presStyleCnt="0"/>
      <dgm:spPr/>
    </dgm:pt>
  </dgm:ptLst>
  <dgm:cxnLst>
    <dgm:cxn modelId="{5116A802-B98F-4781-B1A3-2902DDE2B06F}" srcId="{CC26E21E-97FB-4B61-85CF-12ED4E05F933}" destId="{36EE68EA-3E39-4D3B-A657-407A4FF88F51}" srcOrd="1" destOrd="0" parTransId="{6FB7E8D0-06AC-4EC6-A2D7-90A57E6201A1}" sibTransId="{9EB4CC88-F40F-4027-94F2-021F116807E1}"/>
    <dgm:cxn modelId="{BFCB1409-65E5-49E2-8621-AD6CB4DE85EE}" srcId="{CC26E21E-97FB-4B61-85CF-12ED4E05F933}" destId="{E248AB57-87AB-4C3C-9E4F-E530B30BA6B7}" srcOrd="6" destOrd="0" parTransId="{F7E563A9-9DB7-4062-87DC-274855B28A09}" sibTransId="{86D64CAB-583F-4036-8F57-555F0C21A39C}"/>
    <dgm:cxn modelId="{14195D14-69CE-422A-B39F-A5E85E664ABF}" type="presOf" srcId="{E248AB57-87AB-4C3C-9E4F-E530B30BA6B7}" destId="{56E2CA82-4F44-462C-93DE-130B345E7840}" srcOrd="0" destOrd="0" presId="urn:microsoft.com/office/officeart/2009/3/layout/HorizontalOrganizationChart"/>
    <dgm:cxn modelId="{4F85301C-8E08-44E2-8FAF-F495946A6E70}" type="presOf" srcId="{CC26E21E-97FB-4B61-85CF-12ED4E05F933}" destId="{F4D1B018-8A3D-4D4F-A190-AE06BC706EDC}" srcOrd="1" destOrd="0" presId="urn:microsoft.com/office/officeart/2009/3/layout/HorizontalOrganizationChart"/>
    <dgm:cxn modelId="{892F8A1C-3492-4A2C-B51A-C40C681639DE}" type="presOf" srcId="{1904ED9A-B882-4818-B3E6-8F7070B7B805}" destId="{191DBF83-B8D9-4D5D-868D-34742940F79F}" srcOrd="0" destOrd="0" presId="urn:microsoft.com/office/officeart/2009/3/layout/HorizontalOrganizationChart"/>
    <dgm:cxn modelId="{DF150221-B7E6-4C07-A379-0F366042F725}" type="presOf" srcId="{E288858E-E3CF-4A45-9AE7-C2D3E2A1A497}" destId="{B642EC9B-21DD-498A-9447-EF3CC1651F6A}" srcOrd="0" destOrd="0" presId="urn:microsoft.com/office/officeart/2009/3/layout/HorizontalOrganizationChart"/>
    <dgm:cxn modelId="{64FD9323-91C1-4247-99D5-B80C9F749E8B}" type="presOf" srcId="{CC26E21E-97FB-4B61-85CF-12ED4E05F933}" destId="{6A145782-C3A3-41DB-AFB6-9455BE8B574C}" srcOrd="0" destOrd="0" presId="urn:microsoft.com/office/officeart/2009/3/layout/HorizontalOrganizationChart"/>
    <dgm:cxn modelId="{AC358A2B-C5C7-4B43-9C4E-C913ADC1205B}" type="presOf" srcId="{CC1BA9E4-53AF-495E-B32B-95794474B209}" destId="{9C2CBD33-B28B-4E34-AA1D-B1B39A4B6177}" srcOrd="0" destOrd="0" presId="urn:microsoft.com/office/officeart/2009/3/layout/HorizontalOrganizationChart"/>
    <dgm:cxn modelId="{8040CF3D-A68E-4BBB-BE86-F4CD6794A102}" type="presOf" srcId="{2C60ECEF-9EF1-4709-9B51-37E3208684C4}" destId="{A51240B3-E2AA-44EE-A0A3-A2C879168838}" srcOrd="1" destOrd="0" presId="urn:microsoft.com/office/officeart/2009/3/layout/HorizontalOrganizationChart"/>
    <dgm:cxn modelId="{70562A61-BBA4-4FE4-A946-1EDC83C36A49}" type="presOf" srcId="{1D4E3FCF-B3D8-4799-B171-37C9AF4FD089}" destId="{B94BA221-2B1E-4A9C-B6D1-E39E2BBF9123}" srcOrd="0" destOrd="0" presId="urn:microsoft.com/office/officeart/2009/3/layout/HorizontalOrganizationChart"/>
    <dgm:cxn modelId="{29B17041-8146-4FA9-876A-1AC33AD71456}" srcId="{CC26E21E-97FB-4B61-85CF-12ED4E05F933}" destId="{41A9EF4E-3502-4A67-BECD-B7795D949E07}" srcOrd="2" destOrd="0" parTransId="{1D4E3FCF-B3D8-4799-B171-37C9AF4FD089}" sibTransId="{2E950C7D-9384-4C23-A90D-9D8556CA3B4B}"/>
    <dgm:cxn modelId="{DF445461-515C-4B97-B952-3E04CEA32EB6}" type="presOf" srcId="{2DBE6717-EF0A-4733-927B-B936E775CC0F}" destId="{B1BC3CDD-470E-4336-91D7-2760F56365FD}" srcOrd="0" destOrd="0" presId="urn:microsoft.com/office/officeart/2009/3/layout/HorizontalOrganizationChart"/>
    <dgm:cxn modelId="{44EE9664-1FA9-4A25-9BAA-522C5992AAF1}" type="presOf" srcId="{6FB7E8D0-06AC-4EC6-A2D7-90A57E6201A1}" destId="{E16449E1-F68E-4B2C-BDB4-2F260DD05F98}" srcOrd="0" destOrd="0" presId="urn:microsoft.com/office/officeart/2009/3/layout/HorizontalOrganizationChart"/>
    <dgm:cxn modelId="{1CF79368-A48D-4E42-8C6E-829E2C3EA83F}" type="presOf" srcId="{3BFF7A9C-2E82-433D-B2FC-785B3C35C572}" destId="{E2986E73-E28D-4B70-8A10-AA0E4BFF85F5}" srcOrd="0" destOrd="0" presId="urn:microsoft.com/office/officeart/2009/3/layout/HorizontalOrganizationChart"/>
    <dgm:cxn modelId="{AE8CE349-676F-4B26-88CD-20E6A0D84579}" srcId="{CC26E21E-97FB-4B61-85CF-12ED4E05F933}" destId="{2C60ECEF-9EF1-4709-9B51-37E3208684C4}" srcOrd="7" destOrd="0" parTransId="{48A0F699-DA21-49E3-BE7F-DD57A8DB6AB3}" sibTransId="{51FB6B17-6B31-4D8A-9FB5-A6FB991E1653}"/>
    <dgm:cxn modelId="{D780FE52-3B7F-4F62-9D92-4A7AB2E58BAE}" type="presOf" srcId="{36EE68EA-3E39-4D3B-A657-407A4FF88F51}" destId="{7017BBD0-BEF6-42ED-BA2B-203976A5F5FE}" srcOrd="1" destOrd="0" presId="urn:microsoft.com/office/officeart/2009/3/layout/HorizontalOrganizationChart"/>
    <dgm:cxn modelId="{C4784C74-B8AA-4265-A161-5991097DBCFA}" type="presOf" srcId="{48A0F699-DA21-49E3-BE7F-DD57A8DB6AB3}" destId="{49184D98-F766-43AC-A52C-83A8442E076E}" srcOrd="0" destOrd="0" presId="urn:microsoft.com/office/officeart/2009/3/layout/HorizontalOrganizationChart"/>
    <dgm:cxn modelId="{07ED9C57-2B94-4544-9E24-0A6B65C2D8F2}" type="presOf" srcId="{E2E041C3-369E-490A-9CFD-0D4685901ECE}" destId="{A96CD2EF-CB98-428B-BA34-7EC14C6B2184}" srcOrd="1" destOrd="0" presId="urn:microsoft.com/office/officeart/2009/3/layout/HorizontalOrganizationChart"/>
    <dgm:cxn modelId="{E0745A79-7E47-4F16-8BDD-58B901AC6641}" srcId="{CC26E21E-97FB-4B61-85CF-12ED4E05F933}" destId="{E288858E-E3CF-4A45-9AE7-C2D3E2A1A497}" srcOrd="0" destOrd="0" parTransId="{2DBE6717-EF0A-4733-927B-B936E775CC0F}" sibTransId="{C3305B54-596C-4D06-8239-B4AF9B1E5EB2}"/>
    <dgm:cxn modelId="{A6AD247D-007F-4DEA-8BE3-9127DB1D6386}" srcId="{CC26E21E-97FB-4B61-85CF-12ED4E05F933}" destId="{12DACCCC-AE6D-4FFF-8C9B-2900E34E1061}" srcOrd="3" destOrd="0" parTransId="{CAD08978-A893-478D-A0F4-AD3824050C62}" sibTransId="{9A73DDA9-F6B2-41AA-8019-D862560063D5}"/>
    <dgm:cxn modelId="{32248884-5A76-45D5-8772-AA6334ADB2E1}" type="presOf" srcId="{2C60ECEF-9EF1-4709-9B51-37E3208684C4}" destId="{4915B2BA-BBF3-452C-82AA-B80F831892EA}" srcOrd="0" destOrd="0" presId="urn:microsoft.com/office/officeart/2009/3/layout/HorizontalOrganizationChart"/>
    <dgm:cxn modelId="{39843887-E288-4B4F-9D87-4970AA6B2381}" type="presOf" srcId="{CC1BA9E4-53AF-495E-B32B-95794474B209}" destId="{4770D378-5DA1-4D8D-9198-6629CE4595CF}" srcOrd="1" destOrd="0" presId="urn:microsoft.com/office/officeart/2009/3/layout/HorizontalOrganizationChart"/>
    <dgm:cxn modelId="{0A5E5196-F4B2-496B-BBFF-9AB58165F7E4}" type="presOf" srcId="{12DACCCC-AE6D-4FFF-8C9B-2900E34E1061}" destId="{D0C62D36-537E-4076-B7F3-DC1FD4C6EC67}" srcOrd="0" destOrd="0" presId="urn:microsoft.com/office/officeart/2009/3/layout/HorizontalOrganizationChart"/>
    <dgm:cxn modelId="{D550F2A3-A5F4-4F60-AF84-5CE6C63DBD66}" type="presOf" srcId="{E248AB57-87AB-4C3C-9E4F-E530B30BA6B7}" destId="{09474C4A-CFAB-4820-BEFC-29F2CD025243}" srcOrd="1" destOrd="0" presId="urn:microsoft.com/office/officeart/2009/3/layout/HorizontalOrganizationChart"/>
    <dgm:cxn modelId="{69E852AF-623E-4B9F-AC96-E2581B729B51}" srcId="{1904ED9A-B882-4818-B3E6-8F7070B7B805}" destId="{CC26E21E-97FB-4B61-85CF-12ED4E05F933}" srcOrd="0" destOrd="0" parTransId="{03FAB445-1159-471E-866E-C15D27ADACC0}" sibTransId="{873BF2E9-7592-483E-B94E-D3196EDEB589}"/>
    <dgm:cxn modelId="{1A35ACB7-21A8-41DF-9DB2-E1A6B34ABB06}" srcId="{CC26E21E-97FB-4B61-85CF-12ED4E05F933}" destId="{E2E041C3-369E-490A-9CFD-0D4685901ECE}" srcOrd="5" destOrd="0" parTransId="{3BFF7A9C-2E82-433D-B2FC-785B3C35C572}" sibTransId="{AC8384F9-6119-4A50-8D65-926F8B259039}"/>
    <dgm:cxn modelId="{BB43F4BB-0998-4C40-AE40-8089D44DA2BE}" type="presOf" srcId="{E288858E-E3CF-4A45-9AE7-C2D3E2A1A497}" destId="{65FB1E6F-8B9D-46F3-AFBA-F43451F3C8E0}" srcOrd="1" destOrd="0" presId="urn:microsoft.com/office/officeart/2009/3/layout/HorizontalOrganizationChart"/>
    <dgm:cxn modelId="{0812DFCA-11EE-4CB1-AEC3-BA7C1CBADE2B}" type="presOf" srcId="{41A9EF4E-3502-4A67-BECD-B7795D949E07}" destId="{A1A286BE-246A-4A84-99F1-7CD4124A6B41}" srcOrd="1" destOrd="0" presId="urn:microsoft.com/office/officeart/2009/3/layout/HorizontalOrganizationChart"/>
    <dgm:cxn modelId="{E18229CD-48DA-44EB-AE99-08BAFB088BD1}" type="presOf" srcId="{41A9EF4E-3502-4A67-BECD-B7795D949E07}" destId="{EB77B50A-A143-4571-8B13-E62E1EAC3F88}" srcOrd="0" destOrd="0" presId="urn:microsoft.com/office/officeart/2009/3/layout/HorizontalOrganizationChart"/>
    <dgm:cxn modelId="{65AA5AD9-518B-454B-98E0-BB91B055B4EA}" type="presOf" srcId="{CAD08978-A893-478D-A0F4-AD3824050C62}" destId="{ED131662-7556-4F74-93A0-9AD5D9B92A84}" srcOrd="0" destOrd="0" presId="urn:microsoft.com/office/officeart/2009/3/layout/HorizontalOrganizationChart"/>
    <dgm:cxn modelId="{0EA1FCDD-8EDB-4DFA-9029-AAFBEF811096}" type="presOf" srcId="{36EE68EA-3E39-4D3B-A657-407A4FF88F51}" destId="{F2EBBBDE-DD3C-4D07-82FF-B5BEC553EDF8}" srcOrd="0" destOrd="0" presId="urn:microsoft.com/office/officeart/2009/3/layout/HorizontalOrganizationChart"/>
    <dgm:cxn modelId="{230B1CE6-6BE4-4903-AF2A-A1D1D2A62536}" type="presOf" srcId="{A4707A10-4B7E-4EE4-8115-AE2504C44D7B}" destId="{401C5B77-DA38-43E3-B522-C47F40CAE717}" srcOrd="0" destOrd="0" presId="urn:microsoft.com/office/officeart/2009/3/layout/HorizontalOrganizationChart"/>
    <dgm:cxn modelId="{DD08A4E9-2F26-41B9-9B98-83C21ED183D7}" type="presOf" srcId="{12DACCCC-AE6D-4FFF-8C9B-2900E34E1061}" destId="{AC5AF800-66D9-48A8-80A0-186CB2819A9F}" srcOrd="1" destOrd="0" presId="urn:microsoft.com/office/officeart/2009/3/layout/HorizontalOrganizationChart"/>
    <dgm:cxn modelId="{D8A979F1-6E51-4320-9821-08C08D84FEBC}" type="presOf" srcId="{E2E041C3-369E-490A-9CFD-0D4685901ECE}" destId="{DB2AA0E5-87CB-4EA7-8FD8-8A8D9AD5FC09}" srcOrd="0" destOrd="0" presId="urn:microsoft.com/office/officeart/2009/3/layout/HorizontalOrganizationChart"/>
    <dgm:cxn modelId="{D8C74AF5-1FA6-4DFE-A29A-2FBE5D1EC881}" srcId="{CC26E21E-97FB-4B61-85CF-12ED4E05F933}" destId="{CC1BA9E4-53AF-495E-B32B-95794474B209}" srcOrd="4" destOrd="0" parTransId="{A4707A10-4B7E-4EE4-8115-AE2504C44D7B}" sibTransId="{4A1F145A-7C7F-4024-8D9B-3E56D9130A8F}"/>
    <dgm:cxn modelId="{C802F9FE-5095-47B4-98F4-90E54B0C181A}" type="presOf" srcId="{F7E563A9-9DB7-4062-87DC-274855B28A09}" destId="{DC25E44F-00BB-49DA-8E55-2B5AB8866DD8}" srcOrd="0" destOrd="0" presId="urn:microsoft.com/office/officeart/2009/3/layout/HorizontalOrganizationChart"/>
    <dgm:cxn modelId="{AB289614-DCB8-4BBB-9ED8-DD457672550B}" type="presParOf" srcId="{191DBF83-B8D9-4D5D-868D-34742940F79F}" destId="{B29F6E0C-6927-4E8E-BBBC-58BA0FB970B4}" srcOrd="0" destOrd="0" presId="urn:microsoft.com/office/officeart/2009/3/layout/HorizontalOrganizationChart"/>
    <dgm:cxn modelId="{C63F961B-B84F-4694-AFD0-283BACF683EB}" type="presParOf" srcId="{B29F6E0C-6927-4E8E-BBBC-58BA0FB970B4}" destId="{FB089683-5BEF-4733-87A8-B6155ED2438A}" srcOrd="0" destOrd="0" presId="urn:microsoft.com/office/officeart/2009/3/layout/HorizontalOrganizationChart"/>
    <dgm:cxn modelId="{D67AE85F-CA53-4AC6-9FED-4FAAF224243C}" type="presParOf" srcId="{FB089683-5BEF-4733-87A8-B6155ED2438A}" destId="{6A145782-C3A3-41DB-AFB6-9455BE8B574C}" srcOrd="0" destOrd="0" presId="urn:microsoft.com/office/officeart/2009/3/layout/HorizontalOrganizationChart"/>
    <dgm:cxn modelId="{617957F9-C237-4A79-87F0-A4B7AAF6FDC0}" type="presParOf" srcId="{FB089683-5BEF-4733-87A8-B6155ED2438A}" destId="{F4D1B018-8A3D-4D4F-A190-AE06BC706EDC}" srcOrd="1" destOrd="0" presId="urn:microsoft.com/office/officeart/2009/3/layout/HorizontalOrganizationChart"/>
    <dgm:cxn modelId="{AA5B7E1F-1178-4A12-92F1-F72CC57292EE}" type="presParOf" srcId="{B29F6E0C-6927-4E8E-BBBC-58BA0FB970B4}" destId="{46338453-787D-444B-AF1F-5F475503EBF6}" srcOrd="1" destOrd="0" presId="urn:microsoft.com/office/officeart/2009/3/layout/HorizontalOrganizationChart"/>
    <dgm:cxn modelId="{BF4D1A34-D0B5-446F-A4A5-52D8EAB06340}" type="presParOf" srcId="{B29F6E0C-6927-4E8E-BBBC-58BA0FB970B4}" destId="{21208BC9-F10E-4C4D-BCD8-A96FF2860805}" srcOrd="2" destOrd="0" presId="urn:microsoft.com/office/officeart/2009/3/layout/HorizontalOrganizationChart"/>
    <dgm:cxn modelId="{9047C519-7FAD-488B-9C78-487493A4DD1D}" type="presParOf" srcId="{21208BC9-F10E-4C4D-BCD8-A96FF2860805}" destId="{B1BC3CDD-470E-4336-91D7-2760F56365FD}" srcOrd="0" destOrd="0" presId="urn:microsoft.com/office/officeart/2009/3/layout/HorizontalOrganizationChart"/>
    <dgm:cxn modelId="{B9BC017E-898F-4D52-B6E4-7B9AD6034A72}" type="presParOf" srcId="{21208BC9-F10E-4C4D-BCD8-A96FF2860805}" destId="{4A61BF79-ED25-442D-A391-8845FA81CDE6}" srcOrd="1" destOrd="0" presId="urn:microsoft.com/office/officeart/2009/3/layout/HorizontalOrganizationChart"/>
    <dgm:cxn modelId="{B90DA677-71AF-4B5C-B9EC-E229C5E8CFC6}" type="presParOf" srcId="{4A61BF79-ED25-442D-A391-8845FA81CDE6}" destId="{ADF38DED-7687-44AF-9B59-417205B9A246}" srcOrd="0" destOrd="0" presId="urn:microsoft.com/office/officeart/2009/3/layout/HorizontalOrganizationChart"/>
    <dgm:cxn modelId="{FAD303DF-9804-4FE4-8784-215EA7978AF6}" type="presParOf" srcId="{ADF38DED-7687-44AF-9B59-417205B9A246}" destId="{B642EC9B-21DD-498A-9447-EF3CC1651F6A}" srcOrd="0" destOrd="0" presId="urn:microsoft.com/office/officeart/2009/3/layout/HorizontalOrganizationChart"/>
    <dgm:cxn modelId="{A268F8B7-8A92-4348-B95A-369261D6B18C}" type="presParOf" srcId="{ADF38DED-7687-44AF-9B59-417205B9A246}" destId="{65FB1E6F-8B9D-46F3-AFBA-F43451F3C8E0}" srcOrd="1" destOrd="0" presId="urn:microsoft.com/office/officeart/2009/3/layout/HorizontalOrganizationChart"/>
    <dgm:cxn modelId="{E0B0C021-C67C-4060-9E58-980DE3E2B1E5}" type="presParOf" srcId="{4A61BF79-ED25-442D-A391-8845FA81CDE6}" destId="{DC313738-09C3-4396-BB0D-89B34592EB68}" srcOrd="1" destOrd="0" presId="urn:microsoft.com/office/officeart/2009/3/layout/HorizontalOrganizationChart"/>
    <dgm:cxn modelId="{8EB6622E-5C8E-4877-A347-CA5A47B848A4}" type="presParOf" srcId="{4A61BF79-ED25-442D-A391-8845FA81CDE6}" destId="{8C6F0870-C514-42F7-94F2-5C9ED82EE869}" srcOrd="2" destOrd="0" presId="urn:microsoft.com/office/officeart/2009/3/layout/HorizontalOrganizationChart"/>
    <dgm:cxn modelId="{B7F190E8-D22E-4FD9-A928-D3D318D58901}" type="presParOf" srcId="{21208BC9-F10E-4C4D-BCD8-A96FF2860805}" destId="{E16449E1-F68E-4B2C-BDB4-2F260DD05F98}" srcOrd="2" destOrd="0" presId="urn:microsoft.com/office/officeart/2009/3/layout/HorizontalOrganizationChart"/>
    <dgm:cxn modelId="{A0201537-47D9-4A85-86FD-C4C0479FD7C1}" type="presParOf" srcId="{21208BC9-F10E-4C4D-BCD8-A96FF2860805}" destId="{38DD27C3-843D-4391-9ECB-F83A11456BA3}" srcOrd="3" destOrd="0" presId="urn:microsoft.com/office/officeart/2009/3/layout/HorizontalOrganizationChart"/>
    <dgm:cxn modelId="{CFF3D223-1035-4FE3-ABE2-0534DBF52FEE}" type="presParOf" srcId="{38DD27C3-843D-4391-9ECB-F83A11456BA3}" destId="{4419B7F0-EE0F-468D-9A76-1623726B6EB1}" srcOrd="0" destOrd="0" presId="urn:microsoft.com/office/officeart/2009/3/layout/HorizontalOrganizationChart"/>
    <dgm:cxn modelId="{9E2ED3D4-BBE0-4A7C-909B-CF588C571D49}" type="presParOf" srcId="{4419B7F0-EE0F-468D-9A76-1623726B6EB1}" destId="{F2EBBBDE-DD3C-4D07-82FF-B5BEC553EDF8}" srcOrd="0" destOrd="0" presId="urn:microsoft.com/office/officeart/2009/3/layout/HorizontalOrganizationChart"/>
    <dgm:cxn modelId="{C2D5BA86-C55F-4D27-A4A8-FD982B1874B9}" type="presParOf" srcId="{4419B7F0-EE0F-468D-9A76-1623726B6EB1}" destId="{7017BBD0-BEF6-42ED-BA2B-203976A5F5FE}" srcOrd="1" destOrd="0" presId="urn:microsoft.com/office/officeart/2009/3/layout/HorizontalOrganizationChart"/>
    <dgm:cxn modelId="{C24E5EA6-AA4B-40F5-9491-B201466EFE6A}" type="presParOf" srcId="{38DD27C3-843D-4391-9ECB-F83A11456BA3}" destId="{8CEFCA8C-D47D-4CF3-AD02-F19891787AAE}" srcOrd="1" destOrd="0" presId="urn:microsoft.com/office/officeart/2009/3/layout/HorizontalOrganizationChart"/>
    <dgm:cxn modelId="{E22B093A-1547-48C5-84AD-A7A909EB38F7}" type="presParOf" srcId="{38DD27C3-843D-4391-9ECB-F83A11456BA3}" destId="{1F92B39D-5BAF-4281-B004-F0D305C80EFC}" srcOrd="2" destOrd="0" presId="urn:microsoft.com/office/officeart/2009/3/layout/HorizontalOrganizationChart"/>
    <dgm:cxn modelId="{7609A915-DE88-4B77-9AB9-620E55392F42}" type="presParOf" srcId="{21208BC9-F10E-4C4D-BCD8-A96FF2860805}" destId="{B94BA221-2B1E-4A9C-B6D1-E39E2BBF9123}" srcOrd="4" destOrd="0" presId="urn:microsoft.com/office/officeart/2009/3/layout/HorizontalOrganizationChart"/>
    <dgm:cxn modelId="{74E8AD5E-4B23-475D-B994-D4313927B6C0}" type="presParOf" srcId="{21208BC9-F10E-4C4D-BCD8-A96FF2860805}" destId="{857838E8-C447-47EA-8E92-1727B1788CFF}" srcOrd="5" destOrd="0" presId="urn:microsoft.com/office/officeart/2009/3/layout/HorizontalOrganizationChart"/>
    <dgm:cxn modelId="{A261A5A1-9340-4C42-814D-8D5520B30E20}" type="presParOf" srcId="{857838E8-C447-47EA-8E92-1727B1788CFF}" destId="{414433C5-DA2F-4502-850C-CBCB36202451}" srcOrd="0" destOrd="0" presId="urn:microsoft.com/office/officeart/2009/3/layout/HorizontalOrganizationChart"/>
    <dgm:cxn modelId="{64F33219-70DA-46C4-82DA-CABA72206B8B}" type="presParOf" srcId="{414433C5-DA2F-4502-850C-CBCB36202451}" destId="{EB77B50A-A143-4571-8B13-E62E1EAC3F88}" srcOrd="0" destOrd="0" presId="urn:microsoft.com/office/officeart/2009/3/layout/HorizontalOrganizationChart"/>
    <dgm:cxn modelId="{958CCF8C-2493-49A8-A3EB-D80B045207AA}" type="presParOf" srcId="{414433C5-DA2F-4502-850C-CBCB36202451}" destId="{A1A286BE-246A-4A84-99F1-7CD4124A6B41}" srcOrd="1" destOrd="0" presId="urn:microsoft.com/office/officeart/2009/3/layout/HorizontalOrganizationChart"/>
    <dgm:cxn modelId="{F3B1CC5E-EF25-406B-AAFD-EA7A4F70B4B8}" type="presParOf" srcId="{857838E8-C447-47EA-8E92-1727B1788CFF}" destId="{055CE620-9AD4-4BF3-9ECE-105F4E468383}" srcOrd="1" destOrd="0" presId="urn:microsoft.com/office/officeart/2009/3/layout/HorizontalOrganizationChart"/>
    <dgm:cxn modelId="{F5C393D2-9643-48CA-A6BD-58B330CC26CD}" type="presParOf" srcId="{857838E8-C447-47EA-8E92-1727B1788CFF}" destId="{ED15F50E-1470-41DF-A4FC-34EAFF7EEFD3}" srcOrd="2" destOrd="0" presId="urn:microsoft.com/office/officeart/2009/3/layout/HorizontalOrganizationChart"/>
    <dgm:cxn modelId="{75F9FBC0-7A99-4E69-95D5-C05502EDD7C5}" type="presParOf" srcId="{21208BC9-F10E-4C4D-BCD8-A96FF2860805}" destId="{ED131662-7556-4F74-93A0-9AD5D9B92A84}" srcOrd="6" destOrd="0" presId="urn:microsoft.com/office/officeart/2009/3/layout/HorizontalOrganizationChart"/>
    <dgm:cxn modelId="{20A78FA3-F9A0-4FEF-BCB3-911284030B47}" type="presParOf" srcId="{21208BC9-F10E-4C4D-BCD8-A96FF2860805}" destId="{B0FDBD81-BAA2-4150-B50D-4B1A1084CC13}" srcOrd="7" destOrd="0" presId="urn:microsoft.com/office/officeart/2009/3/layout/HorizontalOrganizationChart"/>
    <dgm:cxn modelId="{9A05FE40-7794-40BC-B69E-670391601945}" type="presParOf" srcId="{B0FDBD81-BAA2-4150-B50D-4B1A1084CC13}" destId="{30376DE9-F750-482C-8E6D-37C735E0DF5C}" srcOrd="0" destOrd="0" presId="urn:microsoft.com/office/officeart/2009/3/layout/HorizontalOrganizationChart"/>
    <dgm:cxn modelId="{11273CE8-20DD-4838-9685-FC9CFAE48A63}" type="presParOf" srcId="{30376DE9-F750-482C-8E6D-37C735E0DF5C}" destId="{D0C62D36-537E-4076-B7F3-DC1FD4C6EC67}" srcOrd="0" destOrd="0" presId="urn:microsoft.com/office/officeart/2009/3/layout/HorizontalOrganizationChart"/>
    <dgm:cxn modelId="{52C11237-8A36-42DF-AF88-CF24FD914EBF}" type="presParOf" srcId="{30376DE9-F750-482C-8E6D-37C735E0DF5C}" destId="{AC5AF800-66D9-48A8-80A0-186CB2819A9F}" srcOrd="1" destOrd="0" presId="urn:microsoft.com/office/officeart/2009/3/layout/HorizontalOrganizationChart"/>
    <dgm:cxn modelId="{D82BA7B3-9482-4B69-A165-D828805AF308}" type="presParOf" srcId="{B0FDBD81-BAA2-4150-B50D-4B1A1084CC13}" destId="{975687FB-B2C2-4C44-93F2-D0FDAEAC182E}" srcOrd="1" destOrd="0" presId="urn:microsoft.com/office/officeart/2009/3/layout/HorizontalOrganizationChart"/>
    <dgm:cxn modelId="{134248A5-5600-4907-89EE-048E35615BEA}" type="presParOf" srcId="{B0FDBD81-BAA2-4150-B50D-4B1A1084CC13}" destId="{746DECBB-ECAA-46FB-BA76-FCB5DD76A172}" srcOrd="2" destOrd="0" presId="urn:microsoft.com/office/officeart/2009/3/layout/HorizontalOrganizationChart"/>
    <dgm:cxn modelId="{4EFDE500-19C3-4CE9-9989-72CBC42BF91D}" type="presParOf" srcId="{21208BC9-F10E-4C4D-BCD8-A96FF2860805}" destId="{401C5B77-DA38-43E3-B522-C47F40CAE717}" srcOrd="8" destOrd="0" presId="urn:microsoft.com/office/officeart/2009/3/layout/HorizontalOrganizationChart"/>
    <dgm:cxn modelId="{607EB80A-AF26-46C4-B71D-5CA32E23A30F}" type="presParOf" srcId="{21208BC9-F10E-4C4D-BCD8-A96FF2860805}" destId="{78AD3FD8-56EB-4EFE-BBC1-7657EE1E2576}" srcOrd="9" destOrd="0" presId="urn:microsoft.com/office/officeart/2009/3/layout/HorizontalOrganizationChart"/>
    <dgm:cxn modelId="{7080AA59-4223-4334-A168-2C76F2C64075}" type="presParOf" srcId="{78AD3FD8-56EB-4EFE-BBC1-7657EE1E2576}" destId="{825DB150-543A-4B8C-BF0A-40234261EE28}" srcOrd="0" destOrd="0" presId="urn:microsoft.com/office/officeart/2009/3/layout/HorizontalOrganizationChart"/>
    <dgm:cxn modelId="{E07727FB-8DA2-4900-A485-ABB7043B6721}" type="presParOf" srcId="{825DB150-543A-4B8C-BF0A-40234261EE28}" destId="{9C2CBD33-B28B-4E34-AA1D-B1B39A4B6177}" srcOrd="0" destOrd="0" presId="urn:microsoft.com/office/officeart/2009/3/layout/HorizontalOrganizationChart"/>
    <dgm:cxn modelId="{B64E1FAD-653D-404C-9C2E-26254C1F70F2}" type="presParOf" srcId="{825DB150-543A-4B8C-BF0A-40234261EE28}" destId="{4770D378-5DA1-4D8D-9198-6629CE4595CF}" srcOrd="1" destOrd="0" presId="urn:microsoft.com/office/officeart/2009/3/layout/HorizontalOrganizationChart"/>
    <dgm:cxn modelId="{6389858A-CA99-46C6-822A-950AC7848AAA}" type="presParOf" srcId="{78AD3FD8-56EB-4EFE-BBC1-7657EE1E2576}" destId="{3933AAEC-2C84-4271-9777-3C126F235EEE}" srcOrd="1" destOrd="0" presId="urn:microsoft.com/office/officeart/2009/3/layout/HorizontalOrganizationChart"/>
    <dgm:cxn modelId="{0B501168-29D0-4FF9-9C73-C539B90B7531}" type="presParOf" srcId="{78AD3FD8-56EB-4EFE-BBC1-7657EE1E2576}" destId="{8DB148C7-94BD-484D-9402-267CC0F5C2E2}" srcOrd="2" destOrd="0" presId="urn:microsoft.com/office/officeart/2009/3/layout/HorizontalOrganizationChart"/>
    <dgm:cxn modelId="{85080C79-95F2-4CEB-9B5E-C066A02BD747}" type="presParOf" srcId="{21208BC9-F10E-4C4D-BCD8-A96FF2860805}" destId="{E2986E73-E28D-4B70-8A10-AA0E4BFF85F5}" srcOrd="10" destOrd="0" presId="urn:microsoft.com/office/officeart/2009/3/layout/HorizontalOrganizationChart"/>
    <dgm:cxn modelId="{9652AE06-7656-4C87-93B7-2B995CAFA2F8}" type="presParOf" srcId="{21208BC9-F10E-4C4D-BCD8-A96FF2860805}" destId="{093AFAED-5E4F-4328-8DEF-0D4130313E64}" srcOrd="11" destOrd="0" presId="urn:microsoft.com/office/officeart/2009/3/layout/HorizontalOrganizationChart"/>
    <dgm:cxn modelId="{E1F2C125-64C3-4769-8B3F-2F4755C52A91}" type="presParOf" srcId="{093AFAED-5E4F-4328-8DEF-0D4130313E64}" destId="{DEF1BB6F-3FAC-4623-9C6D-3C93BE1FFF71}" srcOrd="0" destOrd="0" presId="urn:microsoft.com/office/officeart/2009/3/layout/HorizontalOrganizationChart"/>
    <dgm:cxn modelId="{D10D515F-B5F5-4A18-A0EF-BF86505F4FF6}" type="presParOf" srcId="{DEF1BB6F-3FAC-4623-9C6D-3C93BE1FFF71}" destId="{DB2AA0E5-87CB-4EA7-8FD8-8A8D9AD5FC09}" srcOrd="0" destOrd="0" presId="urn:microsoft.com/office/officeart/2009/3/layout/HorizontalOrganizationChart"/>
    <dgm:cxn modelId="{D184C503-765B-4B01-BCE2-E9A418F0FEB6}" type="presParOf" srcId="{DEF1BB6F-3FAC-4623-9C6D-3C93BE1FFF71}" destId="{A96CD2EF-CB98-428B-BA34-7EC14C6B2184}" srcOrd="1" destOrd="0" presId="urn:microsoft.com/office/officeart/2009/3/layout/HorizontalOrganizationChart"/>
    <dgm:cxn modelId="{20F1710C-74CA-4EA5-B2C2-95646F6A510C}" type="presParOf" srcId="{093AFAED-5E4F-4328-8DEF-0D4130313E64}" destId="{49ECA1BB-613A-4BA6-AF97-8F75C4DA7016}" srcOrd="1" destOrd="0" presId="urn:microsoft.com/office/officeart/2009/3/layout/HorizontalOrganizationChart"/>
    <dgm:cxn modelId="{75DA97D6-E7FB-499A-90D6-A7C5EDDAF033}" type="presParOf" srcId="{093AFAED-5E4F-4328-8DEF-0D4130313E64}" destId="{9D8D1C90-789D-4ABE-AC71-F2C75C7BF140}" srcOrd="2" destOrd="0" presId="urn:microsoft.com/office/officeart/2009/3/layout/HorizontalOrganizationChart"/>
    <dgm:cxn modelId="{9326091B-5F8C-4255-8548-20961B9595DD}" type="presParOf" srcId="{21208BC9-F10E-4C4D-BCD8-A96FF2860805}" destId="{DC25E44F-00BB-49DA-8E55-2B5AB8866DD8}" srcOrd="12" destOrd="0" presId="urn:microsoft.com/office/officeart/2009/3/layout/HorizontalOrganizationChart"/>
    <dgm:cxn modelId="{17FB4907-0341-42CA-82FB-37A83BFB5F0D}" type="presParOf" srcId="{21208BC9-F10E-4C4D-BCD8-A96FF2860805}" destId="{E388FD2D-3B12-4111-A245-B72E057EA4A3}" srcOrd="13" destOrd="0" presId="urn:microsoft.com/office/officeart/2009/3/layout/HorizontalOrganizationChart"/>
    <dgm:cxn modelId="{DB5C9F28-D414-45A1-9852-F6757A30C9C8}" type="presParOf" srcId="{E388FD2D-3B12-4111-A245-B72E057EA4A3}" destId="{B4DFAC06-3101-41D5-9B30-B01BE77A123F}" srcOrd="0" destOrd="0" presId="urn:microsoft.com/office/officeart/2009/3/layout/HorizontalOrganizationChart"/>
    <dgm:cxn modelId="{357259AA-88F0-4037-A125-BA3F64B56BF1}" type="presParOf" srcId="{B4DFAC06-3101-41D5-9B30-B01BE77A123F}" destId="{56E2CA82-4F44-462C-93DE-130B345E7840}" srcOrd="0" destOrd="0" presId="urn:microsoft.com/office/officeart/2009/3/layout/HorizontalOrganizationChart"/>
    <dgm:cxn modelId="{C64CE29C-5BDA-4EAB-AAC6-F0255A8C6ACC}" type="presParOf" srcId="{B4DFAC06-3101-41D5-9B30-B01BE77A123F}" destId="{09474C4A-CFAB-4820-BEFC-29F2CD025243}" srcOrd="1" destOrd="0" presId="urn:microsoft.com/office/officeart/2009/3/layout/HorizontalOrganizationChart"/>
    <dgm:cxn modelId="{EC4894E9-2A68-4C54-AC18-89C2E80BA895}" type="presParOf" srcId="{E388FD2D-3B12-4111-A245-B72E057EA4A3}" destId="{43862248-0170-4900-A1F0-9B45DFB8F9D2}" srcOrd="1" destOrd="0" presId="urn:microsoft.com/office/officeart/2009/3/layout/HorizontalOrganizationChart"/>
    <dgm:cxn modelId="{C32B8768-C95E-4FAD-A78B-8C0E2D67BEA3}" type="presParOf" srcId="{E388FD2D-3B12-4111-A245-B72E057EA4A3}" destId="{B314ED14-D6FB-4C06-B3BC-1DEB6C495DAC}" srcOrd="2" destOrd="0" presId="urn:microsoft.com/office/officeart/2009/3/layout/HorizontalOrganizationChart"/>
    <dgm:cxn modelId="{44A5710C-E082-4960-A370-77C99F472EF2}" type="presParOf" srcId="{21208BC9-F10E-4C4D-BCD8-A96FF2860805}" destId="{49184D98-F766-43AC-A52C-83A8442E076E}" srcOrd="14" destOrd="0" presId="urn:microsoft.com/office/officeart/2009/3/layout/HorizontalOrganizationChart"/>
    <dgm:cxn modelId="{901CFBDA-F51D-4A0B-B652-DF8C06016C31}" type="presParOf" srcId="{21208BC9-F10E-4C4D-BCD8-A96FF2860805}" destId="{2A0DB064-32D3-4BFB-99F4-CF072B599BE5}" srcOrd="15" destOrd="0" presId="urn:microsoft.com/office/officeart/2009/3/layout/HorizontalOrganizationChart"/>
    <dgm:cxn modelId="{92E74554-63E5-49B2-BE0B-2E0667DB6733}" type="presParOf" srcId="{2A0DB064-32D3-4BFB-99F4-CF072B599BE5}" destId="{15DDDF52-5352-43BF-BDB8-6BB9DC215669}" srcOrd="0" destOrd="0" presId="urn:microsoft.com/office/officeart/2009/3/layout/HorizontalOrganizationChart"/>
    <dgm:cxn modelId="{DE0B8007-01DA-46BC-9E10-0C357CD7DE25}" type="presParOf" srcId="{15DDDF52-5352-43BF-BDB8-6BB9DC215669}" destId="{4915B2BA-BBF3-452C-82AA-B80F831892EA}" srcOrd="0" destOrd="0" presId="urn:microsoft.com/office/officeart/2009/3/layout/HorizontalOrganizationChart"/>
    <dgm:cxn modelId="{89388425-63F3-4BE0-A719-728005B967E1}" type="presParOf" srcId="{15DDDF52-5352-43BF-BDB8-6BB9DC215669}" destId="{A51240B3-E2AA-44EE-A0A3-A2C879168838}" srcOrd="1" destOrd="0" presId="urn:microsoft.com/office/officeart/2009/3/layout/HorizontalOrganizationChart"/>
    <dgm:cxn modelId="{C585BFF0-6136-4B0D-8717-571BA4BB8CFF}" type="presParOf" srcId="{2A0DB064-32D3-4BFB-99F4-CF072B599BE5}" destId="{25EAF003-B7C3-4281-B068-BC2AD0FEA95A}" srcOrd="1" destOrd="0" presId="urn:microsoft.com/office/officeart/2009/3/layout/HorizontalOrganizationChart"/>
    <dgm:cxn modelId="{DE293E82-BA02-47A7-809E-8C3CD4204472}" type="presParOf" srcId="{2A0DB064-32D3-4BFB-99F4-CF072B599BE5}" destId="{45630C15-9C07-4884-BD6A-F9FE9B218341}"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BDA7D7A-E177-4A2C-BC5C-26608A300C36}"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1A9223CD-1C5F-42AE-9948-D6851EC57EC5}">
      <dgm:prSet custT="1"/>
      <dgm:spPr/>
      <dgm:t>
        <a:bodyPr/>
        <a:lstStyle/>
        <a:p>
          <a:pPr>
            <a:lnSpc>
              <a:spcPct val="100000"/>
            </a:lnSpc>
          </a:pPr>
          <a:r>
            <a:rPr lang="en-GB" sz="2400" dirty="0">
              <a:latin typeface="Calibri" panose="020F0502020204030204" pitchFamily="34" charset="0"/>
            </a:rPr>
            <a:t>What is an Audit</a:t>
          </a:r>
          <a:endParaRPr lang="en-US" sz="2400" dirty="0">
            <a:latin typeface="Calibri" panose="020F0502020204030204" pitchFamily="34" charset="0"/>
          </a:endParaRPr>
        </a:p>
      </dgm:t>
    </dgm:pt>
    <dgm:pt modelId="{2167F230-6E71-4E7F-B840-E3F7CB6D0D2F}" type="parTrans" cxnId="{9B8505DC-108B-40C4-983E-5BD55C259FCC}">
      <dgm:prSet/>
      <dgm:spPr/>
      <dgm:t>
        <a:bodyPr/>
        <a:lstStyle/>
        <a:p>
          <a:endParaRPr lang="en-US" sz="2400">
            <a:latin typeface="Gill Sans MT" panose="020B0502020104020203" pitchFamily="34" charset="0"/>
          </a:endParaRPr>
        </a:p>
      </dgm:t>
    </dgm:pt>
    <dgm:pt modelId="{58A92566-CECE-4E1F-8066-303F2A725883}" type="sibTrans" cxnId="{9B8505DC-108B-40C4-983E-5BD55C259FCC}">
      <dgm:prSet/>
      <dgm:spPr/>
      <dgm:t>
        <a:bodyPr/>
        <a:lstStyle/>
        <a:p>
          <a:endParaRPr lang="en-US" sz="2400">
            <a:latin typeface="Gill Sans MT" panose="020B0502020104020203" pitchFamily="34" charset="0"/>
          </a:endParaRPr>
        </a:p>
      </dgm:t>
    </dgm:pt>
    <dgm:pt modelId="{174AE7F8-E2D6-4E32-B9ED-12A75D34A7E5}">
      <dgm:prSet custT="1"/>
      <dgm:spPr/>
      <dgm:t>
        <a:bodyPr/>
        <a:lstStyle/>
        <a:p>
          <a:pPr>
            <a:lnSpc>
              <a:spcPct val="100000"/>
            </a:lnSpc>
          </a:pPr>
          <a:r>
            <a:rPr lang="en-GB" sz="2400" dirty="0">
              <a:latin typeface="Calibri" panose="020F0502020204030204" pitchFamily="34" charset="0"/>
            </a:rPr>
            <a:t>Why to do an Audit</a:t>
          </a:r>
          <a:endParaRPr lang="en-US" sz="2400" dirty="0">
            <a:latin typeface="Calibri" panose="020F0502020204030204" pitchFamily="34" charset="0"/>
          </a:endParaRPr>
        </a:p>
      </dgm:t>
    </dgm:pt>
    <dgm:pt modelId="{2DF9C5CE-2348-43EB-96A9-60F0342AC920}" type="parTrans" cxnId="{01DAB074-EF46-403E-9DD7-2E99FE388802}">
      <dgm:prSet/>
      <dgm:spPr/>
      <dgm:t>
        <a:bodyPr/>
        <a:lstStyle/>
        <a:p>
          <a:endParaRPr lang="en-US" sz="2400">
            <a:latin typeface="Gill Sans MT" panose="020B0502020104020203" pitchFamily="34" charset="0"/>
          </a:endParaRPr>
        </a:p>
      </dgm:t>
    </dgm:pt>
    <dgm:pt modelId="{86A9566B-1138-415A-81D8-8F8004161928}" type="sibTrans" cxnId="{01DAB074-EF46-403E-9DD7-2E99FE388802}">
      <dgm:prSet/>
      <dgm:spPr/>
      <dgm:t>
        <a:bodyPr/>
        <a:lstStyle/>
        <a:p>
          <a:endParaRPr lang="en-US" sz="2400">
            <a:latin typeface="Gill Sans MT" panose="020B0502020104020203" pitchFamily="34" charset="0"/>
          </a:endParaRPr>
        </a:p>
      </dgm:t>
    </dgm:pt>
    <dgm:pt modelId="{921D3668-7AA4-473D-8B15-DA45BFD2DC8B}">
      <dgm:prSet custT="1"/>
      <dgm:spPr/>
      <dgm:t>
        <a:bodyPr/>
        <a:lstStyle/>
        <a:p>
          <a:pPr>
            <a:lnSpc>
              <a:spcPct val="100000"/>
            </a:lnSpc>
          </a:pPr>
          <a:r>
            <a:rPr lang="en-GB" sz="2400" dirty="0">
              <a:latin typeface="Calibri" panose="020F0502020204030204" pitchFamily="34" charset="0"/>
            </a:rPr>
            <a:t>How to do it</a:t>
          </a:r>
          <a:endParaRPr lang="en-US" sz="2400" dirty="0">
            <a:latin typeface="Calibri" panose="020F0502020204030204" pitchFamily="34" charset="0"/>
          </a:endParaRPr>
        </a:p>
      </dgm:t>
    </dgm:pt>
    <dgm:pt modelId="{83C209A7-D84B-4346-93D4-B7FA2FB62B7B}" type="parTrans" cxnId="{6CF036CB-5BFE-42FD-854B-801BEF5D5D8B}">
      <dgm:prSet/>
      <dgm:spPr/>
      <dgm:t>
        <a:bodyPr/>
        <a:lstStyle/>
        <a:p>
          <a:endParaRPr lang="en-US" sz="2400">
            <a:latin typeface="Gill Sans MT" panose="020B0502020104020203" pitchFamily="34" charset="0"/>
          </a:endParaRPr>
        </a:p>
      </dgm:t>
    </dgm:pt>
    <dgm:pt modelId="{22647233-AFFE-48B4-A71D-8F0ED94D1FFA}" type="sibTrans" cxnId="{6CF036CB-5BFE-42FD-854B-801BEF5D5D8B}">
      <dgm:prSet/>
      <dgm:spPr/>
      <dgm:t>
        <a:bodyPr/>
        <a:lstStyle/>
        <a:p>
          <a:endParaRPr lang="en-US" sz="2400">
            <a:latin typeface="Gill Sans MT" panose="020B0502020104020203" pitchFamily="34" charset="0"/>
          </a:endParaRPr>
        </a:p>
      </dgm:t>
    </dgm:pt>
    <dgm:pt modelId="{58331A4C-AADE-4598-AA97-0C9EA8C8570D}" type="pres">
      <dgm:prSet presAssocID="{CBDA7D7A-E177-4A2C-BC5C-26608A300C36}" presName="root" presStyleCnt="0">
        <dgm:presLayoutVars>
          <dgm:dir/>
          <dgm:resizeHandles val="exact"/>
        </dgm:presLayoutVars>
      </dgm:prSet>
      <dgm:spPr/>
    </dgm:pt>
    <dgm:pt modelId="{0C41EE6A-2633-4B3D-8F63-114CBA153029}" type="pres">
      <dgm:prSet presAssocID="{1A9223CD-1C5F-42AE-9948-D6851EC57EC5}" presName="compNode" presStyleCnt="0"/>
      <dgm:spPr/>
    </dgm:pt>
    <dgm:pt modelId="{DDAF6F67-91BE-432B-9551-B462DC5E003B}" type="pres">
      <dgm:prSet presAssocID="{1A9223CD-1C5F-42AE-9948-D6851EC57EC5}" presName="iconRect" presStyleLbl="node1" presStyleIdx="0" presStyleCnt="3" custLinFactNeighborY="5759"/>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Magnifying glass"/>
        </a:ext>
      </dgm:extLst>
    </dgm:pt>
    <dgm:pt modelId="{6B31A7FD-E7AB-4BA2-980E-03B0CB24549B}" type="pres">
      <dgm:prSet presAssocID="{1A9223CD-1C5F-42AE-9948-D6851EC57EC5}" presName="spaceRect" presStyleCnt="0"/>
      <dgm:spPr/>
    </dgm:pt>
    <dgm:pt modelId="{93A325A1-7787-49AA-934D-5C67E5A14B97}" type="pres">
      <dgm:prSet presAssocID="{1A9223CD-1C5F-42AE-9948-D6851EC57EC5}" presName="textRect" presStyleLbl="revTx" presStyleIdx="0" presStyleCnt="3">
        <dgm:presLayoutVars>
          <dgm:chMax val="1"/>
          <dgm:chPref val="1"/>
        </dgm:presLayoutVars>
      </dgm:prSet>
      <dgm:spPr/>
    </dgm:pt>
    <dgm:pt modelId="{1EDA04EB-AF94-4261-B06E-9C103487B0EA}" type="pres">
      <dgm:prSet presAssocID="{58A92566-CECE-4E1F-8066-303F2A725883}" presName="sibTrans" presStyleCnt="0"/>
      <dgm:spPr/>
    </dgm:pt>
    <dgm:pt modelId="{EBF60A62-F162-49A5-9608-895D9353D4B3}" type="pres">
      <dgm:prSet presAssocID="{174AE7F8-E2D6-4E32-B9ED-12A75D34A7E5}" presName="compNode" presStyleCnt="0"/>
      <dgm:spPr/>
    </dgm:pt>
    <dgm:pt modelId="{D2D35225-993E-44A0-9B42-F1999D9D8786}" type="pres">
      <dgm:prSet presAssocID="{174AE7F8-E2D6-4E32-B9ED-12A75D34A7E5}"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heckList"/>
        </a:ext>
      </dgm:extLst>
    </dgm:pt>
    <dgm:pt modelId="{2329DD83-300E-4025-882E-ECF16A003AFE}" type="pres">
      <dgm:prSet presAssocID="{174AE7F8-E2D6-4E32-B9ED-12A75D34A7E5}" presName="spaceRect" presStyleCnt="0"/>
      <dgm:spPr/>
    </dgm:pt>
    <dgm:pt modelId="{04C14813-0918-42B3-B121-47388029434B}" type="pres">
      <dgm:prSet presAssocID="{174AE7F8-E2D6-4E32-B9ED-12A75D34A7E5}" presName="textRect" presStyleLbl="revTx" presStyleIdx="1" presStyleCnt="3">
        <dgm:presLayoutVars>
          <dgm:chMax val="1"/>
          <dgm:chPref val="1"/>
        </dgm:presLayoutVars>
      </dgm:prSet>
      <dgm:spPr/>
    </dgm:pt>
    <dgm:pt modelId="{632E639C-FBF3-4327-B739-0A43112ECB47}" type="pres">
      <dgm:prSet presAssocID="{86A9566B-1138-415A-81D8-8F8004161928}" presName="sibTrans" presStyleCnt="0"/>
      <dgm:spPr/>
    </dgm:pt>
    <dgm:pt modelId="{5C7CF6DB-30CD-4A23-881C-3D47CD96D183}" type="pres">
      <dgm:prSet presAssocID="{921D3668-7AA4-473D-8B15-DA45BFD2DC8B}" presName="compNode" presStyleCnt="0"/>
      <dgm:spPr/>
    </dgm:pt>
    <dgm:pt modelId="{A166A87E-4895-4B3E-8350-7BF9DDB5E097}" type="pres">
      <dgm:prSet presAssocID="{921D3668-7AA4-473D-8B15-DA45BFD2DC8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Tick"/>
        </a:ext>
      </dgm:extLst>
    </dgm:pt>
    <dgm:pt modelId="{7E2947E7-82CB-4E98-944F-4E726D5E92BC}" type="pres">
      <dgm:prSet presAssocID="{921D3668-7AA4-473D-8B15-DA45BFD2DC8B}" presName="spaceRect" presStyleCnt="0"/>
      <dgm:spPr/>
    </dgm:pt>
    <dgm:pt modelId="{4AE35A96-8C35-41E3-9595-00FFCAF18C57}" type="pres">
      <dgm:prSet presAssocID="{921D3668-7AA4-473D-8B15-DA45BFD2DC8B}" presName="textRect" presStyleLbl="revTx" presStyleIdx="2" presStyleCnt="3">
        <dgm:presLayoutVars>
          <dgm:chMax val="1"/>
          <dgm:chPref val="1"/>
        </dgm:presLayoutVars>
      </dgm:prSet>
      <dgm:spPr/>
    </dgm:pt>
  </dgm:ptLst>
  <dgm:cxnLst>
    <dgm:cxn modelId="{AF255228-1C60-4FAD-AAC9-FF13D400FE8B}" type="presOf" srcId="{CBDA7D7A-E177-4A2C-BC5C-26608A300C36}" destId="{58331A4C-AADE-4598-AA97-0C9EA8C8570D}" srcOrd="0" destOrd="0" presId="urn:microsoft.com/office/officeart/2018/2/layout/IconLabelList"/>
    <dgm:cxn modelId="{B125A933-81B6-4839-AE67-B604B871F1B6}" type="presOf" srcId="{1A9223CD-1C5F-42AE-9948-D6851EC57EC5}" destId="{93A325A1-7787-49AA-934D-5C67E5A14B97}" srcOrd="0" destOrd="0" presId="urn:microsoft.com/office/officeart/2018/2/layout/IconLabelList"/>
    <dgm:cxn modelId="{9A5BA774-18F7-4339-BE62-17425CE0FFD1}" type="presOf" srcId="{174AE7F8-E2D6-4E32-B9ED-12A75D34A7E5}" destId="{04C14813-0918-42B3-B121-47388029434B}" srcOrd="0" destOrd="0" presId="urn:microsoft.com/office/officeart/2018/2/layout/IconLabelList"/>
    <dgm:cxn modelId="{01DAB074-EF46-403E-9DD7-2E99FE388802}" srcId="{CBDA7D7A-E177-4A2C-BC5C-26608A300C36}" destId="{174AE7F8-E2D6-4E32-B9ED-12A75D34A7E5}" srcOrd="1" destOrd="0" parTransId="{2DF9C5CE-2348-43EB-96A9-60F0342AC920}" sibTransId="{86A9566B-1138-415A-81D8-8F8004161928}"/>
    <dgm:cxn modelId="{6CF036CB-5BFE-42FD-854B-801BEF5D5D8B}" srcId="{CBDA7D7A-E177-4A2C-BC5C-26608A300C36}" destId="{921D3668-7AA4-473D-8B15-DA45BFD2DC8B}" srcOrd="2" destOrd="0" parTransId="{83C209A7-D84B-4346-93D4-B7FA2FB62B7B}" sibTransId="{22647233-AFFE-48B4-A71D-8F0ED94D1FFA}"/>
    <dgm:cxn modelId="{9B8505DC-108B-40C4-983E-5BD55C259FCC}" srcId="{CBDA7D7A-E177-4A2C-BC5C-26608A300C36}" destId="{1A9223CD-1C5F-42AE-9948-D6851EC57EC5}" srcOrd="0" destOrd="0" parTransId="{2167F230-6E71-4E7F-B840-E3F7CB6D0D2F}" sibTransId="{58A92566-CECE-4E1F-8066-303F2A725883}"/>
    <dgm:cxn modelId="{EC901AE8-6CA3-445A-8ABC-75BD7FA27AAF}" type="presOf" srcId="{921D3668-7AA4-473D-8B15-DA45BFD2DC8B}" destId="{4AE35A96-8C35-41E3-9595-00FFCAF18C57}" srcOrd="0" destOrd="0" presId="urn:microsoft.com/office/officeart/2018/2/layout/IconLabelList"/>
    <dgm:cxn modelId="{053BA5BB-A93B-4587-B8CA-E0303F2B5F72}" type="presParOf" srcId="{58331A4C-AADE-4598-AA97-0C9EA8C8570D}" destId="{0C41EE6A-2633-4B3D-8F63-114CBA153029}" srcOrd="0" destOrd="0" presId="urn:microsoft.com/office/officeart/2018/2/layout/IconLabelList"/>
    <dgm:cxn modelId="{7983B452-3F53-4711-A9A6-EEC7F11820F7}" type="presParOf" srcId="{0C41EE6A-2633-4B3D-8F63-114CBA153029}" destId="{DDAF6F67-91BE-432B-9551-B462DC5E003B}" srcOrd="0" destOrd="0" presId="urn:microsoft.com/office/officeart/2018/2/layout/IconLabelList"/>
    <dgm:cxn modelId="{1DF2030F-D3A4-491B-BC3F-987AEEBD65A0}" type="presParOf" srcId="{0C41EE6A-2633-4B3D-8F63-114CBA153029}" destId="{6B31A7FD-E7AB-4BA2-980E-03B0CB24549B}" srcOrd="1" destOrd="0" presId="urn:microsoft.com/office/officeart/2018/2/layout/IconLabelList"/>
    <dgm:cxn modelId="{023F480C-283A-4980-8492-2F69027533E4}" type="presParOf" srcId="{0C41EE6A-2633-4B3D-8F63-114CBA153029}" destId="{93A325A1-7787-49AA-934D-5C67E5A14B97}" srcOrd="2" destOrd="0" presId="urn:microsoft.com/office/officeart/2018/2/layout/IconLabelList"/>
    <dgm:cxn modelId="{D76A4C7E-2D0D-4E0E-969B-44DB5EF2FBE0}" type="presParOf" srcId="{58331A4C-AADE-4598-AA97-0C9EA8C8570D}" destId="{1EDA04EB-AF94-4261-B06E-9C103487B0EA}" srcOrd="1" destOrd="0" presId="urn:microsoft.com/office/officeart/2018/2/layout/IconLabelList"/>
    <dgm:cxn modelId="{D8F88647-1669-4789-B361-85CAA55FEBC2}" type="presParOf" srcId="{58331A4C-AADE-4598-AA97-0C9EA8C8570D}" destId="{EBF60A62-F162-49A5-9608-895D9353D4B3}" srcOrd="2" destOrd="0" presId="urn:microsoft.com/office/officeart/2018/2/layout/IconLabelList"/>
    <dgm:cxn modelId="{1F95FE72-326E-42C3-999C-2D8C07D0400F}" type="presParOf" srcId="{EBF60A62-F162-49A5-9608-895D9353D4B3}" destId="{D2D35225-993E-44A0-9B42-F1999D9D8786}" srcOrd="0" destOrd="0" presId="urn:microsoft.com/office/officeart/2018/2/layout/IconLabelList"/>
    <dgm:cxn modelId="{A3C4673C-3B60-457D-9747-A8C0E841D98E}" type="presParOf" srcId="{EBF60A62-F162-49A5-9608-895D9353D4B3}" destId="{2329DD83-300E-4025-882E-ECF16A003AFE}" srcOrd="1" destOrd="0" presId="urn:microsoft.com/office/officeart/2018/2/layout/IconLabelList"/>
    <dgm:cxn modelId="{A6E4BB0E-041B-4C10-A0DB-E41F5FD14F40}" type="presParOf" srcId="{EBF60A62-F162-49A5-9608-895D9353D4B3}" destId="{04C14813-0918-42B3-B121-47388029434B}" srcOrd="2" destOrd="0" presId="urn:microsoft.com/office/officeart/2018/2/layout/IconLabelList"/>
    <dgm:cxn modelId="{E5DB457C-BDBC-4C9C-8BC1-3771D5FB5538}" type="presParOf" srcId="{58331A4C-AADE-4598-AA97-0C9EA8C8570D}" destId="{632E639C-FBF3-4327-B739-0A43112ECB47}" srcOrd="3" destOrd="0" presId="urn:microsoft.com/office/officeart/2018/2/layout/IconLabelList"/>
    <dgm:cxn modelId="{2C828A13-25FE-429D-8FB2-37476D60FDA8}" type="presParOf" srcId="{58331A4C-AADE-4598-AA97-0C9EA8C8570D}" destId="{5C7CF6DB-30CD-4A23-881C-3D47CD96D183}" srcOrd="4" destOrd="0" presId="urn:microsoft.com/office/officeart/2018/2/layout/IconLabelList"/>
    <dgm:cxn modelId="{BFFFE7A1-3420-4C1A-BA9C-E7A3A35DFB99}" type="presParOf" srcId="{5C7CF6DB-30CD-4A23-881C-3D47CD96D183}" destId="{A166A87E-4895-4B3E-8350-7BF9DDB5E097}" srcOrd="0" destOrd="0" presId="urn:microsoft.com/office/officeart/2018/2/layout/IconLabelList"/>
    <dgm:cxn modelId="{6CB25B1A-9E6B-4E2E-B621-4FBF790D0EAB}" type="presParOf" srcId="{5C7CF6DB-30CD-4A23-881C-3D47CD96D183}" destId="{7E2947E7-82CB-4E98-944F-4E726D5E92BC}" srcOrd="1" destOrd="0" presId="urn:microsoft.com/office/officeart/2018/2/layout/IconLabelList"/>
    <dgm:cxn modelId="{CC6C526E-0554-43EC-8559-C874C99D1D9E}" type="presParOf" srcId="{5C7CF6DB-30CD-4A23-881C-3D47CD96D183}" destId="{4AE35A96-8C35-41E3-9595-00FFCAF18C57}"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1620169-5D91-4DAA-881D-F0607536D35B}" type="doc">
      <dgm:prSet loTypeId="urn:microsoft.com/office/officeart/2005/8/layout/radial6" loCatId="cycle" qsTypeId="urn:microsoft.com/office/officeart/2005/8/quickstyle/simple4" qsCatId="simple" csTypeId="urn:microsoft.com/office/officeart/2005/8/colors/accent1_1" csCatId="accent1" phldr="1"/>
      <dgm:spPr/>
      <dgm:t>
        <a:bodyPr/>
        <a:lstStyle/>
        <a:p>
          <a:endParaRPr lang="en-US"/>
        </a:p>
      </dgm:t>
    </dgm:pt>
    <dgm:pt modelId="{572D5BE2-4763-4D5C-B62C-7B4B30A6830E}">
      <dgm:prSet phldrT="[Text]" custT="1"/>
      <dgm:spPr/>
      <dgm:t>
        <a:bodyPr/>
        <a:lstStyle/>
        <a:p>
          <a:r>
            <a:rPr lang="en-US" sz="2400" dirty="0">
              <a:latin typeface="Calibri" panose="020F0502020204030204" pitchFamily="34" charset="0"/>
            </a:rPr>
            <a:t>Sustainable oxygen delivery system </a:t>
          </a:r>
        </a:p>
      </dgm:t>
    </dgm:pt>
    <dgm:pt modelId="{76533E80-DCCD-455E-BB6D-D4DD1AD50487}" type="parTrans" cxnId="{FC2594B1-550E-4832-93C4-E2FF0698EACD}">
      <dgm:prSet/>
      <dgm:spPr/>
      <dgm:t>
        <a:bodyPr/>
        <a:lstStyle/>
        <a:p>
          <a:endParaRPr lang="en-US" sz="2400"/>
        </a:p>
      </dgm:t>
    </dgm:pt>
    <dgm:pt modelId="{BC08888C-3577-4849-B770-0DD16891095C}" type="sibTrans" cxnId="{FC2594B1-550E-4832-93C4-E2FF0698EACD}">
      <dgm:prSet/>
      <dgm:spPr/>
      <dgm:t>
        <a:bodyPr/>
        <a:lstStyle/>
        <a:p>
          <a:endParaRPr lang="en-US" sz="2400"/>
        </a:p>
      </dgm:t>
    </dgm:pt>
    <dgm:pt modelId="{487B65ED-F7C8-45FB-B725-C8BF6500C168}">
      <dgm:prSet phldrT="[Text]" custT="1"/>
      <dgm:spPr/>
      <dgm:t>
        <a:bodyPr/>
        <a:lstStyle/>
        <a:p>
          <a:r>
            <a:rPr lang="en-US" sz="1600" dirty="0">
              <a:latin typeface="Calibri" panose="020F0502020204030204" pitchFamily="34" charset="0"/>
            </a:rPr>
            <a:t>Asset management</a:t>
          </a:r>
        </a:p>
      </dgm:t>
    </dgm:pt>
    <dgm:pt modelId="{1BA6F2FC-7D60-40E1-997C-303A84A6BAF5}" type="parTrans" cxnId="{1765C8C2-C10D-4A10-B0D5-4AA3E50AE4EA}">
      <dgm:prSet/>
      <dgm:spPr/>
      <dgm:t>
        <a:bodyPr/>
        <a:lstStyle/>
        <a:p>
          <a:endParaRPr lang="en-US" sz="2400"/>
        </a:p>
      </dgm:t>
    </dgm:pt>
    <dgm:pt modelId="{DC9F97BC-70DD-4C4B-9751-0C30244E1A11}" type="sibTrans" cxnId="{1765C8C2-C10D-4A10-B0D5-4AA3E50AE4EA}">
      <dgm:prSet/>
      <dgm:spPr/>
      <dgm:t>
        <a:bodyPr/>
        <a:lstStyle/>
        <a:p>
          <a:endParaRPr lang="en-US" sz="2400"/>
        </a:p>
      </dgm:t>
    </dgm:pt>
    <dgm:pt modelId="{60580FCB-A98C-4B99-A855-E18B113A0A1D}">
      <dgm:prSet phldrT="[Text]" custT="1"/>
      <dgm:spPr/>
      <dgm:t>
        <a:bodyPr/>
        <a:lstStyle/>
        <a:p>
          <a:pPr marL="0" lvl="0" indent="0" algn="ctr" defTabSz="711200">
            <a:lnSpc>
              <a:spcPct val="90000"/>
            </a:lnSpc>
            <a:spcBef>
              <a:spcPct val="0"/>
            </a:spcBef>
            <a:spcAft>
              <a:spcPct val="35000"/>
            </a:spcAft>
            <a:buNone/>
          </a:pPr>
          <a:r>
            <a:rPr lang="en-US" sz="1600" kern="1200" dirty="0">
              <a:solidFill>
                <a:prstClr val="black">
                  <a:hueOff val="0"/>
                  <a:satOff val="0"/>
                  <a:lumOff val="0"/>
                  <a:alphaOff val="0"/>
                </a:prstClr>
              </a:solidFill>
              <a:latin typeface="Calibri" panose="020F0502020204030204" pitchFamily="34" charset="0"/>
              <a:ea typeface="+mn-ea"/>
              <a:cs typeface="+mn-cs"/>
            </a:rPr>
            <a:t>Maintenance</a:t>
          </a:r>
        </a:p>
      </dgm:t>
    </dgm:pt>
    <dgm:pt modelId="{ED26C945-0D78-4739-9A68-D2EFE5016718}" type="parTrans" cxnId="{D68226DD-4A16-4BB8-B99B-C242F732F57C}">
      <dgm:prSet/>
      <dgm:spPr/>
      <dgm:t>
        <a:bodyPr/>
        <a:lstStyle/>
        <a:p>
          <a:endParaRPr lang="en-US" sz="2400"/>
        </a:p>
      </dgm:t>
    </dgm:pt>
    <dgm:pt modelId="{CD56017A-D3D2-4CE2-9F72-151529354132}" type="sibTrans" cxnId="{D68226DD-4A16-4BB8-B99B-C242F732F57C}">
      <dgm:prSet/>
      <dgm:spPr/>
      <dgm:t>
        <a:bodyPr/>
        <a:lstStyle/>
        <a:p>
          <a:endParaRPr lang="en-US" sz="2400"/>
        </a:p>
      </dgm:t>
    </dgm:pt>
    <dgm:pt modelId="{70C00990-E08E-44EF-AC5B-42C06889A245}">
      <dgm:prSet phldrT="[Text]" custT="1"/>
      <dgm:spPr/>
      <dgm:t>
        <a:bodyPr/>
        <a:lstStyle/>
        <a:p>
          <a:r>
            <a:rPr lang="en-US" sz="1600" dirty="0">
              <a:latin typeface="Calibri" panose="020F0502020204030204" pitchFamily="34" charset="0"/>
            </a:rPr>
            <a:t>Harmonized demand</a:t>
          </a:r>
        </a:p>
      </dgm:t>
    </dgm:pt>
    <dgm:pt modelId="{E128911D-0556-496B-8C17-E2C578A5F31E}" type="parTrans" cxnId="{B4087131-8B81-4CC1-B7D6-AF6DB3DFF050}">
      <dgm:prSet/>
      <dgm:spPr/>
      <dgm:t>
        <a:bodyPr/>
        <a:lstStyle/>
        <a:p>
          <a:endParaRPr lang="en-US" sz="2400"/>
        </a:p>
      </dgm:t>
    </dgm:pt>
    <dgm:pt modelId="{640DBB56-2FF1-4A9B-96E7-656E63CE3699}" type="sibTrans" cxnId="{B4087131-8B81-4CC1-B7D6-AF6DB3DFF050}">
      <dgm:prSet/>
      <dgm:spPr/>
      <dgm:t>
        <a:bodyPr/>
        <a:lstStyle/>
        <a:p>
          <a:endParaRPr lang="en-US" sz="2400"/>
        </a:p>
      </dgm:t>
    </dgm:pt>
    <dgm:pt modelId="{FF03A62D-450B-4A36-AA5F-5B56D3CAF610}">
      <dgm:prSet phldrT="[Text]" custT="1"/>
      <dgm:spPr/>
      <dgm:t>
        <a:bodyPr/>
        <a:lstStyle/>
        <a:p>
          <a:pPr marL="0" lvl="0" indent="0" algn="ctr" defTabSz="711200">
            <a:lnSpc>
              <a:spcPct val="90000"/>
            </a:lnSpc>
            <a:spcBef>
              <a:spcPct val="0"/>
            </a:spcBef>
            <a:spcAft>
              <a:spcPct val="35000"/>
            </a:spcAft>
            <a:buNone/>
          </a:pPr>
          <a:r>
            <a:rPr lang="en-US" sz="1600" kern="1200" dirty="0">
              <a:solidFill>
                <a:prstClr val="black">
                  <a:hueOff val="0"/>
                  <a:satOff val="0"/>
                  <a:lumOff val="0"/>
                  <a:alphaOff val="0"/>
                </a:prstClr>
              </a:solidFill>
              <a:latin typeface="Calibri" panose="020F0502020204030204" pitchFamily="34" charset="0"/>
              <a:ea typeface="+mn-ea"/>
              <a:cs typeface="+mn-cs"/>
            </a:rPr>
            <a:t>Total cost of ownership</a:t>
          </a:r>
        </a:p>
      </dgm:t>
    </dgm:pt>
    <dgm:pt modelId="{61DC368B-B8FC-4CF4-923A-A9999517D2B9}" type="parTrans" cxnId="{22502888-1EC9-4152-8E9F-77A8291C48DA}">
      <dgm:prSet/>
      <dgm:spPr/>
      <dgm:t>
        <a:bodyPr/>
        <a:lstStyle/>
        <a:p>
          <a:endParaRPr lang="en-US" sz="2400"/>
        </a:p>
      </dgm:t>
    </dgm:pt>
    <dgm:pt modelId="{FCF33B7B-6ACF-42CE-8920-EDD13B485DB5}" type="sibTrans" cxnId="{22502888-1EC9-4152-8E9F-77A8291C48DA}">
      <dgm:prSet/>
      <dgm:spPr/>
      <dgm:t>
        <a:bodyPr/>
        <a:lstStyle/>
        <a:p>
          <a:endParaRPr lang="en-US" sz="2400"/>
        </a:p>
      </dgm:t>
    </dgm:pt>
    <dgm:pt modelId="{ED3DC304-ECCC-442D-8427-262D90584F6E}" type="pres">
      <dgm:prSet presAssocID="{41620169-5D91-4DAA-881D-F0607536D35B}" presName="Name0" presStyleCnt="0">
        <dgm:presLayoutVars>
          <dgm:chMax val="1"/>
          <dgm:dir/>
          <dgm:animLvl val="ctr"/>
          <dgm:resizeHandles val="exact"/>
        </dgm:presLayoutVars>
      </dgm:prSet>
      <dgm:spPr/>
    </dgm:pt>
    <dgm:pt modelId="{43CAECA3-24BC-4A7D-A4EF-790C6B7C33FD}" type="pres">
      <dgm:prSet presAssocID="{572D5BE2-4763-4D5C-B62C-7B4B30A6830E}" presName="centerShape" presStyleLbl="node0" presStyleIdx="0" presStyleCnt="1" custScaleX="179555" custScaleY="156908"/>
      <dgm:spPr/>
    </dgm:pt>
    <dgm:pt modelId="{B6ABF30D-EFD7-431A-A0A3-B6CB15F2DBF4}" type="pres">
      <dgm:prSet presAssocID="{70C00990-E08E-44EF-AC5B-42C06889A245}" presName="node" presStyleLbl="node1" presStyleIdx="0" presStyleCnt="4" custScaleX="157956" custRadScaleRad="93241" custRadScaleInc="2736">
        <dgm:presLayoutVars>
          <dgm:bulletEnabled val="1"/>
        </dgm:presLayoutVars>
      </dgm:prSet>
      <dgm:spPr/>
    </dgm:pt>
    <dgm:pt modelId="{D74F59B4-9F73-44DE-B5D2-E43717B80CC9}" type="pres">
      <dgm:prSet presAssocID="{70C00990-E08E-44EF-AC5B-42C06889A245}" presName="dummy" presStyleCnt="0"/>
      <dgm:spPr/>
    </dgm:pt>
    <dgm:pt modelId="{8E3C2640-2484-4E26-B30E-D7F75357ED7E}" type="pres">
      <dgm:prSet presAssocID="{640DBB56-2FF1-4A9B-96E7-656E63CE3699}" presName="sibTrans" presStyleLbl="sibTrans2D1" presStyleIdx="0" presStyleCnt="4"/>
      <dgm:spPr/>
    </dgm:pt>
    <dgm:pt modelId="{F957A22E-98AB-49CC-87A7-FD49DF7B4D02}" type="pres">
      <dgm:prSet presAssocID="{487B65ED-F7C8-45FB-B725-C8BF6500C168}" presName="node" presStyleLbl="node1" presStyleIdx="1" presStyleCnt="4" custScaleX="158830" custRadScaleRad="105375" custRadScaleInc="-422">
        <dgm:presLayoutVars>
          <dgm:bulletEnabled val="1"/>
        </dgm:presLayoutVars>
      </dgm:prSet>
      <dgm:spPr/>
    </dgm:pt>
    <dgm:pt modelId="{91E60876-F8A2-4B1A-882A-1B7858335091}" type="pres">
      <dgm:prSet presAssocID="{487B65ED-F7C8-45FB-B725-C8BF6500C168}" presName="dummy" presStyleCnt="0"/>
      <dgm:spPr/>
    </dgm:pt>
    <dgm:pt modelId="{B4AE4C71-B7BB-419E-B0A6-D4367FED7CB2}" type="pres">
      <dgm:prSet presAssocID="{DC9F97BC-70DD-4C4B-9751-0C30244E1A11}" presName="sibTrans" presStyleLbl="sibTrans2D1" presStyleIdx="1" presStyleCnt="4"/>
      <dgm:spPr/>
    </dgm:pt>
    <dgm:pt modelId="{729502E1-87D5-425A-AA8D-21D47D7DED1F}" type="pres">
      <dgm:prSet presAssocID="{60580FCB-A98C-4B99-A855-E18B113A0A1D}" presName="node" presStyleLbl="node1" presStyleIdx="2" presStyleCnt="4" custScaleX="171044" custRadScaleRad="95658" custRadScaleInc="-2667">
        <dgm:presLayoutVars>
          <dgm:bulletEnabled val="1"/>
        </dgm:presLayoutVars>
      </dgm:prSet>
      <dgm:spPr/>
    </dgm:pt>
    <dgm:pt modelId="{DCA193E2-1E10-404A-A177-4018935BC0C6}" type="pres">
      <dgm:prSet presAssocID="{60580FCB-A98C-4B99-A855-E18B113A0A1D}" presName="dummy" presStyleCnt="0"/>
      <dgm:spPr/>
    </dgm:pt>
    <dgm:pt modelId="{5277CBB6-A4D1-40EC-B917-EED4CCA83094}" type="pres">
      <dgm:prSet presAssocID="{CD56017A-D3D2-4CE2-9F72-151529354132}" presName="sibTrans" presStyleLbl="sibTrans2D1" presStyleIdx="2" presStyleCnt="4"/>
      <dgm:spPr/>
    </dgm:pt>
    <dgm:pt modelId="{4FBF659F-5EEE-448D-8B01-7902DFE4CB7D}" type="pres">
      <dgm:prSet presAssocID="{FF03A62D-450B-4A36-AA5F-5B56D3CAF610}" presName="node" presStyleLbl="node1" presStyleIdx="3" presStyleCnt="4" custScaleX="160557">
        <dgm:presLayoutVars>
          <dgm:bulletEnabled val="1"/>
        </dgm:presLayoutVars>
      </dgm:prSet>
      <dgm:spPr/>
    </dgm:pt>
    <dgm:pt modelId="{5DB321A9-D9C4-4740-A3E1-A2EB77055F91}" type="pres">
      <dgm:prSet presAssocID="{FF03A62D-450B-4A36-AA5F-5B56D3CAF610}" presName="dummy" presStyleCnt="0"/>
      <dgm:spPr/>
    </dgm:pt>
    <dgm:pt modelId="{767C47F2-ABED-49CB-AD7F-2F7D1D58668B}" type="pres">
      <dgm:prSet presAssocID="{FCF33B7B-6ACF-42CE-8920-EDD13B485DB5}" presName="sibTrans" presStyleLbl="sibTrans2D1" presStyleIdx="3" presStyleCnt="4"/>
      <dgm:spPr/>
    </dgm:pt>
  </dgm:ptLst>
  <dgm:cxnLst>
    <dgm:cxn modelId="{AD89FC17-DCE2-4760-8D60-EBA33C3E6DFD}" type="presOf" srcId="{DC9F97BC-70DD-4C4B-9751-0C30244E1A11}" destId="{B4AE4C71-B7BB-419E-B0A6-D4367FED7CB2}" srcOrd="0" destOrd="0" presId="urn:microsoft.com/office/officeart/2005/8/layout/radial6"/>
    <dgm:cxn modelId="{B4087131-8B81-4CC1-B7D6-AF6DB3DFF050}" srcId="{572D5BE2-4763-4D5C-B62C-7B4B30A6830E}" destId="{70C00990-E08E-44EF-AC5B-42C06889A245}" srcOrd="0" destOrd="0" parTransId="{E128911D-0556-496B-8C17-E2C578A5F31E}" sibTransId="{640DBB56-2FF1-4A9B-96E7-656E63CE3699}"/>
    <dgm:cxn modelId="{8FFFE03E-08F1-4723-AE54-61EEDEF6193A}" type="presOf" srcId="{41620169-5D91-4DAA-881D-F0607536D35B}" destId="{ED3DC304-ECCC-442D-8427-262D90584F6E}" srcOrd="0" destOrd="0" presId="urn:microsoft.com/office/officeart/2005/8/layout/radial6"/>
    <dgm:cxn modelId="{9B339284-860A-4F2B-990F-9FDF6BE94A29}" type="presOf" srcId="{60580FCB-A98C-4B99-A855-E18B113A0A1D}" destId="{729502E1-87D5-425A-AA8D-21D47D7DED1F}" srcOrd="0" destOrd="0" presId="urn:microsoft.com/office/officeart/2005/8/layout/radial6"/>
    <dgm:cxn modelId="{907B1C87-6AAB-40CF-945D-F4306B314852}" type="presOf" srcId="{572D5BE2-4763-4D5C-B62C-7B4B30A6830E}" destId="{43CAECA3-24BC-4A7D-A4EF-790C6B7C33FD}" srcOrd="0" destOrd="0" presId="urn:microsoft.com/office/officeart/2005/8/layout/radial6"/>
    <dgm:cxn modelId="{22502888-1EC9-4152-8E9F-77A8291C48DA}" srcId="{572D5BE2-4763-4D5C-B62C-7B4B30A6830E}" destId="{FF03A62D-450B-4A36-AA5F-5B56D3CAF610}" srcOrd="3" destOrd="0" parTransId="{61DC368B-B8FC-4CF4-923A-A9999517D2B9}" sibTransId="{FCF33B7B-6ACF-42CE-8920-EDD13B485DB5}"/>
    <dgm:cxn modelId="{6672869E-0B3E-4BF3-B7CD-DDBC97D3D8DD}" type="presOf" srcId="{FF03A62D-450B-4A36-AA5F-5B56D3CAF610}" destId="{4FBF659F-5EEE-448D-8B01-7902DFE4CB7D}" srcOrd="0" destOrd="0" presId="urn:microsoft.com/office/officeart/2005/8/layout/radial6"/>
    <dgm:cxn modelId="{7D8C64A5-E176-46A2-9BE1-C4B23BA000D1}" type="presOf" srcId="{FCF33B7B-6ACF-42CE-8920-EDD13B485DB5}" destId="{767C47F2-ABED-49CB-AD7F-2F7D1D58668B}" srcOrd="0" destOrd="0" presId="urn:microsoft.com/office/officeart/2005/8/layout/radial6"/>
    <dgm:cxn modelId="{0297D3A5-7F7B-450C-92CC-51D7F1F3F8DE}" type="presOf" srcId="{CD56017A-D3D2-4CE2-9F72-151529354132}" destId="{5277CBB6-A4D1-40EC-B917-EED4CCA83094}" srcOrd="0" destOrd="0" presId="urn:microsoft.com/office/officeart/2005/8/layout/radial6"/>
    <dgm:cxn modelId="{FC2594B1-550E-4832-93C4-E2FF0698EACD}" srcId="{41620169-5D91-4DAA-881D-F0607536D35B}" destId="{572D5BE2-4763-4D5C-B62C-7B4B30A6830E}" srcOrd="0" destOrd="0" parTransId="{76533E80-DCCD-455E-BB6D-D4DD1AD50487}" sibTransId="{BC08888C-3577-4849-B770-0DD16891095C}"/>
    <dgm:cxn modelId="{D63D3BB8-33B1-4068-8791-5C564B0B4EB0}" type="presOf" srcId="{487B65ED-F7C8-45FB-B725-C8BF6500C168}" destId="{F957A22E-98AB-49CC-87A7-FD49DF7B4D02}" srcOrd="0" destOrd="0" presId="urn:microsoft.com/office/officeart/2005/8/layout/radial6"/>
    <dgm:cxn modelId="{1765C8C2-C10D-4A10-B0D5-4AA3E50AE4EA}" srcId="{572D5BE2-4763-4D5C-B62C-7B4B30A6830E}" destId="{487B65ED-F7C8-45FB-B725-C8BF6500C168}" srcOrd="1" destOrd="0" parTransId="{1BA6F2FC-7D60-40E1-997C-303A84A6BAF5}" sibTransId="{DC9F97BC-70DD-4C4B-9751-0C30244E1A11}"/>
    <dgm:cxn modelId="{983E24C8-3CFE-4D0E-B8CB-B26E990CECDE}" type="presOf" srcId="{70C00990-E08E-44EF-AC5B-42C06889A245}" destId="{B6ABF30D-EFD7-431A-A0A3-B6CB15F2DBF4}" srcOrd="0" destOrd="0" presId="urn:microsoft.com/office/officeart/2005/8/layout/radial6"/>
    <dgm:cxn modelId="{9D6526D3-642F-4BB7-ADBF-E2C678B2D835}" type="presOf" srcId="{640DBB56-2FF1-4A9B-96E7-656E63CE3699}" destId="{8E3C2640-2484-4E26-B30E-D7F75357ED7E}" srcOrd="0" destOrd="0" presId="urn:microsoft.com/office/officeart/2005/8/layout/radial6"/>
    <dgm:cxn modelId="{D68226DD-4A16-4BB8-B99B-C242F732F57C}" srcId="{572D5BE2-4763-4D5C-B62C-7B4B30A6830E}" destId="{60580FCB-A98C-4B99-A855-E18B113A0A1D}" srcOrd="2" destOrd="0" parTransId="{ED26C945-0D78-4739-9A68-D2EFE5016718}" sibTransId="{CD56017A-D3D2-4CE2-9F72-151529354132}"/>
    <dgm:cxn modelId="{652D49E6-FBB7-4FDE-AAA9-F27E9F56DA49}" type="presParOf" srcId="{ED3DC304-ECCC-442D-8427-262D90584F6E}" destId="{43CAECA3-24BC-4A7D-A4EF-790C6B7C33FD}" srcOrd="0" destOrd="0" presId="urn:microsoft.com/office/officeart/2005/8/layout/radial6"/>
    <dgm:cxn modelId="{7A0E8170-280F-408B-865F-8674C18AA03E}" type="presParOf" srcId="{ED3DC304-ECCC-442D-8427-262D90584F6E}" destId="{B6ABF30D-EFD7-431A-A0A3-B6CB15F2DBF4}" srcOrd="1" destOrd="0" presId="urn:microsoft.com/office/officeart/2005/8/layout/radial6"/>
    <dgm:cxn modelId="{CC34CB6A-DA7D-4067-8DA6-D7F59A65CD8A}" type="presParOf" srcId="{ED3DC304-ECCC-442D-8427-262D90584F6E}" destId="{D74F59B4-9F73-44DE-B5D2-E43717B80CC9}" srcOrd="2" destOrd="0" presId="urn:microsoft.com/office/officeart/2005/8/layout/radial6"/>
    <dgm:cxn modelId="{1578EA41-EABB-46C3-8DCE-ACD06B944073}" type="presParOf" srcId="{ED3DC304-ECCC-442D-8427-262D90584F6E}" destId="{8E3C2640-2484-4E26-B30E-D7F75357ED7E}" srcOrd="3" destOrd="0" presId="urn:microsoft.com/office/officeart/2005/8/layout/radial6"/>
    <dgm:cxn modelId="{7DD542A6-8CB1-4838-9957-13BC94EF2087}" type="presParOf" srcId="{ED3DC304-ECCC-442D-8427-262D90584F6E}" destId="{F957A22E-98AB-49CC-87A7-FD49DF7B4D02}" srcOrd="4" destOrd="0" presId="urn:microsoft.com/office/officeart/2005/8/layout/radial6"/>
    <dgm:cxn modelId="{FE616E64-793E-4EC9-B850-B6DB2D67FF2E}" type="presParOf" srcId="{ED3DC304-ECCC-442D-8427-262D90584F6E}" destId="{91E60876-F8A2-4B1A-882A-1B7858335091}" srcOrd="5" destOrd="0" presId="urn:microsoft.com/office/officeart/2005/8/layout/radial6"/>
    <dgm:cxn modelId="{A90DDD27-9D4F-4E49-84BF-1838E378FD90}" type="presParOf" srcId="{ED3DC304-ECCC-442D-8427-262D90584F6E}" destId="{B4AE4C71-B7BB-419E-B0A6-D4367FED7CB2}" srcOrd="6" destOrd="0" presId="urn:microsoft.com/office/officeart/2005/8/layout/radial6"/>
    <dgm:cxn modelId="{17E0FAAC-12DD-4B4F-929F-BE195E3FF7F7}" type="presParOf" srcId="{ED3DC304-ECCC-442D-8427-262D90584F6E}" destId="{729502E1-87D5-425A-AA8D-21D47D7DED1F}" srcOrd="7" destOrd="0" presId="urn:microsoft.com/office/officeart/2005/8/layout/radial6"/>
    <dgm:cxn modelId="{EF0B9C57-B896-468D-BEFE-EC6035552531}" type="presParOf" srcId="{ED3DC304-ECCC-442D-8427-262D90584F6E}" destId="{DCA193E2-1E10-404A-A177-4018935BC0C6}" srcOrd="8" destOrd="0" presId="urn:microsoft.com/office/officeart/2005/8/layout/radial6"/>
    <dgm:cxn modelId="{B05086C7-9FDC-4664-900B-AED3F1496532}" type="presParOf" srcId="{ED3DC304-ECCC-442D-8427-262D90584F6E}" destId="{5277CBB6-A4D1-40EC-B917-EED4CCA83094}" srcOrd="9" destOrd="0" presId="urn:microsoft.com/office/officeart/2005/8/layout/radial6"/>
    <dgm:cxn modelId="{E80350B1-6BA7-425D-829A-06B90D002F4A}" type="presParOf" srcId="{ED3DC304-ECCC-442D-8427-262D90584F6E}" destId="{4FBF659F-5EEE-448D-8B01-7902DFE4CB7D}" srcOrd="10" destOrd="0" presId="urn:microsoft.com/office/officeart/2005/8/layout/radial6"/>
    <dgm:cxn modelId="{01372A44-4EF3-4A87-A170-7EED5161E62E}" type="presParOf" srcId="{ED3DC304-ECCC-442D-8427-262D90584F6E}" destId="{5DB321A9-D9C4-4740-A3E1-A2EB77055F91}" srcOrd="11" destOrd="0" presId="urn:microsoft.com/office/officeart/2005/8/layout/radial6"/>
    <dgm:cxn modelId="{9CDC40ED-2C20-4818-A808-4888B9D4A8AE}" type="presParOf" srcId="{ED3DC304-ECCC-442D-8427-262D90584F6E}" destId="{767C47F2-ABED-49CB-AD7F-2F7D1D58668B}"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ECAAA93-98CE-A142-A518-C2D7AA437DCD}" type="doc">
      <dgm:prSet loTypeId="urn:microsoft.com/office/officeart/2005/8/layout/cycle1" loCatId="process" qsTypeId="urn:microsoft.com/office/officeart/2005/8/quickstyle/simple1" qsCatId="simple" csTypeId="urn:microsoft.com/office/officeart/2005/8/colors/colorful1" csCatId="colorful" phldr="1"/>
      <dgm:spPr/>
      <dgm:t>
        <a:bodyPr/>
        <a:lstStyle/>
        <a:p>
          <a:endParaRPr lang="en-GB"/>
        </a:p>
      </dgm:t>
    </dgm:pt>
    <dgm:pt modelId="{BC12BFAC-81BA-5244-BBAC-54681591F4BC}">
      <dgm:prSet custT="1"/>
      <dgm:spPr/>
      <dgm:t>
        <a:bodyPr/>
        <a:lstStyle/>
        <a:p>
          <a:r>
            <a:rPr lang="en-GB" sz="2000" dirty="0">
              <a:latin typeface="Calibri" panose="020F0502020204030204" pitchFamily="34" charset="0"/>
            </a:rPr>
            <a:t>Planning</a:t>
          </a:r>
          <a:endParaRPr lang="en-IN" sz="2000" dirty="0">
            <a:latin typeface="Calibri" panose="020F0502020204030204" pitchFamily="34" charset="0"/>
          </a:endParaRPr>
        </a:p>
      </dgm:t>
    </dgm:pt>
    <dgm:pt modelId="{97DC1E7C-6994-1342-A4D3-4E83113C00C0}" type="parTrans" cxnId="{920EFA43-50F7-7B4A-AA9F-524C2B05BFD2}">
      <dgm:prSet/>
      <dgm:spPr/>
      <dgm:t>
        <a:bodyPr/>
        <a:lstStyle/>
        <a:p>
          <a:endParaRPr lang="en-GB" sz="2000">
            <a:latin typeface="Gill Sans MT" panose="020B0502020104020203" pitchFamily="34" charset="0"/>
          </a:endParaRPr>
        </a:p>
      </dgm:t>
    </dgm:pt>
    <dgm:pt modelId="{63FD329D-63C7-214A-9C6F-FB05316C878B}" type="sibTrans" cxnId="{920EFA43-50F7-7B4A-AA9F-524C2B05BFD2}">
      <dgm:prSet/>
      <dgm:spPr/>
      <dgm:t>
        <a:bodyPr/>
        <a:lstStyle/>
        <a:p>
          <a:endParaRPr lang="en-GB" sz="2000">
            <a:latin typeface="Gill Sans MT" panose="020B0502020104020203" pitchFamily="34" charset="0"/>
          </a:endParaRPr>
        </a:p>
      </dgm:t>
    </dgm:pt>
    <dgm:pt modelId="{E7DE8619-3BDB-1A42-9EDE-80CEF436E82F}">
      <dgm:prSet custT="1"/>
      <dgm:spPr/>
      <dgm:t>
        <a:bodyPr/>
        <a:lstStyle/>
        <a:p>
          <a:r>
            <a:rPr lang="en-GB" sz="2000" dirty="0">
              <a:latin typeface="Calibri" panose="020F0502020204030204" pitchFamily="34" charset="0"/>
            </a:rPr>
            <a:t>Fieldwork</a:t>
          </a:r>
          <a:endParaRPr lang="en-IN" sz="2000" dirty="0">
            <a:latin typeface="Calibri" panose="020F0502020204030204" pitchFamily="34" charset="0"/>
          </a:endParaRPr>
        </a:p>
      </dgm:t>
    </dgm:pt>
    <dgm:pt modelId="{419F58B9-46C9-1C46-BCE1-5BAAF7A66D9F}" type="parTrans" cxnId="{D6B486F0-2B68-8547-8327-1A9301ECEBF6}">
      <dgm:prSet/>
      <dgm:spPr/>
      <dgm:t>
        <a:bodyPr/>
        <a:lstStyle/>
        <a:p>
          <a:endParaRPr lang="en-GB" sz="2000">
            <a:latin typeface="Gill Sans MT" panose="020B0502020104020203" pitchFamily="34" charset="0"/>
          </a:endParaRPr>
        </a:p>
      </dgm:t>
    </dgm:pt>
    <dgm:pt modelId="{944CE5E8-9C61-1648-B970-F7D75BB60362}" type="sibTrans" cxnId="{D6B486F0-2B68-8547-8327-1A9301ECEBF6}">
      <dgm:prSet/>
      <dgm:spPr/>
      <dgm:t>
        <a:bodyPr/>
        <a:lstStyle/>
        <a:p>
          <a:endParaRPr lang="en-GB" sz="2000">
            <a:latin typeface="Gill Sans MT" panose="020B0502020104020203" pitchFamily="34" charset="0"/>
          </a:endParaRPr>
        </a:p>
      </dgm:t>
    </dgm:pt>
    <dgm:pt modelId="{188466BA-84DF-6F4F-B80D-567216BF9C50}">
      <dgm:prSet custT="1"/>
      <dgm:spPr/>
      <dgm:t>
        <a:bodyPr/>
        <a:lstStyle/>
        <a:p>
          <a:r>
            <a:rPr lang="en-GB" sz="2000" dirty="0">
              <a:latin typeface="Calibri" panose="020F0502020204030204" pitchFamily="34" charset="0"/>
            </a:rPr>
            <a:t>Reporting</a:t>
          </a:r>
          <a:endParaRPr lang="en-IN" sz="2000" dirty="0">
            <a:latin typeface="Calibri" panose="020F0502020204030204" pitchFamily="34" charset="0"/>
          </a:endParaRPr>
        </a:p>
      </dgm:t>
    </dgm:pt>
    <dgm:pt modelId="{0FB0307E-81D6-2845-9F5D-2947AE4AFE6D}" type="parTrans" cxnId="{65E7F3A1-8F71-3444-9523-59A56611C5C3}">
      <dgm:prSet/>
      <dgm:spPr/>
      <dgm:t>
        <a:bodyPr/>
        <a:lstStyle/>
        <a:p>
          <a:endParaRPr lang="en-GB" sz="2000">
            <a:latin typeface="Gill Sans MT" panose="020B0502020104020203" pitchFamily="34" charset="0"/>
          </a:endParaRPr>
        </a:p>
      </dgm:t>
    </dgm:pt>
    <dgm:pt modelId="{07DDB905-0043-4540-8086-0BE5487B5EE6}" type="sibTrans" cxnId="{65E7F3A1-8F71-3444-9523-59A56611C5C3}">
      <dgm:prSet/>
      <dgm:spPr/>
      <dgm:t>
        <a:bodyPr/>
        <a:lstStyle/>
        <a:p>
          <a:endParaRPr lang="en-GB" sz="2000">
            <a:latin typeface="Gill Sans MT" panose="020B0502020104020203" pitchFamily="34" charset="0"/>
          </a:endParaRPr>
        </a:p>
      </dgm:t>
    </dgm:pt>
    <dgm:pt modelId="{E5317332-0B19-3B46-B4C6-3DD9075F1D79}">
      <dgm:prSet custT="1"/>
      <dgm:spPr/>
      <dgm:t>
        <a:bodyPr/>
        <a:lstStyle/>
        <a:p>
          <a:r>
            <a:rPr lang="en-GB" sz="2000" dirty="0">
              <a:latin typeface="Calibri" panose="020F0502020204030204" pitchFamily="34" charset="0"/>
            </a:rPr>
            <a:t>Corrective Action</a:t>
          </a:r>
          <a:endParaRPr lang="en-IN" sz="2000" dirty="0">
            <a:latin typeface="Calibri" panose="020F0502020204030204" pitchFamily="34" charset="0"/>
          </a:endParaRPr>
        </a:p>
      </dgm:t>
    </dgm:pt>
    <dgm:pt modelId="{96DA8E55-F680-0D43-A528-B33C6C545DE2}" type="parTrans" cxnId="{A83E7251-0A9E-2942-83D9-71EE6591260B}">
      <dgm:prSet/>
      <dgm:spPr/>
      <dgm:t>
        <a:bodyPr/>
        <a:lstStyle/>
        <a:p>
          <a:endParaRPr lang="en-GB" sz="2000">
            <a:latin typeface="Gill Sans MT" panose="020B0502020104020203" pitchFamily="34" charset="0"/>
          </a:endParaRPr>
        </a:p>
      </dgm:t>
    </dgm:pt>
    <dgm:pt modelId="{05B61E0A-625C-0E4C-9EED-F1C3B80A33B6}" type="sibTrans" cxnId="{A83E7251-0A9E-2942-83D9-71EE6591260B}">
      <dgm:prSet/>
      <dgm:spPr/>
      <dgm:t>
        <a:bodyPr/>
        <a:lstStyle/>
        <a:p>
          <a:endParaRPr lang="en-GB" sz="2000">
            <a:latin typeface="Gill Sans MT" panose="020B0502020104020203" pitchFamily="34" charset="0"/>
          </a:endParaRPr>
        </a:p>
      </dgm:t>
    </dgm:pt>
    <dgm:pt modelId="{B9E557B6-78AB-0C4B-AE7A-778AE3EAAC39}">
      <dgm:prSet custT="1"/>
      <dgm:spPr/>
      <dgm:t>
        <a:bodyPr/>
        <a:lstStyle/>
        <a:p>
          <a:r>
            <a:rPr lang="en-IN" sz="2000" dirty="0">
              <a:latin typeface="Calibri" panose="020F0502020204030204" pitchFamily="34" charset="0"/>
            </a:rPr>
            <a:t>Next Audit Cycle</a:t>
          </a:r>
        </a:p>
      </dgm:t>
    </dgm:pt>
    <dgm:pt modelId="{798F2B62-D31F-134B-9FA7-B3F6A1E89DA0}" type="parTrans" cxnId="{D9682270-2F50-624B-91EA-A4F30ED835D8}">
      <dgm:prSet/>
      <dgm:spPr/>
      <dgm:t>
        <a:bodyPr/>
        <a:lstStyle/>
        <a:p>
          <a:endParaRPr lang="en-GB" sz="2000">
            <a:latin typeface="Gill Sans MT" panose="020B0502020104020203" pitchFamily="34" charset="0"/>
          </a:endParaRPr>
        </a:p>
      </dgm:t>
    </dgm:pt>
    <dgm:pt modelId="{33E5CCD0-57AC-884C-9A73-41CA80DA8CF7}" type="sibTrans" cxnId="{D9682270-2F50-624B-91EA-A4F30ED835D8}">
      <dgm:prSet/>
      <dgm:spPr/>
      <dgm:t>
        <a:bodyPr/>
        <a:lstStyle/>
        <a:p>
          <a:endParaRPr lang="en-GB" sz="2000">
            <a:latin typeface="Gill Sans MT" panose="020B0502020104020203" pitchFamily="34" charset="0"/>
          </a:endParaRPr>
        </a:p>
      </dgm:t>
    </dgm:pt>
    <dgm:pt modelId="{0E291EA6-E886-3648-85B2-AC493B29B7AF}" type="pres">
      <dgm:prSet presAssocID="{EECAAA93-98CE-A142-A518-C2D7AA437DCD}" presName="cycle" presStyleCnt="0">
        <dgm:presLayoutVars>
          <dgm:dir/>
          <dgm:resizeHandles val="exact"/>
        </dgm:presLayoutVars>
      </dgm:prSet>
      <dgm:spPr/>
    </dgm:pt>
    <dgm:pt modelId="{F57DB43C-2B2F-D74B-BD6A-0F300C138B73}" type="pres">
      <dgm:prSet presAssocID="{BC12BFAC-81BA-5244-BBAC-54681591F4BC}" presName="dummy" presStyleCnt="0"/>
      <dgm:spPr/>
    </dgm:pt>
    <dgm:pt modelId="{81621133-EB7C-F64E-8EB0-2EB2502C916F}" type="pres">
      <dgm:prSet presAssocID="{BC12BFAC-81BA-5244-BBAC-54681591F4BC}" presName="node" presStyleLbl="revTx" presStyleIdx="0" presStyleCnt="5">
        <dgm:presLayoutVars>
          <dgm:bulletEnabled val="1"/>
        </dgm:presLayoutVars>
      </dgm:prSet>
      <dgm:spPr/>
    </dgm:pt>
    <dgm:pt modelId="{052B67A0-83FD-7145-8A0E-C10D95A09875}" type="pres">
      <dgm:prSet presAssocID="{63FD329D-63C7-214A-9C6F-FB05316C878B}" presName="sibTrans" presStyleLbl="node1" presStyleIdx="0" presStyleCnt="5"/>
      <dgm:spPr/>
    </dgm:pt>
    <dgm:pt modelId="{F185A87B-DFD8-AD42-87F5-AC894CF0B6AF}" type="pres">
      <dgm:prSet presAssocID="{E7DE8619-3BDB-1A42-9EDE-80CEF436E82F}" presName="dummy" presStyleCnt="0"/>
      <dgm:spPr/>
    </dgm:pt>
    <dgm:pt modelId="{8524F6C0-91D4-0A4C-9885-D0C86C5506C8}" type="pres">
      <dgm:prSet presAssocID="{E7DE8619-3BDB-1A42-9EDE-80CEF436E82F}" presName="node" presStyleLbl="revTx" presStyleIdx="1" presStyleCnt="5">
        <dgm:presLayoutVars>
          <dgm:bulletEnabled val="1"/>
        </dgm:presLayoutVars>
      </dgm:prSet>
      <dgm:spPr/>
    </dgm:pt>
    <dgm:pt modelId="{4D4F6B2E-9DBF-D544-B5B5-435DF57E9DBA}" type="pres">
      <dgm:prSet presAssocID="{944CE5E8-9C61-1648-B970-F7D75BB60362}" presName="sibTrans" presStyleLbl="node1" presStyleIdx="1" presStyleCnt="5"/>
      <dgm:spPr/>
    </dgm:pt>
    <dgm:pt modelId="{170C4DE4-5C8F-5B4E-BA9F-E22E33556772}" type="pres">
      <dgm:prSet presAssocID="{188466BA-84DF-6F4F-B80D-567216BF9C50}" presName="dummy" presStyleCnt="0"/>
      <dgm:spPr/>
    </dgm:pt>
    <dgm:pt modelId="{98AF4968-13A0-6A41-B2EC-3E99ABF02EBA}" type="pres">
      <dgm:prSet presAssocID="{188466BA-84DF-6F4F-B80D-567216BF9C50}" presName="node" presStyleLbl="revTx" presStyleIdx="2" presStyleCnt="5">
        <dgm:presLayoutVars>
          <dgm:bulletEnabled val="1"/>
        </dgm:presLayoutVars>
      </dgm:prSet>
      <dgm:spPr/>
    </dgm:pt>
    <dgm:pt modelId="{4B9BAE64-8739-364E-9202-68C1A5DEC598}" type="pres">
      <dgm:prSet presAssocID="{07DDB905-0043-4540-8086-0BE5487B5EE6}" presName="sibTrans" presStyleLbl="node1" presStyleIdx="2" presStyleCnt="5"/>
      <dgm:spPr/>
    </dgm:pt>
    <dgm:pt modelId="{12F6620C-4D3A-EA41-86B4-CC5FCE7112F3}" type="pres">
      <dgm:prSet presAssocID="{E5317332-0B19-3B46-B4C6-3DD9075F1D79}" presName="dummy" presStyleCnt="0"/>
      <dgm:spPr/>
    </dgm:pt>
    <dgm:pt modelId="{1C0D46F5-E600-CA4D-B29C-43439E26F7BD}" type="pres">
      <dgm:prSet presAssocID="{E5317332-0B19-3B46-B4C6-3DD9075F1D79}" presName="node" presStyleLbl="revTx" presStyleIdx="3" presStyleCnt="5">
        <dgm:presLayoutVars>
          <dgm:bulletEnabled val="1"/>
        </dgm:presLayoutVars>
      </dgm:prSet>
      <dgm:spPr/>
    </dgm:pt>
    <dgm:pt modelId="{E36E7F4F-9D63-F042-80BC-9E06A91A3CB4}" type="pres">
      <dgm:prSet presAssocID="{05B61E0A-625C-0E4C-9EED-F1C3B80A33B6}" presName="sibTrans" presStyleLbl="node1" presStyleIdx="3" presStyleCnt="5"/>
      <dgm:spPr/>
    </dgm:pt>
    <dgm:pt modelId="{A4583768-52FB-1E4C-9B3F-FBAD369BA964}" type="pres">
      <dgm:prSet presAssocID="{B9E557B6-78AB-0C4B-AE7A-778AE3EAAC39}" presName="dummy" presStyleCnt="0"/>
      <dgm:spPr/>
    </dgm:pt>
    <dgm:pt modelId="{50C0FE79-BB37-D944-8350-AACA16A001A6}" type="pres">
      <dgm:prSet presAssocID="{B9E557B6-78AB-0C4B-AE7A-778AE3EAAC39}" presName="node" presStyleLbl="revTx" presStyleIdx="4" presStyleCnt="5">
        <dgm:presLayoutVars>
          <dgm:bulletEnabled val="1"/>
        </dgm:presLayoutVars>
      </dgm:prSet>
      <dgm:spPr/>
    </dgm:pt>
    <dgm:pt modelId="{ED31CEF3-38B1-CF4E-A4C7-B8DE6CE02435}" type="pres">
      <dgm:prSet presAssocID="{33E5CCD0-57AC-884C-9A73-41CA80DA8CF7}" presName="sibTrans" presStyleLbl="node1" presStyleIdx="4" presStyleCnt="5"/>
      <dgm:spPr/>
    </dgm:pt>
  </dgm:ptLst>
  <dgm:cxnLst>
    <dgm:cxn modelId="{A3853711-EC96-5549-8186-1A7F25EBA476}" type="presOf" srcId="{BC12BFAC-81BA-5244-BBAC-54681591F4BC}" destId="{81621133-EB7C-F64E-8EB0-2EB2502C916F}" srcOrd="0" destOrd="0" presId="urn:microsoft.com/office/officeart/2005/8/layout/cycle1"/>
    <dgm:cxn modelId="{E786772F-5685-C740-9226-67775D75A582}" type="presOf" srcId="{63FD329D-63C7-214A-9C6F-FB05316C878B}" destId="{052B67A0-83FD-7145-8A0E-C10D95A09875}" srcOrd="0" destOrd="0" presId="urn:microsoft.com/office/officeart/2005/8/layout/cycle1"/>
    <dgm:cxn modelId="{0C21C535-646E-BF49-B82E-D7346185147C}" type="presOf" srcId="{07DDB905-0043-4540-8086-0BE5487B5EE6}" destId="{4B9BAE64-8739-364E-9202-68C1A5DEC598}" srcOrd="0" destOrd="0" presId="urn:microsoft.com/office/officeart/2005/8/layout/cycle1"/>
    <dgm:cxn modelId="{30465F3C-7603-AB44-B0DB-7631F571942C}" type="presOf" srcId="{B9E557B6-78AB-0C4B-AE7A-778AE3EAAC39}" destId="{50C0FE79-BB37-D944-8350-AACA16A001A6}" srcOrd="0" destOrd="0" presId="urn:microsoft.com/office/officeart/2005/8/layout/cycle1"/>
    <dgm:cxn modelId="{920EFA43-50F7-7B4A-AA9F-524C2B05BFD2}" srcId="{EECAAA93-98CE-A142-A518-C2D7AA437DCD}" destId="{BC12BFAC-81BA-5244-BBAC-54681591F4BC}" srcOrd="0" destOrd="0" parTransId="{97DC1E7C-6994-1342-A4D3-4E83113C00C0}" sibTransId="{63FD329D-63C7-214A-9C6F-FB05316C878B}"/>
    <dgm:cxn modelId="{E375B965-A9FC-274B-9FEC-556D6BAB3A07}" type="presOf" srcId="{E7DE8619-3BDB-1A42-9EDE-80CEF436E82F}" destId="{8524F6C0-91D4-0A4C-9885-D0C86C5506C8}" srcOrd="0" destOrd="0" presId="urn:microsoft.com/office/officeart/2005/8/layout/cycle1"/>
    <dgm:cxn modelId="{D9682270-2F50-624B-91EA-A4F30ED835D8}" srcId="{EECAAA93-98CE-A142-A518-C2D7AA437DCD}" destId="{B9E557B6-78AB-0C4B-AE7A-778AE3EAAC39}" srcOrd="4" destOrd="0" parTransId="{798F2B62-D31F-134B-9FA7-B3F6A1E89DA0}" sibTransId="{33E5CCD0-57AC-884C-9A73-41CA80DA8CF7}"/>
    <dgm:cxn modelId="{A83E7251-0A9E-2942-83D9-71EE6591260B}" srcId="{EECAAA93-98CE-A142-A518-C2D7AA437DCD}" destId="{E5317332-0B19-3B46-B4C6-3DD9075F1D79}" srcOrd="3" destOrd="0" parTransId="{96DA8E55-F680-0D43-A528-B33C6C545DE2}" sibTransId="{05B61E0A-625C-0E4C-9EED-F1C3B80A33B6}"/>
    <dgm:cxn modelId="{08097759-3EC6-A842-A0DD-2E955E097134}" type="presOf" srcId="{05B61E0A-625C-0E4C-9EED-F1C3B80A33B6}" destId="{E36E7F4F-9D63-F042-80BC-9E06A91A3CB4}" srcOrd="0" destOrd="0" presId="urn:microsoft.com/office/officeart/2005/8/layout/cycle1"/>
    <dgm:cxn modelId="{479ED17B-0061-E148-A932-015BF7C52531}" type="presOf" srcId="{EECAAA93-98CE-A142-A518-C2D7AA437DCD}" destId="{0E291EA6-E886-3648-85B2-AC493B29B7AF}" srcOrd="0" destOrd="0" presId="urn:microsoft.com/office/officeart/2005/8/layout/cycle1"/>
    <dgm:cxn modelId="{4563C08E-ACE6-BD48-9D41-9ED6C8FAA060}" type="presOf" srcId="{188466BA-84DF-6F4F-B80D-567216BF9C50}" destId="{98AF4968-13A0-6A41-B2EC-3E99ABF02EBA}" srcOrd="0" destOrd="0" presId="urn:microsoft.com/office/officeart/2005/8/layout/cycle1"/>
    <dgm:cxn modelId="{65E7F3A1-8F71-3444-9523-59A56611C5C3}" srcId="{EECAAA93-98CE-A142-A518-C2D7AA437DCD}" destId="{188466BA-84DF-6F4F-B80D-567216BF9C50}" srcOrd="2" destOrd="0" parTransId="{0FB0307E-81D6-2845-9F5D-2947AE4AFE6D}" sibTransId="{07DDB905-0043-4540-8086-0BE5487B5EE6}"/>
    <dgm:cxn modelId="{979BD2BF-1041-F444-9320-D60864955952}" type="presOf" srcId="{33E5CCD0-57AC-884C-9A73-41CA80DA8CF7}" destId="{ED31CEF3-38B1-CF4E-A4C7-B8DE6CE02435}" srcOrd="0" destOrd="0" presId="urn:microsoft.com/office/officeart/2005/8/layout/cycle1"/>
    <dgm:cxn modelId="{D0F9CEDF-34C6-8D42-B63F-4D56E4A3E06B}" type="presOf" srcId="{944CE5E8-9C61-1648-B970-F7D75BB60362}" destId="{4D4F6B2E-9DBF-D544-B5B5-435DF57E9DBA}" srcOrd="0" destOrd="0" presId="urn:microsoft.com/office/officeart/2005/8/layout/cycle1"/>
    <dgm:cxn modelId="{3EE873ED-7C88-C344-9A20-22015004B00F}" type="presOf" srcId="{E5317332-0B19-3B46-B4C6-3DD9075F1D79}" destId="{1C0D46F5-E600-CA4D-B29C-43439E26F7BD}" srcOrd="0" destOrd="0" presId="urn:microsoft.com/office/officeart/2005/8/layout/cycle1"/>
    <dgm:cxn modelId="{D6B486F0-2B68-8547-8327-1A9301ECEBF6}" srcId="{EECAAA93-98CE-A142-A518-C2D7AA437DCD}" destId="{E7DE8619-3BDB-1A42-9EDE-80CEF436E82F}" srcOrd="1" destOrd="0" parTransId="{419F58B9-46C9-1C46-BCE1-5BAAF7A66D9F}" sibTransId="{944CE5E8-9C61-1648-B970-F7D75BB60362}"/>
    <dgm:cxn modelId="{289AD034-B31D-6A43-94DA-E5C96FF94889}" type="presParOf" srcId="{0E291EA6-E886-3648-85B2-AC493B29B7AF}" destId="{F57DB43C-2B2F-D74B-BD6A-0F300C138B73}" srcOrd="0" destOrd="0" presId="urn:microsoft.com/office/officeart/2005/8/layout/cycle1"/>
    <dgm:cxn modelId="{C9B2A6EB-ADEC-B848-944C-0AA28E3EB9EE}" type="presParOf" srcId="{0E291EA6-E886-3648-85B2-AC493B29B7AF}" destId="{81621133-EB7C-F64E-8EB0-2EB2502C916F}" srcOrd="1" destOrd="0" presId="urn:microsoft.com/office/officeart/2005/8/layout/cycle1"/>
    <dgm:cxn modelId="{FF677E99-550E-4F47-8046-5C955AEAAD33}" type="presParOf" srcId="{0E291EA6-E886-3648-85B2-AC493B29B7AF}" destId="{052B67A0-83FD-7145-8A0E-C10D95A09875}" srcOrd="2" destOrd="0" presId="urn:microsoft.com/office/officeart/2005/8/layout/cycle1"/>
    <dgm:cxn modelId="{C6A3E77F-646C-3C43-9ECD-F38F657CB861}" type="presParOf" srcId="{0E291EA6-E886-3648-85B2-AC493B29B7AF}" destId="{F185A87B-DFD8-AD42-87F5-AC894CF0B6AF}" srcOrd="3" destOrd="0" presId="urn:microsoft.com/office/officeart/2005/8/layout/cycle1"/>
    <dgm:cxn modelId="{0885C3A5-9492-8546-8A6A-83CC2DD776BF}" type="presParOf" srcId="{0E291EA6-E886-3648-85B2-AC493B29B7AF}" destId="{8524F6C0-91D4-0A4C-9885-D0C86C5506C8}" srcOrd="4" destOrd="0" presId="urn:microsoft.com/office/officeart/2005/8/layout/cycle1"/>
    <dgm:cxn modelId="{114F94C5-0AE8-3545-9B14-0D1D42726900}" type="presParOf" srcId="{0E291EA6-E886-3648-85B2-AC493B29B7AF}" destId="{4D4F6B2E-9DBF-D544-B5B5-435DF57E9DBA}" srcOrd="5" destOrd="0" presId="urn:microsoft.com/office/officeart/2005/8/layout/cycle1"/>
    <dgm:cxn modelId="{E9AC3505-BE0F-E84F-84D6-C1F1571AF7CB}" type="presParOf" srcId="{0E291EA6-E886-3648-85B2-AC493B29B7AF}" destId="{170C4DE4-5C8F-5B4E-BA9F-E22E33556772}" srcOrd="6" destOrd="0" presId="urn:microsoft.com/office/officeart/2005/8/layout/cycle1"/>
    <dgm:cxn modelId="{076493D8-65CB-974C-9120-DA90A8A5117E}" type="presParOf" srcId="{0E291EA6-E886-3648-85B2-AC493B29B7AF}" destId="{98AF4968-13A0-6A41-B2EC-3E99ABF02EBA}" srcOrd="7" destOrd="0" presId="urn:microsoft.com/office/officeart/2005/8/layout/cycle1"/>
    <dgm:cxn modelId="{4675C66D-3247-A24E-ACA0-E68BB1F10874}" type="presParOf" srcId="{0E291EA6-E886-3648-85B2-AC493B29B7AF}" destId="{4B9BAE64-8739-364E-9202-68C1A5DEC598}" srcOrd="8" destOrd="0" presId="urn:microsoft.com/office/officeart/2005/8/layout/cycle1"/>
    <dgm:cxn modelId="{A6198C03-CE0E-844D-9DDE-C7813E8259EA}" type="presParOf" srcId="{0E291EA6-E886-3648-85B2-AC493B29B7AF}" destId="{12F6620C-4D3A-EA41-86B4-CC5FCE7112F3}" srcOrd="9" destOrd="0" presId="urn:microsoft.com/office/officeart/2005/8/layout/cycle1"/>
    <dgm:cxn modelId="{0A2DB2CE-299A-4545-95E4-B9C2406A74AB}" type="presParOf" srcId="{0E291EA6-E886-3648-85B2-AC493B29B7AF}" destId="{1C0D46F5-E600-CA4D-B29C-43439E26F7BD}" srcOrd="10" destOrd="0" presId="urn:microsoft.com/office/officeart/2005/8/layout/cycle1"/>
    <dgm:cxn modelId="{72B084BA-5A4C-2F47-A025-6EF294CFAA75}" type="presParOf" srcId="{0E291EA6-E886-3648-85B2-AC493B29B7AF}" destId="{E36E7F4F-9D63-F042-80BC-9E06A91A3CB4}" srcOrd="11" destOrd="0" presId="urn:microsoft.com/office/officeart/2005/8/layout/cycle1"/>
    <dgm:cxn modelId="{4458EFD9-B0EE-E149-A3B0-C165E9E43661}" type="presParOf" srcId="{0E291EA6-E886-3648-85B2-AC493B29B7AF}" destId="{A4583768-52FB-1E4C-9B3F-FBAD369BA964}" srcOrd="12" destOrd="0" presId="urn:microsoft.com/office/officeart/2005/8/layout/cycle1"/>
    <dgm:cxn modelId="{7B692AD6-113A-9F48-926F-D2A2ACFF6C4D}" type="presParOf" srcId="{0E291EA6-E886-3648-85B2-AC493B29B7AF}" destId="{50C0FE79-BB37-D944-8350-AACA16A001A6}" srcOrd="13" destOrd="0" presId="urn:microsoft.com/office/officeart/2005/8/layout/cycle1"/>
    <dgm:cxn modelId="{97F9C831-72D3-7E40-A001-D77DDE3DB46D}" type="presParOf" srcId="{0E291EA6-E886-3648-85B2-AC493B29B7AF}" destId="{ED31CEF3-38B1-CF4E-A4C7-B8DE6CE02435}" srcOrd="14"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A5FBABC1-5D7D-8340-A63D-752D99AC704B}" type="doc">
      <dgm:prSet loTypeId="urn:microsoft.com/office/officeart/2005/8/layout/hProcess9" loCatId="process" qsTypeId="urn:microsoft.com/office/officeart/2005/8/quickstyle/simple1" qsCatId="simple" csTypeId="urn:microsoft.com/office/officeart/2005/8/colors/accent2_1" csCatId="accent2" phldr="1"/>
      <dgm:spPr/>
      <dgm:t>
        <a:bodyPr/>
        <a:lstStyle/>
        <a:p>
          <a:endParaRPr lang="en-GB"/>
        </a:p>
      </dgm:t>
    </dgm:pt>
    <dgm:pt modelId="{99E68059-075C-FC47-8CF3-5E27B7987880}">
      <dgm:prSet custT="1"/>
      <dgm:spPr/>
      <dgm:t>
        <a:bodyPr/>
        <a:lstStyle/>
        <a:p>
          <a:r>
            <a:rPr lang="en-GB" sz="2000" dirty="0">
              <a:latin typeface="Calibri" panose="020F0502020204030204" pitchFamily="34" charset="0"/>
            </a:rPr>
            <a:t>Records</a:t>
          </a:r>
          <a:endParaRPr lang="en-IN" sz="2000" dirty="0">
            <a:latin typeface="Calibri" panose="020F0502020204030204" pitchFamily="34" charset="0"/>
          </a:endParaRPr>
        </a:p>
      </dgm:t>
    </dgm:pt>
    <dgm:pt modelId="{333241DB-29DF-D345-A166-710FA3E5F109}" type="parTrans" cxnId="{0DDB5214-C298-9D47-89C5-B7289ADD5EFB}">
      <dgm:prSet/>
      <dgm:spPr/>
      <dgm:t>
        <a:bodyPr/>
        <a:lstStyle/>
        <a:p>
          <a:endParaRPr lang="en-GB" sz="2000">
            <a:latin typeface="Gill Sans MT" panose="020B0502020104020203" pitchFamily="34" charset="0"/>
          </a:endParaRPr>
        </a:p>
      </dgm:t>
    </dgm:pt>
    <dgm:pt modelId="{6FFE84DA-B1F6-E04E-920E-25DD89F62AA2}" type="sibTrans" cxnId="{0DDB5214-C298-9D47-89C5-B7289ADD5EFB}">
      <dgm:prSet/>
      <dgm:spPr/>
      <dgm:t>
        <a:bodyPr/>
        <a:lstStyle/>
        <a:p>
          <a:endParaRPr lang="en-GB" sz="2000">
            <a:latin typeface="Gill Sans MT" panose="020B0502020104020203" pitchFamily="34" charset="0"/>
          </a:endParaRPr>
        </a:p>
      </dgm:t>
    </dgm:pt>
    <dgm:pt modelId="{6D5D9D93-2E3E-BE49-AA97-14083770F38F}">
      <dgm:prSet custT="1"/>
      <dgm:spPr/>
      <dgm:t>
        <a:bodyPr/>
        <a:lstStyle/>
        <a:p>
          <a:r>
            <a:rPr lang="en-GB" sz="2000" dirty="0">
              <a:latin typeface="Calibri" panose="020F0502020204030204" pitchFamily="34" charset="0"/>
            </a:rPr>
            <a:t>Physical verification </a:t>
          </a:r>
          <a:endParaRPr lang="en-IN" sz="2000" dirty="0">
            <a:latin typeface="Calibri" panose="020F0502020204030204" pitchFamily="34" charset="0"/>
          </a:endParaRPr>
        </a:p>
      </dgm:t>
    </dgm:pt>
    <dgm:pt modelId="{9682177E-4B71-A14F-94CE-112D2E5A5D7E}" type="parTrans" cxnId="{423D9527-02B0-FB40-8572-27EC8E58640D}">
      <dgm:prSet/>
      <dgm:spPr/>
      <dgm:t>
        <a:bodyPr/>
        <a:lstStyle/>
        <a:p>
          <a:endParaRPr lang="en-GB" sz="2000">
            <a:latin typeface="Gill Sans MT" panose="020B0502020104020203" pitchFamily="34" charset="0"/>
          </a:endParaRPr>
        </a:p>
      </dgm:t>
    </dgm:pt>
    <dgm:pt modelId="{4C004C53-9DA2-314B-A3EB-E05D3D52E3BB}" type="sibTrans" cxnId="{423D9527-02B0-FB40-8572-27EC8E58640D}">
      <dgm:prSet/>
      <dgm:spPr/>
      <dgm:t>
        <a:bodyPr/>
        <a:lstStyle/>
        <a:p>
          <a:endParaRPr lang="en-GB" sz="2000">
            <a:latin typeface="Gill Sans MT" panose="020B0502020104020203" pitchFamily="34" charset="0"/>
          </a:endParaRPr>
        </a:p>
      </dgm:t>
    </dgm:pt>
    <dgm:pt modelId="{1EF38759-AD72-9349-B716-B38E0FE64F74}">
      <dgm:prSet custT="1"/>
      <dgm:spPr/>
      <dgm:t>
        <a:bodyPr lIns="45720" rIns="45720"/>
        <a:lstStyle/>
        <a:p>
          <a:r>
            <a:rPr lang="en-GB" sz="2000" dirty="0">
              <a:latin typeface="Calibri" panose="020F0502020204030204" pitchFamily="34" charset="0"/>
            </a:rPr>
            <a:t>Documentation </a:t>
          </a:r>
          <a:endParaRPr lang="en-IN" sz="2000" dirty="0">
            <a:latin typeface="Calibri" panose="020F0502020204030204" pitchFamily="34" charset="0"/>
          </a:endParaRPr>
        </a:p>
      </dgm:t>
    </dgm:pt>
    <dgm:pt modelId="{7C45A8CE-1A44-3A47-B7E5-57D4F7C4D19D}" type="parTrans" cxnId="{8F500039-E1C6-8A48-BEBA-6919576599AE}">
      <dgm:prSet/>
      <dgm:spPr/>
      <dgm:t>
        <a:bodyPr/>
        <a:lstStyle/>
        <a:p>
          <a:endParaRPr lang="en-GB" sz="2000">
            <a:latin typeface="Gill Sans MT" panose="020B0502020104020203" pitchFamily="34" charset="0"/>
          </a:endParaRPr>
        </a:p>
      </dgm:t>
    </dgm:pt>
    <dgm:pt modelId="{D81BAB26-BEF0-7E48-8199-3173950114B5}" type="sibTrans" cxnId="{8F500039-E1C6-8A48-BEBA-6919576599AE}">
      <dgm:prSet/>
      <dgm:spPr/>
      <dgm:t>
        <a:bodyPr/>
        <a:lstStyle/>
        <a:p>
          <a:endParaRPr lang="en-GB" sz="2000">
            <a:latin typeface="Gill Sans MT" panose="020B0502020104020203" pitchFamily="34" charset="0"/>
          </a:endParaRPr>
        </a:p>
      </dgm:t>
    </dgm:pt>
    <dgm:pt modelId="{399CBB81-7055-1D40-B8E6-6FFC211FDC4D}">
      <dgm:prSet custT="1"/>
      <dgm:spPr/>
      <dgm:t>
        <a:bodyPr/>
        <a:lstStyle/>
        <a:p>
          <a:r>
            <a:rPr lang="en-GB" sz="2000" dirty="0">
              <a:latin typeface="Calibri" panose="020F0502020204030204" pitchFamily="34" charset="0"/>
            </a:rPr>
            <a:t>Analysis </a:t>
          </a:r>
          <a:endParaRPr lang="en-IN" sz="2000" dirty="0">
            <a:latin typeface="Calibri" panose="020F0502020204030204" pitchFamily="34" charset="0"/>
          </a:endParaRPr>
        </a:p>
      </dgm:t>
    </dgm:pt>
    <dgm:pt modelId="{207A6F40-C1E0-754B-959B-539DB9EF9863}" type="parTrans" cxnId="{A4816A4C-0579-F94E-A2D0-DBB39B63017A}">
      <dgm:prSet/>
      <dgm:spPr/>
      <dgm:t>
        <a:bodyPr/>
        <a:lstStyle/>
        <a:p>
          <a:endParaRPr lang="en-GB" sz="2000">
            <a:latin typeface="Gill Sans MT" panose="020B0502020104020203" pitchFamily="34" charset="0"/>
          </a:endParaRPr>
        </a:p>
      </dgm:t>
    </dgm:pt>
    <dgm:pt modelId="{E34E07C0-A222-3D4C-9885-0F22FDF06D72}" type="sibTrans" cxnId="{A4816A4C-0579-F94E-A2D0-DBB39B63017A}">
      <dgm:prSet/>
      <dgm:spPr/>
      <dgm:t>
        <a:bodyPr/>
        <a:lstStyle/>
        <a:p>
          <a:endParaRPr lang="en-GB" sz="2000">
            <a:latin typeface="Gill Sans MT" panose="020B0502020104020203" pitchFamily="34" charset="0"/>
          </a:endParaRPr>
        </a:p>
      </dgm:t>
    </dgm:pt>
    <dgm:pt modelId="{6A304592-958F-9944-AE3D-0B4B9853DD7D}">
      <dgm:prSet custT="1"/>
      <dgm:spPr/>
      <dgm:t>
        <a:bodyPr/>
        <a:lstStyle/>
        <a:p>
          <a:r>
            <a:rPr lang="en-GB" sz="2000" dirty="0">
              <a:latin typeface="Calibri" panose="020F0502020204030204" pitchFamily="34" charset="0"/>
            </a:rPr>
            <a:t>Report</a:t>
          </a:r>
          <a:endParaRPr lang="en-IN" sz="2000" dirty="0">
            <a:latin typeface="Calibri" panose="020F0502020204030204" pitchFamily="34" charset="0"/>
          </a:endParaRPr>
        </a:p>
      </dgm:t>
    </dgm:pt>
    <dgm:pt modelId="{EE4B86A5-FFFF-E949-9518-2E07A7124A50}" type="parTrans" cxnId="{3F9D8768-C030-134E-B256-085D3B8717F3}">
      <dgm:prSet/>
      <dgm:spPr/>
      <dgm:t>
        <a:bodyPr/>
        <a:lstStyle/>
        <a:p>
          <a:endParaRPr lang="en-GB" sz="2000">
            <a:latin typeface="Gill Sans MT" panose="020B0502020104020203" pitchFamily="34" charset="0"/>
          </a:endParaRPr>
        </a:p>
      </dgm:t>
    </dgm:pt>
    <dgm:pt modelId="{CB62F3FE-519C-FC46-AEA0-E6D296621430}" type="sibTrans" cxnId="{3F9D8768-C030-134E-B256-085D3B8717F3}">
      <dgm:prSet/>
      <dgm:spPr/>
      <dgm:t>
        <a:bodyPr/>
        <a:lstStyle/>
        <a:p>
          <a:endParaRPr lang="en-GB" sz="2000">
            <a:latin typeface="Gill Sans MT" panose="020B0502020104020203" pitchFamily="34" charset="0"/>
          </a:endParaRPr>
        </a:p>
      </dgm:t>
    </dgm:pt>
    <dgm:pt modelId="{8DB24054-A5F8-394F-9459-97CE62386E16}" type="pres">
      <dgm:prSet presAssocID="{A5FBABC1-5D7D-8340-A63D-752D99AC704B}" presName="CompostProcess" presStyleCnt="0">
        <dgm:presLayoutVars>
          <dgm:dir/>
          <dgm:resizeHandles val="exact"/>
        </dgm:presLayoutVars>
      </dgm:prSet>
      <dgm:spPr/>
    </dgm:pt>
    <dgm:pt modelId="{6BCDA6E2-319A-7449-B843-CF16F122239B}" type="pres">
      <dgm:prSet presAssocID="{A5FBABC1-5D7D-8340-A63D-752D99AC704B}" presName="arrow" presStyleLbl="bgShp" presStyleIdx="0" presStyleCnt="1" custLinFactNeighborY="4029"/>
      <dgm:spPr/>
    </dgm:pt>
    <dgm:pt modelId="{E84E1225-9E5D-6B47-938E-561058ABF138}" type="pres">
      <dgm:prSet presAssocID="{A5FBABC1-5D7D-8340-A63D-752D99AC704B}" presName="linearProcess" presStyleCnt="0"/>
      <dgm:spPr/>
    </dgm:pt>
    <dgm:pt modelId="{A8F0D2E1-3704-1D41-9FE0-45A1FC599550}" type="pres">
      <dgm:prSet presAssocID="{99E68059-075C-FC47-8CF3-5E27B7987880}" presName="textNode" presStyleLbl="node1" presStyleIdx="0" presStyleCnt="5">
        <dgm:presLayoutVars>
          <dgm:bulletEnabled val="1"/>
        </dgm:presLayoutVars>
      </dgm:prSet>
      <dgm:spPr/>
    </dgm:pt>
    <dgm:pt modelId="{22E17998-E476-4441-825A-644966E31B9A}" type="pres">
      <dgm:prSet presAssocID="{6FFE84DA-B1F6-E04E-920E-25DD89F62AA2}" presName="sibTrans" presStyleCnt="0"/>
      <dgm:spPr/>
    </dgm:pt>
    <dgm:pt modelId="{53D5E42E-6AC3-7C4B-9A23-7138331F7B61}" type="pres">
      <dgm:prSet presAssocID="{6D5D9D93-2E3E-BE49-AA97-14083770F38F}" presName="textNode" presStyleLbl="node1" presStyleIdx="1" presStyleCnt="5">
        <dgm:presLayoutVars>
          <dgm:bulletEnabled val="1"/>
        </dgm:presLayoutVars>
      </dgm:prSet>
      <dgm:spPr/>
    </dgm:pt>
    <dgm:pt modelId="{80B82093-2731-8444-B62C-F7859352EAE6}" type="pres">
      <dgm:prSet presAssocID="{4C004C53-9DA2-314B-A3EB-E05D3D52E3BB}" presName="sibTrans" presStyleCnt="0"/>
      <dgm:spPr/>
    </dgm:pt>
    <dgm:pt modelId="{C12E53DF-0C6F-6547-84FB-7BCA83FC297B}" type="pres">
      <dgm:prSet presAssocID="{1EF38759-AD72-9349-B716-B38E0FE64F74}" presName="textNode" presStyleLbl="node1" presStyleIdx="2" presStyleCnt="5">
        <dgm:presLayoutVars>
          <dgm:bulletEnabled val="1"/>
        </dgm:presLayoutVars>
      </dgm:prSet>
      <dgm:spPr/>
    </dgm:pt>
    <dgm:pt modelId="{DEDE145E-51D9-514E-9B07-8A8B1BC952F1}" type="pres">
      <dgm:prSet presAssocID="{D81BAB26-BEF0-7E48-8199-3173950114B5}" presName="sibTrans" presStyleCnt="0"/>
      <dgm:spPr/>
    </dgm:pt>
    <dgm:pt modelId="{BDA0EC41-D7E9-FC45-9652-2A4CA3256E2A}" type="pres">
      <dgm:prSet presAssocID="{399CBB81-7055-1D40-B8E6-6FFC211FDC4D}" presName="textNode" presStyleLbl="node1" presStyleIdx="3" presStyleCnt="5">
        <dgm:presLayoutVars>
          <dgm:bulletEnabled val="1"/>
        </dgm:presLayoutVars>
      </dgm:prSet>
      <dgm:spPr/>
    </dgm:pt>
    <dgm:pt modelId="{B56753F5-7124-7D45-B9EB-645F7ADC293B}" type="pres">
      <dgm:prSet presAssocID="{E34E07C0-A222-3D4C-9885-0F22FDF06D72}" presName="sibTrans" presStyleCnt="0"/>
      <dgm:spPr/>
    </dgm:pt>
    <dgm:pt modelId="{EB7CBDA6-F89E-DE46-AE82-41EAE056E984}" type="pres">
      <dgm:prSet presAssocID="{6A304592-958F-9944-AE3D-0B4B9853DD7D}" presName="textNode" presStyleLbl="node1" presStyleIdx="4" presStyleCnt="5">
        <dgm:presLayoutVars>
          <dgm:bulletEnabled val="1"/>
        </dgm:presLayoutVars>
      </dgm:prSet>
      <dgm:spPr/>
    </dgm:pt>
  </dgm:ptLst>
  <dgm:cxnLst>
    <dgm:cxn modelId="{631E9700-DD4B-8B47-AAB0-3DB6FD31C9E9}" type="presOf" srcId="{399CBB81-7055-1D40-B8E6-6FFC211FDC4D}" destId="{BDA0EC41-D7E9-FC45-9652-2A4CA3256E2A}" srcOrd="0" destOrd="0" presId="urn:microsoft.com/office/officeart/2005/8/layout/hProcess9"/>
    <dgm:cxn modelId="{22B74303-E28D-D347-9468-56E784BB8EB6}" type="presOf" srcId="{A5FBABC1-5D7D-8340-A63D-752D99AC704B}" destId="{8DB24054-A5F8-394F-9459-97CE62386E16}" srcOrd="0" destOrd="0" presId="urn:microsoft.com/office/officeart/2005/8/layout/hProcess9"/>
    <dgm:cxn modelId="{0DDB5214-C298-9D47-89C5-B7289ADD5EFB}" srcId="{A5FBABC1-5D7D-8340-A63D-752D99AC704B}" destId="{99E68059-075C-FC47-8CF3-5E27B7987880}" srcOrd="0" destOrd="0" parTransId="{333241DB-29DF-D345-A166-710FA3E5F109}" sibTransId="{6FFE84DA-B1F6-E04E-920E-25DD89F62AA2}"/>
    <dgm:cxn modelId="{423D9527-02B0-FB40-8572-27EC8E58640D}" srcId="{A5FBABC1-5D7D-8340-A63D-752D99AC704B}" destId="{6D5D9D93-2E3E-BE49-AA97-14083770F38F}" srcOrd="1" destOrd="0" parTransId="{9682177E-4B71-A14F-94CE-112D2E5A5D7E}" sibTransId="{4C004C53-9DA2-314B-A3EB-E05D3D52E3BB}"/>
    <dgm:cxn modelId="{8F500039-E1C6-8A48-BEBA-6919576599AE}" srcId="{A5FBABC1-5D7D-8340-A63D-752D99AC704B}" destId="{1EF38759-AD72-9349-B716-B38E0FE64F74}" srcOrd="2" destOrd="0" parTransId="{7C45A8CE-1A44-3A47-B7E5-57D4F7C4D19D}" sibTransId="{D81BAB26-BEF0-7E48-8199-3173950114B5}"/>
    <dgm:cxn modelId="{46791B3B-185C-B84E-9C66-A9D411E19097}" type="presOf" srcId="{6A304592-958F-9944-AE3D-0B4B9853DD7D}" destId="{EB7CBDA6-F89E-DE46-AE82-41EAE056E984}" srcOrd="0" destOrd="0" presId="urn:microsoft.com/office/officeart/2005/8/layout/hProcess9"/>
    <dgm:cxn modelId="{3F9D8768-C030-134E-B256-085D3B8717F3}" srcId="{A5FBABC1-5D7D-8340-A63D-752D99AC704B}" destId="{6A304592-958F-9944-AE3D-0B4B9853DD7D}" srcOrd="4" destOrd="0" parTransId="{EE4B86A5-FFFF-E949-9518-2E07A7124A50}" sibTransId="{CB62F3FE-519C-FC46-AEA0-E6D296621430}"/>
    <dgm:cxn modelId="{A4816A4C-0579-F94E-A2D0-DBB39B63017A}" srcId="{A5FBABC1-5D7D-8340-A63D-752D99AC704B}" destId="{399CBB81-7055-1D40-B8E6-6FFC211FDC4D}" srcOrd="3" destOrd="0" parTransId="{207A6F40-C1E0-754B-959B-539DB9EF9863}" sibTransId="{E34E07C0-A222-3D4C-9885-0F22FDF06D72}"/>
    <dgm:cxn modelId="{CF1EB478-FCC4-FB4F-865B-B2714BFD1066}" type="presOf" srcId="{1EF38759-AD72-9349-B716-B38E0FE64F74}" destId="{C12E53DF-0C6F-6547-84FB-7BCA83FC297B}" srcOrd="0" destOrd="0" presId="urn:microsoft.com/office/officeart/2005/8/layout/hProcess9"/>
    <dgm:cxn modelId="{03428782-BCEA-4B41-8BFF-0D23832C4BA8}" type="presOf" srcId="{6D5D9D93-2E3E-BE49-AA97-14083770F38F}" destId="{53D5E42E-6AC3-7C4B-9A23-7138331F7B61}" srcOrd="0" destOrd="0" presId="urn:microsoft.com/office/officeart/2005/8/layout/hProcess9"/>
    <dgm:cxn modelId="{C83E2CE9-6AE8-B047-A6CF-3B0852CC32A8}" type="presOf" srcId="{99E68059-075C-FC47-8CF3-5E27B7987880}" destId="{A8F0D2E1-3704-1D41-9FE0-45A1FC599550}" srcOrd="0" destOrd="0" presId="urn:microsoft.com/office/officeart/2005/8/layout/hProcess9"/>
    <dgm:cxn modelId="{30EED95B-4F38-0948-A709-682B8E565230}" type="presParOf" srcId="{8DB24054-A5F8-394F-9459-97CE62386E16}" destId="{6BCDA6E2-319A-7449-B843-CF16F122239B}" srcOrd="0" destOrd="0" presId="urn:microsoft.com/office/officeart/2005/8/layout/hProcess9"/>
    <dgm:cxn modelId="{CE065B46-1E7A-A744-96DE-944C90C232B3}" type="presParOf" srcId="{8DB24054-A5F8-394F-9459-97CE62386E16}" destId="{E84E1225-9E5D-6B47-938E-561058ABF138}" srcOrd="1" destOrd="0" presId="urn:microsoft.com/office/officeart/2005/8/layout/hProcess9"/>
    <dgm:cxn modelId="{B4B1B42A-A1AF-3F4A-A3B3-3E31935E1979}" type="presParOf" srcId="{E84E1225-9E5D-6B47-938E-561058ABF138}" destId="{A8F0D2E1-3704-1D41-9FE0-45A1FC599550}" srcOrd="0" destOrd="0" presId="urn:microsoft.com/office/officeart/2005/8/layout/hProcess9"/>
    <dgm:cxn modelId="{86CCD58A-29D6-D841-8EFB-0F0C1CD3F7EE}" type="presParOf" srcId="{E84E1225-9E5D-6B47-938E-561058ABF138}" destId="{22E17998-E476-4441-825A-644966E31B9A}" srcOrd="1" destOrd="0" presId="urn:microsoft.com/office/officeart/2005/8/layout/hProcess9"/>
    <dgm:cxn modelId="{23931605-91D4-6247-B39E-B9E0B15FC003}" type="presParOf" srcId="{E84E1225-9E5D-6B47-938E-561058ABF138}" destId="{53D5E42E-6AC3-7C4B-9A23-7138331F7B61}" srcOrd="2" destOrd="0" presId="urn:microsoft.com/office/officeart/2005/8/layout/hProcess9"/>
    <dgm:cxn modelId="{711853B4-8258-2A46-B246-16550AB925B1}" type="presParOf" srcId="{E84E1225-9E5D-6B47-938E-561058ABF138}" destId="{80B82093-2731-8444-B62C-F7859352EAE6}" srcOrd="3" destOrd="0" presId="urn:microsoft.com/office/officeart/2005/8/layout/hProcess9"/>
    <dgm:cxn modelId="{C1671FE5-CE3C-C945-9666-94BE31BD35EE}" type="presParOf" srcId="{E84E1225-9E5D-6B47-938E-561058ABF138}" destId="{C12E53DF-0C6F-6547-84FB-7BCA83FC297B}" srcOrd="4" destOrd="0" presId="urn:microsoft.com/office/officeart/2005/8/layout/hProcess9"/>
    <dgm:cxn modelId="{252A493D-730B-8F4A-8247-6DA4B229BF52}" type="presParOf" srcId="{E84E1225-9E5D-6B47-938E-561058ABF138}" destId="{DEDE145E-51D9-514E-9B07-8A8B1BC952F1}" srcOrd="5" destOrd="0" presId="urn:microsoft.com/office/officeart/2005/8/layout/hProcess9"/>
    <dgm:cxn modelId="{76B58462-BB22-4247-A5C2-7777E7D48BF6}" type="presParOf" srcId="{E84E1225-9E5D-6B47-938E-561058ABF138}" destId="{BDA0EC41-D7E9-FC45-9652-2A4CA3256E2A}" srcOrd="6" destOrd="0" presId="urn:microsoft.com/office/officeart/2005/8/layout/hProcess9"/>
    <dgm:cxn modelId="{A2061222-7CAE-FE41-92BC-5F706FD12D87}" type="presParOf" srcId="{E84E1225-9E5D-6B47-938E-561058ABF138}" destId="{B56753F5-7124-7D45-B9EB-645F7ADC293B}" srcOrd="7" destOrd="0" presId="urn:microsoft.com/office/officeart/2005/8/layout/hProcess9"/>
    <dgm:cxn modelId="{6270AA67-ED41-2549-BB99-4DC184C2AA1A}" type="presParOf" srcId="{E84E1225-9E5D-6B47-938E-561058ABF138}" destId="{EB7CBDA6-F89E-DE46-AE82-41EAE056E984}"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0333A69-8D60-7A49-B389-A1BDCFB39114}"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en-GB"/>
        </a:p>
      </dgm:t>
    </dgm:pt>
    <dgm:pt modelId="{44D0C712-C8F5-A74C-B39B-E78789BCF0FE}">
      <dgm:prSet phldrT="[Text]" custT="1"/>
      <dgm:spPr/>
      <dgm:t>
        <a:bodyPr/>
        <a:lstStyle/>
        <a:p>
          <a:r>
            <a:rPr lang="en-GB" sz="1600" dirty="0">
              <a:latin typeface="Calibri" panose="020F0502020204030204" pitchFamily="34" charset="0"/>
            </a:rPr>
            <a:t>Estimating facility wise oxygen demand and escalating the demand to the authorities</a:t>
          </a:r>
        </a:p>
      </dgm:t>
    </dgm:pt>
    <dgm:pt modelId="{57C4A05B-5D99-6148-9262-6D0847CF2CDA}" type="parTrans" cxnId="{3F7D08E3-D30A-EB47-B50C-54D2BBB62E72}">
      <dgm:prSet/>
      <dgm:spPr/>
      <dgm:t>
        <a:bodyPr/>
        <a:lstStyle/>
        <a:p>
          <a:endParaRPr lang="en-GB"/>
        </a:p>
      </dgm:t>
    </dgm:pt>
    <dgm:pt modelId="{C6640C62-88B9-1247-8780-D2493B266B3A}" type="sibTrans" cxnId="{3F7D08E3-D30A-EB47-B50C-54D2BBB62E72}">
      <dgm:prSet/>
      <dgm:spPr/>
      <dgm:t>
        <a:bodyPr/>
        <a:lstStyle/>
        <a:p>
          <a:endParaRPr lang="en-GB"/>
        </a:p>
      </dgm:t>
    </dgm:pt>
    <dgm:pt modelId="{555C509D-381B-9940-8D5F-0BB7AC5507CE}">
      <dgm:prSet phldrT="[Text]" custT="1"/>
      <dgm:spPr/>
      <dgm:t>
        <a:bodyPr/>
        <a:lstStyle/>
        <a:p>
          <a:r>
            <a:rPr lang="en-GB" sz="1400" kern="1200" dirty="0">
              <a:solidFill>
                <a:prstClr val="white"/>
              </a:solidFill>
              <a:latin typeface="Calibri" panose="020F0502020204030204" pitchFamily="34" charset="0"/>
              <a:ea typeface="+mn-ea"/>
              <a:cs typeface="+mn-cs"/>
            </a:rPr>
            <a:t>Automated evaluation of total oxygen delivered, generated, and consumed for use by authorities  </a:t>
          </a:r>
        </a:p>
      </dgm:t>
    </dgm:pt>
    <dgm:pt modelId="{5F12AA40-D88C-B34E-BD0C-4C71A0C7D55C}" type="parTrans" cxnId="{22F71B53-D848-4247-8559-4D330F7027D0}">
      <dgm:prSet/>
      <dgm:spPr/>
      <dgm:t>
        <a:bodyPr/>
        <a:lstStyle/>
        <a:p>
          <a:endParaRPr lang="en-GB"/>
        </a:p>
      </dgm:t>
    </dgm:pt>
    <dgm:pt modelId="{1EF62641-517C-DF45-AF85-6315883F8467}" type="sibTrans" cxnId="{22F71B53-D848-4247-8559-4D330F7027D0}">
      <dgm:prSet/>
      <dgm:spPr/>
      <dgm:t>
        <a:bodyPr/>
        <a:lstStyle/>
        <a:p>
          <a:endParaRPr lang="en-GB"/>
        </a:p>
      </dgm:t>
    </dgm:pt>
    <dgm:pt modelId="{82D96C64-1BB0-F344-BE37-BD99F9A4F2BF}">
      <dgm:prSet phldrT="[Text]"/>
      <dgm:spPr/>
      <dgm:t>
        <a:bodyPr/>
        <a:lstStyle/>
        <a:p>
          <a:r>
            <a:rPr lang="en-US" dirty="0">
              <a:latin typeface="Calibri" panose="020F0502020204030204" pitchFamily="34" charset="0"/>
            </a:rPr>
            <a:t>Summarized reports on Oxygen demand, supply and consumption for facility </a:t>
          </a:r>
          <a:r>
            <a:rPr lang="en-US" dirty="0" err="1">
              <a:latin typeface="Calibri" panose="020F0502020204030204" pitchFamily="34" charset="0"/>
            </a:rPr>
            <a:t>nodals</a:t>
          </a:r>
          <a:r>
            <a:rPr lang="en-US" dirty="0">
              <a:latin typeface="Calibri" panose="020F0502020204030204" pitchFamily="34" charset="0"/>
            </a:rPr>
            <a:t>/managers</a:t>
          </a:r>
          <a:endParaRPr lang="en-GB" dirty="0">
            <a:latin typeface="Calibri" panose="020F0502020204030204" pitchFamily="34" charset="0"/>
          </a:endParaRPr>
        </a:p>
      </dgm:t>
    </dgm:pt>
    <dgm:pt modelId="{DA37CAC9-5D16-BE4F-956D-99C58BCB3E6F}" type="parTrans" cxnId="{0B857106-1E29-BE43-A8F8-FC961898630E}">
      <dgm:prSet/>
      <dgm:spPr/>
      <dgm:t>
        <a:bodyPr/>
        <a:lstStyle/>
        <a:p>
          <a:endParaRPr lang="en-GB"/>
        </a:p>
      </dgm:t>
    </dgm:pt>
    <dgm:pt modelId="{94E67514-7FB7-C744-91FB-C2530D122A29}" type="sibTrans" cxnId="{0B857106-1E29-BE43-A8F8-FC961898630E}">
      <dgm:prSet/>
      <dgm:spPr/>
      <dgm:t>
        <a:bodyPr/>
        <a:lstStyle/>
        <a:p>
          <a:endParaRPr lang="en-GB"/>
        </a:p>
      </dgm:t>
    </dgm:pt>
    <dgm:pt modelId="{A540C02C-23CD-0647-B71C-836AA3D309CD}" type="pres">
      <dgm:prSet presAssocID="{60333A69-8D60-7A49-B389-A1BDCFB39114}" presName="Name0" presStyleCnt="0">
        <dgm:presLayoutVars>
          <dgm:chMax val="7"/>
          <dgm:chPref val="7"/>
          <dgm:dir/>
        </dgm:presLayoutVars>
      </dgm:prSet>
      <dgm:spPr/>
    </dgm:pt>
    <dgm:pt modelId="{B4897C01-8F58-144D-8DF5-7D5E89DD0165}" type="pres">
      <dgm:prSet presAssocID="{60333A69-8D60-7A49-B389-A1BDCFB39114}" presName="Name1" presStyleCnt="0"/>
      <dgm:spPr/>
    </dgm:pt>
    <dgm:pt modelId="{B37047FD-7AEC-B345-B851-FF395E0AF7E3}" type="pres">
      <dgm:prSet presAssocID="{60333A69-8D60-7A49-B389-A1BDCFB39114}" presName="cycle" presStyleCnt="0"/>
      <dgm:spPr/>
    </dgm:pt>
    <dgm:pt modelId="{8697711F-3BD5-3645-9407-38351DEB1962}" type="pres">
      <dgm:prSet presAssocID="{60333A69-8D60-7A49-B389-A1BDCFB39114}" presName="srcNode" presStyleLbl="node1" presStyleIdx="0" presStyleCnt="3"/>
      <dgm:spPr/>
    </dgm:pt>
    <dgm:pt modelId="{34B80656-E735-1940-958F-9DE14022480D}" type="pres">
      <dgm:prSet presAssocID="{60333A69-8D60-7A49-B389-A1BDCFB39114}" presName="conn" presStyleLbl="parChTrans1D2" presStyleIdx="0" presStyleCnt="1"/>
      <dgm:spPr/>
    </dgm:pt>
    <dgm:pt modelId="{679258B3-D5E7-4E4D-B873-1418160F164F}" type="pres">
      <dgm:prSet presAssocID="{60333A69-8D60-7A49-B389-A1BDCFB39114}" presName="extraNode" presStyleLbl="node1" presStyleIdx="0" presStyleCnt="3"/>
      <dgm:spPr/>
    </dgm:pt>
    <dgm:pt modelId="{E7CCDE47-CD4A-3549-8F5B-BDBBDC1A9319}" type="pres">
      <dgm:prSet presAssocID="{60333A69-8D60-7A49-B389-A1BDCFB39114}" presName="dstNode" presStyleLbl="node1" presStyleIdx="0" presStyleCnt="3"/>
      <dgm:spPr/>
    </dgm:pt>
    <dgm:pt modelId="{65552F12-6154-C444-B27B-0B232D7C3E07}" type="pres">
      <dgm:prSet presAssocID="{44D0C712-C8F5-A74C-B39B-E78789BCF0FE}" presName="text_1" presStyleLbl="node1" presStyleIdx="0" presStyleCnt="3">
        <dgm:presLayoutVars>
          <dgm:bulletEnabled val="1"/>
        </dgm:presLayoutVars>
      </dgm:prSet>
      <dgm:spPr/>
    </dgm:pt>
    <dgm:pt modelId="{46FA3E14-2FE5-9946-A8FD-1815BC294D56}" type="pres">
      <dgm:prSet presAssocID="{44D0C712-C8F5-A74C-B39B-E78789BCF0FE}" presName="accent_1" presStyleCnt="0"/>
      <dgm:spPr/>
    </dgm:pt>
    <dgm:pt modelId="{7B0E78C4-5988-4E4A-9E67-428B20799399}" type="pres">
      <dgm:prSet presAssocID="{44D0C712-C8F5-A74C-B39B-E78789BCF0FE}" presName="accentRepeatNode" presStyleLbl="solidFgAcc1" presStyleIdx="0" presStyleCnt="3"/>
      <dgm:spPr/>
    </dgm:pt>
    <dgm:pt modelId="{554FD764-8A9A-3045-9D32-466EB41AEFEB}" type="pres">
      <dgm:prSet presAssocID="{555C509D-381B-9940-8D5F-0BB7AC5507CE}" presName="text_2" presStyleLbl="node1" presStyleIdx="1" presStyleCnt="3" custLinFactNeighborX="294" custLinFactNeighborY="350">
        <dgm:presLayoutVars>
          <dgm:bulletEnabled val="1"/>
        </dgm:presLayoutVars>
      </dgm:prSet>
      <dgm:spPr/>
    </dgm:pt>
    <dgm:pt modelId="{2F461FF0-F99C-5C41-970F-9E7434AB8A89}" type="pres">
      <dgm:prSet presAssocID="{555C509D-381B-9940-8D5F-0BB7AC5507CE}" presName="accent_2" presStyleCnt="0"/>
      <dgm:spPr/>
    </dgm:pt>
    <dgm:pt modelId="{8CA21417-1290-6846-9363-593EEB5B5165}" type="pres">
      <dgm:prSet presAssocID="{555C509D-381B-9940-8D5F-0BB7AC5507CE}" presName="accentRepeatNode" presStyleLbl="solidFgAcc1" presStyleIdx="1" presStyleCnt="3"/>
      <dgm:spPr/>
    </dgm:pt>
    <dgm:pt modelId="{40256DE6-FA4B-E741-8EFD-22DBDFD15E4F}" type="pres">
      <dgm:prSet presAssocID="{82D96C64-1BB0-F344-BE37-BD99F9A4F2BF}" presName="text_3" presStyleLbl="node1" presStyleIdx="2" presStyleCnt="3">
        <dgm:presLayoutVars>
          <dgm:bulletEnabled val="1"/>
        </dgm:presLayoutVars>
      </dgm:prSet>
      <dgm:spPr/>
    </dgm:pt>
    <dgm:pt modelId="{FD9BFBB3-1A86-CB47-846C-2C22451AB6ED}" type="pres">
      <dgm:prSet presAssocID="{82D96C64-1BB0-F344-BE37-BD99F9A4F2BF}" presName="accent_3" presStyleCnt="0"/>
      <dgm:spPr/>
    </dgm:pt>
    <dgm:pt modelId="{A12CBBE6-F59F-2D40-BC9B-91D925018E08}" type="pres">
      <dgm:prSet presAssocID="{82D96C64-1BB0-F344-BE37-BD99F9A4F2BF}" presName="accentRepeatNode" presStyleLbl="solidFgAcc1" presStyleIdx="2" presStyleCnt="3"/>
      <dgm:spPr/>
    </dgm:pt>
  </dgm:ptLst>
  <dgm:cxnLst>
    <dgm:cxn modelId="{0B857106-1E29-BE43-A8F8-FC961898630E}" srcId="{60333A69-8D60-7A49-B389-A1BDCFB39114}" destId="{82D96C64-1BB0-F344-BE37-BD99F9A4F2BF}" srcOrd="2" destOrd="0" parTransId="{DA37CAC9-5D16-BE4F-956D-99C58BCB3E6F}" sibTransId="{94E67514-7FB7-C744-91FB-C2530D122A29}"/>
    <dgm:cxn modelId="{94282130-FF5E-B740-B97C-0FFBB9A25D2F}" type="presOf" srcId="{82D96C64-1BB0-F344-BE37-BD99F9A4F2BF}" destId="{40256DE6-FA4B-E741-8EFD-22DBDFD15E4F}" srcOrd="0" destOrd="0" presId="urn:microsoft.com/office/officeart/2008/layout/VerticalCurvedList"/>
    <dgm:cxn modelId="{22F71B53-D848-4247-8559-4D330F7027D0}" srcId="{60333A69-8D60-7A49-B389-A1BDCFB39114}" destId="{555C509D-381B-9940-8D5F-0BB7AC5507CE}" srcOrd="1" destOrd="0" parTransId="{5F12AA40-D88C-B34E-BD0C-4C71A0C7D55C}" sibTransId="{1EF62641-517C-DF45-AF85-6315883F8467}"/>
    <dgm:cxn modelId="{5B94788F-6B1F-0A4F-AC6F-A821CACA5D34}" type="presOf" srcId="{60333A69-8D60-7A49-B389-A1BDCFB39114}" destId="{A540C02C-23CD-0647-B71C-836AA3D309CD}" srcOrd="0" destOrd="0" presId="urn:microsoft.com/office/officeart/2008/layout/VerticalCurvedList"/>
    <dgm:cxn modelId="{1801C4A5-40EC-A44E-AA9C-3651E9ACAA71}" type="presOf" srcId="{44D0C712-C8F5-A74C-B39B-E78789BCF0FE}" destId="{65552F12-6154-C444-B27B-0B232D7C3E07}" srcOrd="0" destOrd="0" presId="urn:microsoft.com/office/officeart/2008/layout/VerticalCurvedList"/>
    <dgm:cxn modelId="{DCBAB7A8-2681-0E4E-B4DD-D4D499F531ED}" type="presOf" srcId="{C6640C62-88B9-1247-8780-D2493B266B3A}" destId="{34B80656-E735-1940-958F-9DE14022480D}" srcOrd="0" destOrd="0" presId="urn:microsoft.com/office/officeart/2008/layout/VerticalCurvedList"/>
    <dgm:cxn modelId="{3F7D08E3-D30A-EB47-B50C-54D2BBB62E72}" srcId="{60333A69-8D60-7A49-B389-A1BDCFB39114}" destId="{44D0C712-C8F5-A74C-B39B-E78789BCF0FE}" srcOrd="0" destOrd="0" parTransId="{57C4A05B-5D99-6148-9262-6D0847CF2CDA}" sibTransId="{C6640C62-88B9-1247-8780-D2493B266B3A}"/>
    <dgm:cxn modelId="{BE5FAFE9-7B50-9D40-BF61-C69A2295340F}" type="presOf" srcId="{555C509D-381B-9940-8D5F-0BB7AC5507CE}" destId="{554FD764-8A9A-3045-9D32-466EB41AEFEB}" srcOrd="0" destOrd="0" presId="urn:microsoft.com/office/officeart/2008/layout/VerticalCurvedList"/>
    <dgm:cxn modelId="{DEEF8DA4-777F-8D45-A208-BD5BD8C0BCB6}" type="presParOf" srcId="{A540C02C-23CD-0647-B71C-836AA3D309CD}" destId="{B4897C01-8F58-144D-8DF5-7D5E89DD0165}" srcOrd="0" destOrd="0" presId="urn:microsoft.com/office/officeart/2008/layout/VerticalCurvedList"/>
    <dgm:cxn modelId="{3759BF85-947F-4249-9C9D-40C16090AC52}" type="presParOf" srcId="{B4897C01-8F58-144D-8DF5-7D5E89DD0165}" destId="{B37047FD-7AEC-B345-B851-FF395E0AF7E3}" srcOrd="0" destOrd="0" presId="urn:microsoft.com/office/officeart/2008/layout/VerticalCurvedList"/>
    <dgm:cxn modelId="{6BF85B44-8E1C-9541-B34B-4B125336E51B}" type="presParOf" srcId="{B37047FD-7AEC-B345-B851-FF395E0AF7E3}" destId="{8697711F-3BD5-3645-9407-38351DEB1962}" srcOrd="0" destOrd="0" presId="urn:microsoft.com/office/officeart/2008/layout/VerticalCurvedList"/>
    <dgm:cxn modelId="{88323ACD-AC67-7D4C-9F54-39EBD018B595}" type="presParOf" srcId="{B37047FD-7AEC-B345-B851-FF395E0AF7E3}" destId="{34B80656-E735-1940-958F-9DE14022480D}" srcOrd="1" destOrd="0" presId="urn:microsoft.com/office/officeart/2008/layout/VerticalCurvedList"/>
    <dgm:cxn modelId="{4A780E01-0DE5-E14A-90E0-B99153C62BFC}" type="presParOf" srcId="{B37047FD-7AEC-B345-B851-FF395E0AF7E3}" destId="{679258B3-D5E7-4E4D-B873-1418160F164F}" srcOrd="2" destOrd="0" presId="urn:microsoft.com/office/officeart/2008/layout/VerticalCurvedList"/>
    <dgm:cxn modelId="{ECC6B155-E6A0-3D47-8C3A-8835265BD1F0}" type="presParOf" srcId="{B37047FD-7AEC-B345-B851-FF395E0AF7E3}" destId="{E7CCDE47-CD4A-3549-8F5B-BDBBDC1A9319}" srcOrd="3" destOrd="0" presId="urn:microsoft.com/office/officeart/2008/layout/VerticalCurvedList"/>
    <dgm:cxn modelId="{1FAE76F7-59EC-FD40-8D6B-3C51A3C40567}" type="presParOf" srcId="{B4897C01-8F58-144D-8DF5-7D5E89DD0165}" destId="{65552F12-6154-C444-B27B-0B232D7C3E07}" srcOrd="1" destOrd="0" presId="urn:microsoft.com/office/officeart/2008/layout/VerticalCurvedList"/>
    <dgm:cxn modelId="{FB6E0987-5615-7F4D-A743-629FBB20174F}" type="presParOf" srcId="{B4897C01-8F58-144D-8DF5-7D5E89DD0165}" destId="{46FA3E14-2FE5-9946-A8FD-1815BC294D56}" srcOrd="2" destOrd="0" presId="urn:microsoft.com/office/officeart/2008/layout/VerticalCurvedList"/>
    <dgm:cxn modelId="{9813698C-7173-7546-A0FD-219BDCB569FA}" type="presParOf" srcId="{46FA3E14-2FE5-9946-A8FD-1815BC294D56}" destId="{7B0E78C4-5988-4E4A-9E67-428B20799399}" srcOrd="0" destOrd="0" presId="urn:microsoft.com/office/officeart/2008/layout/VerticalCurvedList"/>
    <dgm:cxn modelId="{F31290C3-8C63-E44D-B5EA-587EF26AD562}" type="presParOf" srcId="{B4897C01-8F58-144D-8DF5-7D5E89DD0165}" destId="{554FD764-8A9A-3045-9D32-466EB41AEFEB}" srcOrd="3" destOrd="0" presId="urn:microsoft.com/office/officeart/2008/layout/VerticalCurvedList"/>
    <dgm:cxn modelId="{3721948F-ADB8-E24D-9D2A-34A9FF4F662F}" type="presParOf" srcId="{B4897C01-8F58-144D-8DF5-7D5E89DD0165}" destId="{2F461FF0-F99C-5C41-970F-9E7434AB8A89}" srcOrd="4" destOrd="0" presId="urn:microsoft.com/office/officeart/2008/layout/VerticalCurvedList"/>
    <dgm:cxn modelId="{57A31473-0928-8C43-B760-536F167B49AB}" type="presParOf" srcId="{2F461FF0-F99C-5C41-970F-9E7434AB8A89}" destId="{8CA21417-1290-6846-9363-593EEB5B5165}" srcOrd="0" destOrd="0" presId="urn:microsoft.com/office/officeart/2008/layout/VerticalCurvedList"/>
    <dgm:cxn modelId="{E1F533C0-B457-BB42-AF1D-3EEB456885D9}" type="presParOf" srcId="{B4897C01-8F58-144D-8DF5-7D5E89DD0165}" destId="{40256DE6-FA4B-E741-8EFD-22DBDFD15E4F}" srcOrd="5" destOrd="0" presId="urn:microsoft.com/office/officeart/2008/layout/VerticalCurvedList"/>
    <dgm:cxn modelId="{C068ED09-E136-D642-9CF6-B2D3C4A87966}" type="presParOf" srcId="{B4897C01-8F58-144D-8DF5-7D5E89DD0165}" destId="{FD9BFBB3-1A86-CB47-846C-2C22451AB6ED}" srcOrd="6" destOrd="0" presId="urn:microsoft.com/office/officeart/2008/layout/VerticalCurvedList"/>
    <dgm:cxn modelId="{B132B7AE-2782-BD44-AC23-3EA98E2A323B}" type="presParOf" srcId="{FD9BFBB3-1A86-CB47-846C-2C22451AB6ED}" destId="{A12CBBE6-F59F-2D40-BC9B-91D925018E0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0333A69-8D60-7A49-B389-A1BDCFB39114}" type="doc">
      <dgm:prSet loTypeId="urn:microsoft.com/office/officeart/2008/layout/VerticalCurvedList" loCatId="" qsTypeId="urn:microsoft.com/office/officeart/2005/8/quickstyle/simple1" qsCatId="simple" csTypeId="urn:microsoft.com/office/officeart/2005/8/colors/accent1_2" csCatId="accent1" phldr="1"/>
      <dgm:spPr/>
      <dgm:t>
        <a:bodyPr/>
        <a:lstStyle/>
        <a:p>
          <a:endParaRPr lang="en-GB"/>
        </a:p>
      </dgm:t>
    </dgm:pt>
    <dgm:pt modelId="{44D0C712-C8F5-A74C-B39B-E78789BCF0FE}">
      <dgm:prSet phldrT="[Text]" custT="1"/>
      <dgm:spPr/>
      <dgm:t>
        <a:bodyPr/>
        <a:lstStyle/>
        <a:p>
          <a:r>
            <a:rPr lang="en-GB" sz="1600" dirty="0">
              <a:latin typeface="Calibri" panose="020F0502020204030204" pitchFamily="34" charset="0"/>
            </a:rPr>
            <a:t>Tracking distribution and usage by the end user for Oxygen Concentrators</a:t>
          </a:r>
        </a:p>
      </dgm:t>
    </dgm:pt>
    <dgm:pt modelId="{57C4A05B-5D99-6148-9262-6D0847CF2CDA}" type="parTrans" cxnId="{3F7D08E3-D30A-EB47-B50C-54D2BBB62E72}">
      <dgm:prSet/>
      <dgm:spPr/>
      <dgm:t>
        <a:bodyPr/>
        <a:lstStyle/>
        <a:p>
          <a:endParaRPr lang="en-GB" sz="1800"/>
        </a:p>
      </dgm:t>
    </dgm:pt>
    <dgm:pt modelId="{C6640C62-88B9-1247-8780-D2493B266B3A}" type="sibTrans" cxnId="{3F7D08E3-D30A-EB47-B50C-54D2BBB62E72}">
      <dgm:prSet/>
      <dgm:spPr/>
      <dgm:t>
        <a:bodyPr/>
        <a:lstStyle/>
        <a:p>
          <a:endParaRPr lang="en-GB" sz="1800"/>
        </a:p>
      </dgm:t>
    </dgm:pt>
    <dgm:pt modelId="{555C509D-381B-9940-8D5F-0BB7AC5507CE}">
      <dgm:prSet phldrT="[Text]" custT="1"/>
      <dgm:spPr/>
      <dgm:t>
        <a:bodyPr/>
        <a:lstStyle/>
        <a:p>
          <a:r>
            <a:rPr lang="en-GB" sz="1600" dirty="0">
              <a:latin typeface="Calibri" panose="020F0502020204030204" pitchFamily="34" charset="0"/>
            </a:rPr>
            <a:t>Identifying bottlenecks in the delivery and logistics of OCs</a:t>
          </a:r>
        </a:p>
      </dgm:t>
    </dgm:pt>
    <dgm:pt modelId="{5F12AA40-D88C-B34E-BD0C-4C71A0C7D55C}" type="parTrans" cxnId="{22F71B53-D848-4247-8559-4D330F7027D0}">
      <dgm:prSet/>
      <dgm:spPr/>
      <dgm:t>
        <a:bodyPr/>
        <a:lstStyle/>
        <a:p>
          <a:endParaRPr lang="en-GB" sz="1800"/>
        </a:p>
      </dgm:t>
    </dgm:pt>
    <dgm:pt modelId="{1EF62641-517C-DF45-AF85-6315883F8467}" type="sibTrans" cxnId="{22F71B53-D848-4247-8559-4D330F7027D0}">
      <dgm:prSet/>
      <dgm:spPr/>
      <dgm:t>
        <a:bodyPr/>
        <a:lstStyle/>
        <a:p>
          <a:endParaRPr lang="en-GB" sz="1800"/>
        </a:p>
      </dgm:t>
    </dgm:pt>
    <dgm:pt modelId="{82D96C64-1BB0-F344-BE37-BD99F9A4F2BF}">
      <dgm:prSet phldrT="[Text]" custT="1"/>
      <dgm:spPr/>
      <dgm:t>
        <a:bodyPr/>
        <a:lstStyle/>
        <a:p>
          <a:r>
            <a:rPr lang="en-US" sz="1600" dirty="0">
              <a:latin typeface="Calibri" panose="020F0502020204030204" pitchFamily="34" charset="0"/>
            </a:rPr>
            <a:t>Identifying the issues with the functioning of OCs</a:t>
          </a:r>
          <a:endParaRPr lang="en-GB" sz="1600" dirty="0">
            <a:latin typeface="Calibri" panose="020F0502020204030204" pitchFamily="34" charset="0"/>
          </a:endParaRPr>
        </a:p>
      </dgm:t>
    </dgm:pt>
    <dgm:pt modelId="{DA37CAC9-5D16-BE4F-956D-99C58BCB3E6F}" type="parTrans" cxnId="{0B857106-1E29-BE43-A8F8-FC961898630E}">
      <dgm:prSet/>
      <dgm:spPr/>
      <dgm:t>
        <a:bodyPr/>
        <a:lstStyle/>
        <a:p>
          <a:endParaRPr lang="en-GB" sz="1800"/>
        </a:p>
      </dgm:t>
    </dgm:pt>
    <dgm:pt modelId="{94E67514-7FB7-C744-91FB-C2530D122A29}" type="sibTrans" cxnId="{0B857106-1E29-BE43-A8F8-FC961898630E}">
      <dgm:prSet/>
      <dgm:spPr/>
      <dgm:t>
        <a:bodyPr/>
        <a:lstStyle/>
        <a:p>
          <a:endParaRPr lang="en-GB" sz="1800"/>
        </a:p>
      </dgm:t>
    </dgm:pt>
    <dgm:pt modelId="{A540C02C-23CD-0647-B71C-836AA3D309CD}" type="pres">
      <dgm:prSet presAssocID="{60333A69-8D60-7A49-B389-A1BDCFB39114}" presName="Name0" presStyleCnt="0">
        <dgm:presLayoutVars>
          <dgm:chMax val="7"/>
          <dgm:chPref val="7"/>
          <dgm:dir/>
        </dgm:presLayoutVars>
      </dgm:prSet>
      <dgm:spPr/>
    </dgm:pt>
    <dgm:pt modelId="{B4897C01-8F58-144D-8DF5-7D5E89DD0165}" type="pres">
      <dgm:prSet presAssocID="{60333A69-8D60-7A49-B389-A1BDCFB39114}" presName="Name1" presStyleCnt="0"/>
      <dgm:spPr/>
    </dgm:pt>
    <dgm:pt modelId="{B37047FD-7AEC-B345-B851-FF395E0AF7E3}" type="pres">
      <dgm:prSet presAssocID="{60333A69-8D60-7A49-B389-A1BDCFB39114}" presName="cycle" presStyleCnt="0"/>
      <dgm:spPr/>
    </dgm:pt>
    <dgm:pt modelId="{8697711F-3BD5-3645-9407-38351DEB1962}" type="pres">
      <dgm:prSet presAssocID="{60333A69-8D60-7A49-B389-A1BDCFB39114}" presName="srcNode" presStyleLbl="node1" presStyleIdx="0" presStyleCnt="3"/>
      <dgm:spPr/>
    </dgm:pt>
    <dgm:pt modelId="{34B80656-E735-1940-958F-9DE14022480D}" type="pres">
      <dgm:prSet presAssocID="{60333A69-8D60-7A49-B389-A1BDCFB39114}" presName="conn" presStyleLbl="parChTrans1D2" presStyleIdx="0" presStyleCnt="1"/>
      <dgm:spPr/>
    </dgm:pt>
    <dgm:pt modelId="{679258B3-D5E7-4E4D-B873-1418160F164F}" type="pres">
      <dgm:prSet presAssocID="{60333A69-8D60-7A49-B389-A1BDCFB39114}" presName="extraNode" presStyleLbl="node1" presStyleIdx="0" presStyleCnt="3"/>
      <dgm:spPr/>
    </dgm:pt>
    <dgm:pt modelId="{E7CCDE47-CD4A-3549-8F5B-BDBBDC1A9319}" type="pres">
      <dgm:prSet presAssocID="{60333A69-8D60-7A49-B389-A1BDCFB39114}" presName="dstNode" presStyleLbl="node1" presStyleIdx="0" presStyleCnt="3"/>
      <dgm:spPr/>
    </dgm:pt>
    <dgm:pt modelId="{65552F12-6154-C444-B27B-0B232D7C3E07}" type="pres">
      <dgm:prSet presAssocID="{44D0C712-C8F5-A74C-B39B-E78789BCF0FE}" presName="text_1" presStyleLbl="node1" presStyleIdx="0" presStyleCnt="3">
        <dgm:presLayoutVars>
          <dgm:bulletEnabled val="1"/>
        </dgm:presLayoutVars>
      </dgm:prSet>
      <dgm:spPr/>
    </dgm:pt>
    <dgm:pt modelId="{46FA3E14-2FE5-9946-A8FD-1815BC294D56}" type="pres">
      <dgm:prSet presAssocID="{44D0C712-C8F5-A74C-B39B-E78789BCF0FE}" presName="accent_1" presStyleCnt="0"/>
      <dgm:spPr/>
    </dgm:pt>
    <dgm:pt modelId="{7B0E78C4-5988-4E4A-9E67-428B20799399}" type="pres">
      <dgm:prSet presAssocID="{44D0C712-C8F5-A74C-B39B-E78789BCF0FE}" presName="accentRepeatNode" presStyleLbl="solidFgAcc1" presStyleIdx="0" presStyleCnt="3"/>
      <dgm:spPr/>
    </dgm:pt>
    <dgm:pt modelId="{554FD764-8A9A-3045-9D32-466EB41AEFEB}" type="pres">
      <dgm:prSet presAssocID="{555C509D-381B-9940-8D5F-0BB7AC5507CE}" presName="text_2" presStyleLbl="node1" presStyleIdx="1" presStyleCnt="3">
        <dgm:presLayoutVars>
          <dgm:bulletEnabled val="1"/>
        </dgm:presLayoutVars>
      </dgm:prSet>
      <dgm:spPr/>
    </dgm:pt>
    <dgm:pt modelId="{2F461FF0-F99C-5C41-970F-9E7434AB8A89}" type="pres">
      <dgm:prSet presAssocID="{555C509D-381B-9940-8D5F-0BB7AC5507CE}" presName="accent_2" presStyleCnt="0"/>
      <dgm:spPr/>
    </dgm:pt>
    <dgm:pt modelId="{8CA21417-1290-6846-9363-593EEB5B5165}" type="pres">
      <dgm:prSet presAssocID="{555C509D-381B-9940-8D5F-0BB7AC5507CE}" presName="accentRepeatNode" presStyleLbl="solidFgAcc1" presStyleIdx="1" presStyleCnt="3"/>
      <dgm:spPr/>
    </dgm:pt>
    <dgm:pt modelId="{40256DE6-FA4B-E741-8EFD-22DBDFD15E4F}" type="pres">
      <dgm:prSet presAssocID="{82D96C64-1BB0-F344-BE37-BD99F9A4F2BF}" presName="text_3" presStyleLbl="node1" presStyleIdx="2" presStyleCnt="3">
        <dgm:presLayoutVars>
          <dgm:bulletEnabled val="1"/>
        </dgm:presLayoutVars>
      </dgm:prSet>
      <dgm:spPr/>
    </dgm:pt>
    <dgm:pt modelId="{FD9BFBB3-1A86-CB47-846C-2C22451AB6ED}" type="pres">
      <dgm:prSet presAssocID="{82D96C64-1BB0-F344-BE37-BD99F9A4F2BF}" presName="accent_3" presStyleCnt="0"/>
      <dgm:spPr/>
    </dgm:pt>
    <dgm:pt modelId="{A12CBBE6-F59F-2D40-BC9B-91D925018E08}" type="pres">
      <dgm:prSet presAssocID="{82D96C64-1BB0-F344-BE37-BD99F9A4F2BF}" presName="accentRepeatNode" presStyleLbl="solidFgAcc1" presStyleIdx="2" presStyleCnt="3"/>
      <dgm:spPr/>
    </dgm:pt>
  </dgm:ptLst>
  <dgm:cxnLst>
    <dgm:cxn modelId="{0B857106-1E29-BE43-A8F8-FC961898630E}" srcId="{60333A69-8D60-7A49-B389-A1BDCFB39114}" destId="{82D96C64-1BB0-F344-BE37-BD99F9A4F2BF}" srcOrd="2" destOrd="0" parTransId="{DA37CAC9-5D16-BE4F-956D-99C58BCB3E6F}" sibTransId="{94E67514-7FB7-C744-91FB-C2530D122A29}"/>
    <dgm:cxn modelId="{94282130-FF5E-B740-B97C-0FFBB9A25D2F}" type="presOf" srcId="{82D96C64-1BB0-F344-BE37-BD99F9A4F2BF}" destId="{40256DE6-FA4B-E741-8EFD-22DBDFD15E4F}" srcOrd="0" destOrd="0" presId="urn:microsoft.com/office/officeart/2008/layout/VerticalCurvedList"/>
    <dgm:cxn modelId="{22F71B53-D848-4247-8559-4D330F7027D0}" srcId="{60333A69-8D60-7A49-B389-A1BDCFB39114}" destId="{555C509D-381B-9940-8D5F-0BB7AC5507CE}" srcOrd="1" destOrd="0" parTransId="{5F12AA40-D88C-B34E-BD0C-4C71A0C7D55C}" sibTransId="{1EF62641-517C-DF45-AF85-6315883F8467}"/>
    <dgm:cxn modelId="{5B94788F-6B1F-0A4F-AC6F-A821CACA5D34}" type="presOf" srcId="{60333A69-8D60-7A49-B389-A1BDCFB39114}" destId="{A540C02C-23CD-0647-B71C-836AA3D309CD}" srcOrd="0" destOrd="0" presId="urn:microsoft.com/office/officeart/2008/layout/VerticalCurvedList"/>
    <dgm:cxn modelId="{1801C4A5-40EC-A44E-AA9C-3651E9ACAA71}" type="presOf" srcId="{44D0C712-C8F5-A74C-B39B-E78789BCF0FE}" destId="{65552F12-6154-C444-B27B-0B232D7C3E07}" srcOrd="0" destOrd="0" presId="urn:microsoft.com/office/officeart/2008/layout/VerticalCurvedList"/>
    <dgm:cxn modelId="{DCBAB7A8-2681-0E4E-B4DD-D4D499F531ED}" type="presOf" srcId="{C6640C62-88B9-1247-8780-D2493B266B3A}" destId="{34B80656-E735-1940-958F-9DE14022480D}" srcOrd="0" destOrd="0" presId="urn:microsoft.com/office/officeart/2008/layout/VerticalCurvedList"/>
    <dgm:cxn modelId="{3F7D08E3-D30A-EB47-B50C-54D2BBB62E72}" srcId="{60333A69-8D60-7A49-B389-A1BDCFB39114}" destId="{44D0C712-C8F5-A74C-B39B-E78789BCF0FE}" srcOrd="0" destOrd="0" parTransId="{57C4A05B-5D99-6148-9262-6D0847CF2CDA}" sibTransId="{C6640C62-88B9-1247-8780-D2493B266B3A}"/>
    <dgm:cxn modelId="{BE5FAFE9-7B50-9D40-BF61-C69A2295340F}" type="presOf" srcId="{555C509D-381B-9940-8D5F-0BB7AC5507CE}" destId="{554FD764-8A9A-3045-9D32-466EB41AEFEB}" srcOrd="0" destOrd="0" presId="urn:microsoft.com/office/officeart/2008/layout/VerticalCurvedList"/>
    <dgm:cxn modelId="{DEEF8DA4-777F-8D45-A208-BD5BD8C0BCB6}" type="presParOf" srcId="{A540C02C-23CD-0647-B71C-836AA3D309CD}" destId="{B4897C01-8F58-144D-8DF5-7D5E89DD0165}" srcOrd="0" destOrd="0" presId="urn:microsoft.com/office/officeart/2008/layout/VerticalCurvedList"/>
    <dgm:cxn modelId="{3759BF85-947F-4249-9C9D-40C16090AC52}" type="presParOf" srcId="{B4897C01-8F58-144D-8DF5-7D5E89DD0165}" destId="{B37047FD-7AEC-B345-B851-FF395E0AF7E3}" srcOrd="0" destOrd="0" presId="urn:microsoft.com/office/officeart/2008/layout/VerticalCurvedList"/>
    <dgm:cxn modelId="{6BF85B44-8E1C-9541-B34B-4B125336E51B}" type="presParOf" srcId="{B37047FD-7AEC-B345-B851-FF395E0AF7E3}" destId="{8697711F-3BD5-3645-9407-38351DEB1962}" srcOrd="0" destOrd="0" presId="urn:microsoft.com/office/officeart/2008/layout/VerticalCurvedList"/>
    <dgm:cxn modelId="{88323ACD-AC67-7D4C-9F54-39EBD018B595}" type="presParOf" srcId="{B37047FD-7AEC-B345-B851-FF395E0AF7E3}" destId="{34B80656-E735-1940-958F-9DE14022480D}" srcOrd="1" destOrd="0" presId="urn:microsoft.com/office/officeart/2008/layout/VerticalCurvedList"/>
    <dgm:cxn modelId="{4A780E01-0DE5-E14A-90E0-B99153C62BFC}" type="presParOf" srcId="{B37047FD-7AEC-B345-B851-FF395E0AF7E3}" destId="{679258B3-D5E7-4E4D-B873-1418160F164F}" srcOrd="2" destOrd="0" presId="urn:microsoft.com/office/officeart/2008/layout/VerticalCurvedList"/>
    <dgm:cxn modelId="{ECC6B155-E6A0-3D47-8C3A-8835265BD1F0}" type="presParOf" srcId="{B37047FD-7AEC-B345-B851-FF395E0AF7E3}" destId="{E7CCDE47-CD4A-3549-8F5B-BDBBDC1A9319}" srcOrd="3" destOrd="0" presId="urn:microsoft.com/office/officeart/2008/layout/VerticalCurvedList"/>
    <dgm:cxn modelId="{1FAE76F7-59EC-FD40-8D6B-3C51A3C40567}" type="presParOf" srcId="{B4897C01-8F58-144D-8DF5-7D5E89DD0165}" destId="{65552F12-6154-C444-B27B-0B232D7C3E07}" srcOrd="1" destOrd="0" presId="urn:microsoft.com/office/officeart/2008/layout/VerticalCurvedList"/>
    <dgm:cxn modelId="{FB6E0987-5615-7F4D-A743-629FBB20174F}" type="presParOf" srcId="{B4897C01-8F58-144D-8DF5-7D5E89DD0165}" destId="{46FA3E14-2FE5-9946-A8FD-1815BC294D56}" srcOrd="2" destOrd="0" presId="urn:microsoft.com/office/officeart/2008/layout/VerticalCurvedList"/>
    <dgm:cxn modelId="{9813698C-7173-7546-A0FD-219BDCB569FA}" type="presParOf" srcId="{46FA3E14-2FE5-9946-A8FD-1815BC294D56}" destId="{7B0E78C4-5988-4E4A-9E67-428B20799399}" srcOrd="0" destOrd="0" presId="urn:microsoft.com/office/officeart/2008/layout/VerticalCurvedList"/>
    <dgm:cxn modelId="{F31290C3-8C63-E44D-B5EA-587EF26AD562}" type="presParOf" srcId="{B4897C01-8F58-144D-8DF5-7D5E89DD0165}" destId="{554FD764-8A9A-3045-9D32-466EB41AEFEB}" srcOrd="3" destOrd="0" presId="urn:microsoft.com/office/officeart/2008/layout/VerticalCurvedList"/>
    <dgm:cxn modelId="{3721948F-ADB8-E24D-9D2A-34A9FF4F662F}" type="presParOf" srcId="{B4897C01-8F58-144D-8DF5-7D5E89DD0165}" destId="{2F461FF0-F99C-5C41-970F-9E7434AB8A89}" srcOrd="4" destOrd="0" presId="urn:microsoft.com/office/officeart/2008/layout/VerticalCurvedList"/>
    <dgm:cxn modelId="{57A31473-0928-8C43-B760-536F167B49AB}" type="presParOf" srcId="{2F461FF0-F99C-5C41-970F-9E7434AB8A89}" destId="{8CA21417-1290-6846-9363-593EEB5B5165}" srcOrd="0" destOrd="0" presId="urn:microsoft.com/office/officeart/2008/layout/VerticalCurvedList"/>
    <dgm:cxn modelId="{E1F533C0-B457-BB42-AF1D-3EEB456885D9}" type="presParOf" srcId="{B4897C01-8F58-144D-8DF5-7D5E89DD0165}" destId="{40256DE6-FA4B-E741-8EFD-22DBDFD15E4F}" srcOrd="5" destOrd="0" presId="urn:microsoft.com/office/officeart/2008/layout/VerticalCurvedList"/>
    <dgm:cxn modelId="{C068ED09-E136-D642-9CF6-B2D3C4A87966}" type="presParOf" srcId="{B4897C01-8F58-144D-8DF5-7D5E89DD0165}" destId="{FD9BFBB3-1A86-CB47-846C-2C22451AB6ED}" srcOrd="6" destOrd="0" presId="urn:microsoft.com/office/officeart/2008/layout/VerticalCurvedList"/>
    <dgm:cxn modelId="{B132B7AE-2782-BD44-AC23-3EA98E2A323B}" type="presParOf" srcId="{FD9BFBB3-1A86-CB47-846C-2C22451AB6ED}" destId="{A12CBBE6-F59F-2D40-BC9B-91D925018E0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59F672-9DDE-104C-8A6E-928DFFC00452}"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GB"/>
        </a:p>
      </dgm:t>
    </dgm:pt>
    <dgm:pt modelId="{73589064-4236-0B48-B7BF-290F18C5FA69}">
      <dgm:prSet phldrT="[Text]" custT="1"/>
      <dgm:spPr>
        <a:solidFill>
          <a:schemeClr val="accent3"/>
        </a:solidFill>
        <a:ln>
          <a:noFill/>
        </a:ln>
      </dgm:spPr>
      <dgm:t>
        <a:bodyPr/>
        <a:lstStyle/>
        <a:p>
          <a:r>
            <a:rPr lang="en-GB" sz="1600" b="1" dirty="0"/>
            <a:t>Pros</a:t>
          </a:r>
        </a:p>
      </dgm:t>
    </dgm:pt>
    <dgm:pt modelId="{67835597-FE50-9442-A74C-1E87BC022839}" type="parTrans" cxnId="{A76186F4-DFF9-5147-9520-0EFC1B32C26F}">
      <dgm:prSet/>
      <dgm:spPr/>
      <dgm:t>
        <a:bodyPr/>
        <a:lstStyle/>
        <a:p>
          <a:endParaRPr lang="en-GB"/>
        </a:p>
      </dgm:t>
    </dgm:pt>
    <dgm:pt modelId="{3044667F-3D8A-CA4F-BACE-1955EDB90255}" type="sibTrans" cxnId="{A76186F4-DFF9-5147-9520-0EFC1B32C26F}">
      <dgm:prSet/>
      <dgm:spPr/>
      <dgm:t>
        <a:bodyPr/>
        <a:lstStyle/>
        <a:p>
          <a:endParaRPr lang="en-GB"/>
        </a:p>
      </dgm:t>
    </dgm:pt>
    <dgm:pt modelId="{592D3F80-22CF-E742-B24E-FBD1B9308EC6}">
      <dgm:prSet phldrT="[Text]" custT="1"/>
      <dgm:spPr>
        <a:solidFill>
          <a:schemeClr val="accent3">
            <a:lumMod val="20000"/>
            <a:lumOff val="80000"/>
            <a:alpha val="90000"/>
          </a:schemeClr>
        </a:solidFill>
        <a:ln>
          <a:noFill/>
        </a:ln>
      </dgm:spPr>
      <dgm:t>
        <a:bodyPr/>
        <a:lstStyle/>
        <a:p>
          <a:pPr>
            <a:lnSpc>
              <a:spcPct val="90000"/>
            </a:lnSpc>
            <a:spcBef>
              <a:spcPct val="0"/>
            </a:spcBef>
            <a:spcAft>
              <a:spcPct val="15000"/>
            </a:spcAft>
          </a:pPr>
          <a:r>
            <a:rPr lang="en-IN" sz="1600" dirty="0">
              <a:latin typeface="Calibri" panose="020F0502020204030204" pitchFamily="34" charset="0"/>
            </a:rPr>
            <a:t>PSA could be primary source for small as well as larger hospitals</a:t>
          </a:r>
          <a:endParaRPr lang="en-GB" sz="1600" dirty="0">
            <a:latin typeface="Calibri" panose="020F0502020204030204" pitchFamily="34" charset="0"/>
          </a:endParaRPr>
        </a:p>
      </dgm:t>
    </dgm:pt>
    <dgm:pt modelId="{8B819013-3253-C84D-808E-17B2D14106A8}" type="parTrans" cxnId="{9BE24300-8045-7E4C-85ED-A1EAEDDAAF77}">
      <dgm:prSet/>
      <dgm:spPr/>
      <dgm:t>
        <a:bodyPr/>
        <a:lstStyle/>
        <a:p>
          <a:endParaRPr lang="en-GB"/>
        </a:p>
      </dgm:t>
    </dgm:pt>
    <dgm:pt modelId="{A45EC796-A715-F146-A288-4D0F487FE49D}" type="sibTrans" cxnId="{9BE24300-8045-7E4C-85ED-A1EAEDDAAF77}">
      <dgm:prSet/>
      <dgm:spPr/>
      <dgm:t>
        <a:bodyPr/>
        <a:lstStyle/>
        <a:p>
          <a:endParaRPr lang="en-GB"/>
        </a:p>
      </dgm:t>
    </dgm:pt>
    <dgm:pt modelId="{0C780C18-7BC8-C64E-A61C-28A2C41FB8E3}">
      <dgm:prSet phldrT="[Text]" custT="1"/>
      <dgm:spPr/>
      <dgm:t>
        <a:bodyPr/>
        <a:lstStyle/>
        <a:p>
          <a:r>
            <a:rPr lang="en-GB" sz="1600" b="1" dirty="0"/>
            <a:t>Cons</a:t>
          </a:r>
        </a:p>
      </dgm:t>
    </dgm:pt>
    <dgm:pt modelId="{6AE8E5F1-5ED2-3748-A78E-2B2F5666193E}" type="parTrans" cxnId="{FC27E9B9-6C75-AE48-A387-6E165A87F2DD}">
      <dgm:prSet/>
      <dgm:spPr/>
      <dgm:t>
        <a:bodyPr/>
        <a:lstStyle/>
        <a:p>
          <a:endParaRPr lang="en-GB"/>
        </a:p>
      </dgm:t>
    </dgm:pt>
    <dgm:pt modelId="{F7387F67-DF1B-D04A-9EB2-DEF273D6BE64}" type="sibTrans" cxnId="{FC27E9B9-6C75-AE48-A387-6E165A87F2DD}">
      <dgm:prSet/>
      <dgm:spPr/>
      <dgm:t>
        <a:bodyPr/>
        <a:lstStyle/>
        <a:p>
          <a:endParaRPr lang="en-GB"/>
        </a:p>
      </dgm:t>
    </dgm:pt>
    <dgm:pt modelId="{F0083455-5BE4-3143-87D0-B27840F8F28D}">
      <dgm:prSet phldrT="[Text]" custT="1"/>
      <dgm:spPr/>
      <dgm:t>
        <a:bodyPr/>
        <a:lstStyle/>
        <a:p>
          <a:pPr>
            <a:lnSpc>
              <a:spcPct val="100000"/>
            </a:lnSpc>
          </a:pPr>
          <a:r>
            <a:rPr lang="en-IN" sz="1600" kern="1200" dirty="0">
              <a:solidFill>
                <a:prstClr val="black">
                  <a:hueOff val="0"/>
                  <a:satOff val="0"/>
                  <a:lumOff val="0"/>
                  <a:alphaOff val="0"/>
                </a:prstClr>
              </a:solidFill>
              <a:latin typeface="Calibri" panose="020F0502020204030204" pitchFamily="34" charset="0"/>
              <a:ea typeface="+mn-ea"/>
              <a:cs typeface="+mn-cs"/>
            </a:rPr>
            <a:t>Good access up to hospital facility is required during installation and maintenance purposes</a:t>
          </a:r>
          <a:r>
            <a:rPr lang="en-IN" sz="500" kern="1200" dirty="0"/>
            <a:t>.</a:t>
          </a:r>
          <a:endParaRPr lang="en-GB" sz="500" kern="1200" dirty="0"/>
        </a:p>
      </dgm:t>
    </dgm:pt>
    <dgm:pt modelId="{742014A4-D6AD-F741-A6CC-84CED780B58C}" type="parTrans" cxnId="{81327C05-5877-584C-B283-4650584E4899}">
      <dgm:prSet/>
      <dgm:spPr/>
      <dgm:t>
        <a:bodyPr/>
        <a:lstStyle/>
        <a:p>
          <a:endParaRPr lang="en-GB"/>
        </a:p>
      </dgm:t>
    </dgm:pt>
    <dgm:pt modelId="{EE927B48-EC8A-6942-9738-6582D055DE64}" type="sibTrans" cxnId="{81327C05-5877-584C-B283-4650584E4899}">
      <dgm:prSet/>
      <dgm:spPr/>
      <dgm:t>
        <a:bodyPr/>
        <a:lstStyle/>
        <a:p>
          <a:endParaRPr lang="en-GB"/>
        </a:p>
      </dgm:t>
    </dgm:pt>
    <dgm:pt modelId="{6BA89FC6-6632-924D-9CBD-9B3DC94F8179}">
      <dgm:prSet custT="1"/>
      <dgm:spPr>
        <a:solidFill>
          <a:schemeClr val="accent3">
            <a:lumMod val="20000"/>
            <a:lumOff val="80000"/>
            <a:alpha val="90000"/>
          </a:schemeClr>
        </a:solidFill>
        <a:ln>
          <a:noFill/>
        </a:ln>
      </dgm:spPr>
      <dgm:t>
        <a:bodyPr/>
        <a:lstStyle/>
        <a:p>
          <a:pPr>
            <a:lnSpc>
              <a:spcPct val="90000"/>
            </a:lnSpc>
            <a:spcBef>
              <a:spcPct val="0"/>
            </a:spcBef>
            <a:spcAft>
              <a:spcPct val="15000"/>
            </a:spcAft>
          </a:pPr>
          <a:r>
            <a:rPr lang="en-IN" sz="1600" dirty="0">
              <a:latin typeface="Calibri" panose="020F0502020204030204" pitchFamily="34" charset="0"/>
            </a:rPr>
            <a:t>Relatively compact, needs enclosed space for installation</a:t>
          </a:r>
        </a:p>
      </dgm:t>
    </dgm:pt>
    <dgm:pt modelId="{2FE418D3-2E98-3E45-98FF-2F195A61858A}" type="parTrans" cxnId="{80FC41E3-8122-864B-B884-C627ADEA33CC}">
      <dgm:prSet/>
      <dgm:spPr/>
      <dgm:t>
        <a:bodyPr/>
        <a:lstStyle/>
        <a:p>
          <a:endParaRPr lang="en-GB"/>
        </a:p>
      </dgm:t>
    </dgm:pt>
    <dgm:pt modelId="{8A38DEB3-314C-8B48-A98B-CF0CE061E026}" type="sibTrans" cxnId="{80FC41E3-8122-864B-B884-C627ADEA33CC}">
      <dgm:prSet/>
      <dgm:spPr/>
      <dgm:t>
        <a:bodyPr/>
        <a:lstStyle/>
        <a:p>
          <a:endParaRPr lang="en-GB"/>
        </a:p>
      </dgm:t>
    </dgm:pt>
    <dgm:pt modelId="{CC6321D7-B1F4-1E49-98F6-2FEBDE7A5AD7}">
      <dgm:prSet custT="1"/>
      <dgm:spPr>
        <a:solidFill>
          <a:schemeClr val="accent3">
            <a:lumMod val="20000"/>
            <a:lumOff val="80000"/>
            <a:alpha val="90000"/>
          </a:schemeClr>
        </a:solidFill>
        <a:ln>
          <a:noFill/>
        </a:ln>
      </dgm:spPr>
      <dgm:t>
        <a:bodyPr/>
        <a:lstStyle/>
        <a:p>
          <a:pPr>
            <a:lnSpc>
              <a:spcPct val="100000"/>
            </a:lnSpc>
            <a:spcBef>
              <a:spcPts val="600"/>
            </a:spcBef>
            <a:spcAft>
              <a:spcPts val="600"/>
            </a:spcAft>
          </a:pPr>
          <a:r>
            <a:rPr lang="en-IN" sz="1600" dirty="0">
              <a:latin typeface="Calibri" panose="020F0502020204030204" pitchFamily="34" charset="0"/>
            </a:rPr>
            <a:t>Efficient, oxygen is produced as per requirement</a:t>
          </a:r>
        </a:p>
      </dgm:t>
    </dgm:pt>
    <dgm:pt modelId="{C754E98D-5C97-AE4E-87F4-B8BA3C048DCB}" type="parTrans" cxnId="{3D799E74-E887-D343-AF2E-5722903D50DA}">
      <dgm:prSet/>
      <dgm:spPr/>
      <dgm:t>
        <a:bodyPr/>
        <a:lstStyle/>
        <a:p>
          <a:endParaRPr lang="en-GB"/>
        </a:p>
      </dgm:t>
    </dgm:pt>
    <dgm:pt modelId="{3378A36F-B80B-C549-9980-076512809CCB}" type="sibTrans" cxnId="{3D799E74-E887-D343-AF2E-5722903D50DA}">
      <dgm:prSet/>
      <dgm:spPr/>
      <dgm:t>
        <a:bodyPr/>
        <a:lstStyle/>
        <a:p>
          <a:endParaRPr lang="en-GB"/>
        </a:p>
      </dgm:t>
    </dgm:pt>
    <dgm:pt modelId="{8BFE3804-6AA8-F740-81B8-DE1D2EFBB2A3}">
      <dgm:prSet custT="1"/>
      <dgm:spPr>
        <a:solidFill>
          <a:schemeClr val="accent3">
            <a:lumMod val="20000"/>
            <a:lumOff val="80000"/>
            <a:alpha val="90000"/>
          </a:schemeClr>
        </a:solidFill>
        <a:ln>
          <a:noFill/>
        </a:ln>
      </dgm:spPr>
      <dgm:t>
        <a:bodyPr/>
        <a:lstStyle/>
        <a:p>
          <a:pPr>
            <a:lnSpc>
              <a:spcPct val="90000"/>
            </a:lnSpc>
            <a:spcBef>
              <a:spcPct val="0"/>
            </a:spcBef>
            <a:spcAft>
              <a:spcPct val="15000"/>
            </a:spcAft>
          </a:pPr>
          <a:r>
            <a:rPr lang="en-IN" sz="1600" dirty="0">
              <a:latin typeface="Calibri" panose="020F0502020204030204" pitchFamily="34" charset="0"/>
            </a:rPr>
            <a:t>Reduces dependence on manpower</a:t>
          </a:r>
        </a:p>
      </dgm:t>
    </dgm:pt>
    <dgm:pt modelId="{8854A034-BB1D-3949-9A20-7A10D89F7833}" type="parTrans" cxnId="{095DFEDB-54DF-7A47-93B5-BE415A04B9FA}">
      <dgm:prSet/>
      <dgm:spPr/>
      <dgm:t>
        <a:bodyPr/>
        <a:lstStyle/>
        <a:p>
          <a:endParaRPr lang="en-GB"/>
        </a:p>
      </dgm:t>
    </dgm:pt>
    <dgm:pt modelId="{526ABCE2-1652-7345-8F62-F51403EC1E38}" type="sibTrans" cxnId="{095DFEDB-54DF-7A47-93B5-BE415A04B9FA}">
      <dgm:prSet/>
      <dgm:spPr/>
      <dgm:t>
        <a:bodyPr/>
        <a:lstStyle/>
        <a:p>
          <a:endParaRPr lang="en-GB"/>
        </a:p>
      </dgm:t>
    </dgm:pt>
    <dgm:pt modelId="{04563E79-6C78-8C4D-B0D4-64BEBE54D8C8}">
      <dgm:prSet custT="1"/>
      <dgm:spPr>
        <a:solidFill>
          <a:schemeClr val="accent3">
            <a:lumMod val="20000"/>
            <a:lumOff val="80000"/>
            <a:alpha val="90000"/>
          </a:schemeClr>
        </a:solidFill>
        <a:ln>
          <a:noFill/>
        </a:ln>
      </dgm:spPr>
      <dgm:t>
        <a:bodyPr/>
        <a:lstStyle/>
        <a:p>
          <a:pPr>
            <a:lnSpc>
              <a:spcPct val="90000"/>
            </a:lnSpc>
            <a:spcBef>
              <a:spcPct val="0"/>
            </a:spcBef>
            <a:spcAft>
              <a:spcPct val="15000"/>
            </a:spcAft>
          </a:pPr>
          <a:r>
            <a:rPr lang="en-IN" sz="1600" dirty="0">
              <a:latin typeface="Calibri" panose="020F0502020204030204" pitchFamily="34" charset="0"/>
            </a:rPr>
            <a:t>Safe to operate and maintain</a:t>
          </a:r>
        </a:p>
      </dgm:t>
    </dgm:pt>
    <dgm:pt modelId="{C507BB67-3406-C94D-91A2-56B124417E77}" type="parTrans" cxnId="{D41E67E5-A55B-384A-9D47-A283919B56D2}">
      <dgm:prSet/>
      <dgm:spPr/>
      <dgm:t>
        <a:bodyPr/>
        <a:lstStyle/>
        <a:p>
          <a:endParaRPr lang="en-GB"/>
        </a:p>
      </dgm:t>
    </dgm:pt>
    <dgm:pt modelId="{7B41DCD2-04C8-B84F-AD2C-A008FFF5D62E}" type="sibTrans" cxnId="{D41E67E5-A55B-384A-9D47-A283919B56D2}">
      <dgm:prSet/>
      <dgm:spPr/>
      <dgm:t>
        <a:bodyPr/>
        <a:lstStyle/>
        <a:p>
          <a:endParaRPr lang="en-GB"/>
        </a:p>
      </dgm:t>
    </dgm:pt>
    <dgm:pt modelId="{1750402B-3062-FE4F-A264-A1613A7B2D8A}">
      <dgm:prSet custT="1"/>
      <dgm:spPr>
        <a:solidFill>
          <a:schemeClr val="accent3">
            <a:lumMod val="20000"/>
            <a:lumOff val="80000"/>
            <a:alpha val="90000"/>
          </a:schemeClr>
        </a:solidFill>
        <a:ln>
          <a:noFill/>
        </a:ln>
      </dgm:spPr>
      <dgm:t>
        <a:bodyPr/>
        <a:lstStyle/>
        <a:p>
          <a:pPr>
            <a:lnSpc>
              <a:spcPct val="90000"/>
            </a:lnSpc>
            <a:spcBef>
              <a:spcPct val="0"/>
            </a:spcBef>
            <a:spcAft>
              <a:spcPct val="15000"/>
            </a:spcAft>
          </a:pPr>
          <a:r>
            <a:rPr lang="en-IN" sz="1600" dirty="0">
              <a:latin typeface="Calibri" panose="020F0502020204030204" pitchFamily="34" charset="0"/>
            </a:rPr>
            <a:t>Maintenance is preventive</a:t>
          </a:r>
        </a:p>
      </dgm:t>
    </dgm:pt>
    <dgm:pt modelId="{E2CB7268-8C30-E443-A940-19A2340C1E67}" type="parTrans" cxnId="{3EA5F0D8-02BD-7348-9A56-27F271FB9EA7}">
      <dgm:prSet/>
      <dgm:spPr/>
      <dgm:t>
        <a:bodyPr/>
        <a:lstStyle/>
        <a:p>
          <a:endParaRPr lang="en-GB"/>
        </a:p>
      </dgm:t>
    </dgm:pt>
    <dgm:pt modelId="{87F41928-07CD-DD4F-936E-023A15441B5C}" type="sibTrans" cxnId="{3EA5F0D8-02BD-7348-9A56-27F271FB9EA7}">
      <dgm:prSet/>
      <dgm:spPr/>
      <dgm:t>
        <a:bodyPr/>
        <a:lstStyle/>
        <a:p>
          <a:endParaRPr lang="en-GB"/>
        </a:p>
      </dgm:t>
    </dgm:pt>
    <dgm:pt modelId="{4D5C44E6-C46B-BE4A-9286-BE20A019DD09}">
      <dgm:prSet custT="1"/>
      <dgm:spPr>
        <a:solidFill>
          <a:schemeClr val="accent3">
            <a:lumMod val="20000"/>
            <a:lumOff val="80000"/>
            <a:alpha val="90000"/>
          </a:schemeClr>
        </a:solidFill>
        <a:ln>
          <a:noFill/>
        </a:ln>
      </dgm:spPr>
      <dgm:t>
        <a:bodyPr/>
        <a:lstStyle/>
        <a:p>
          <a:pPr>
            <a:lnSpc>
              <a:spcPct val="90000"/>
            </a:lnSpc>
            <a:spcBef>
              <a:spcPct val="0"/>
            </a:spcBef>
            <a:spcAft>
              <a:spcPct val="15000"/>
            </a:spcAft>
          </a:pPr>
          <a:r>
            <a:rPr lang="en-IN" sz="1600" dirty="0">
              <a:latin typeface="Calibri" panose="020F0502020204030204" pitchFamily="34" charset="0"/>
            </a:rPr>
            <a:t>Eliminates third party dependence</a:t>
          </a:r>
        </a:p>
      </dgm:t>
    </dgm:pt>
    <dgm:pt modelId="{5115DA64-B3DE-C94B-A8EE-EAF8BC8DE8D6}" type="parTrans" cxnId="{1C672A78-42C3-8B4B-8916-C4D7B1A9FC16}">
      <dgm:prSet/>
      <dgm:spPr/>
      <dgm:t>
        <a:bodyPr/>
        <a:lstStyle/>
        <a:p>
          <a:endParaRPr lang="en-GB"/>
        </a:p>
      </dgm:t>
    </dgm:pt>
    <dgm:pt modelId="{4CECD3ED-0C86-F342-B463-2A17117A9822}" type="sibTrans" cxnId="{1C672A78-42C3-8B4B-8916-C4D7B1A9FC16}">
      <dgm:prSet/>
      <dgm:spPr/>
      <dgm:t>
        <a:bodyPr/>
        <a:lstStyle/>
        <a:p>
          <a:endParaRPr lang="en-GB"/>
        </a:p>
      </dgm:t>
    </dgm:pt>
    <dgm:pt modelId="{E84CF87D-CB60-6848-8CEF-29B7EC5E4220}">
      <dgm:prSet custT="1"/>
      <dgm:spPr/>
      <dgm:t>
        <a:bodyPr/>
        <a:lstStyle/>
        <a:p>
          <a:pPr>
            <a:lnSpc>
              <a:spcPct val="100000"/>
            </a:lnSpc>
          </a:pPr>
          <a:r>
            <a:rPr lang="en-IN" sz="1600" kern="1200" dirty="0">
              <a:latin typeface="Calibri" panose="020F0502020204030204" pitchFamily="34" charset="0"/>
            </a:rPr>
            <a:t>Assured power supply is a mandatory requirement. PSA plant needs Diesel Generator backup in case of power failures</a:t>
          </a:r>
          <a:r>
            <a:rPr lang="en-IN" sz="500" kern="1200" dirty="0"/>
            <a:t>.</a:t>
          </a:r>
        </a:p>
      </dgm:t>
    </dgm:pt>
    <dgm:pt modelId="{16432E6B-15A0-B146-BC0F-1980377BD2E8}" type="parTrans" cxnId="{BB55D88F-7224-2545-8207-8602C3A8DF2A}">
      <dgm:prSet/>
      <dgm:spPr/>
      <dgm:t>
        <a:bodyPr/>
        <a:lstStyle/>
        <a:p>
          <a:endParaRPr lang="en-GB"/>
        </a:p>
      </dgm:t>
    </dgm:pt>
    <dgm:pt modelId="{3E131FC2-29E6-4C4B-A167-E4663FB768B4}" type="sibTrans" cxnId="{BB55D88F-7224-2545-8207-8602C3A8DF2A}">
      <dgm:prSet/>
      <dgm:spPr/>
      <dgm:t>
        <a:bodyPr/>
        <a:lstStyle/>
        <a:p>
          <a:endParaRPr lang="en-GB"/>
        </a:p>
      </dgm:t>
    </dgm:pt>
    <dgm:pt modelId="{8499C2E9-933F-5046-BF34-DF2E21BE0BCC}" type="pres">
      <dgm:prSet presAssocID="{5059F672-9DDE-104C-8A6E-928DFFC00452}" presName="Name0" presStyleCnt="0">
        <dgm:presLayoutVars>
          <dgm:dir/>
          <dgm:animLvl val="lvl"/>
          <dgm:resizeHandles val="exact"/>
        </dgm:presLayoutVars>
      </dgm:prSet>
      <dgm:spPr/>
    </dgm:pt>
    <dgm:pt modelId="{161D2EB1-D243-C74E-B808-78407946E469}" type="pres">
      <dgm:prSet presAssocID="{73589064-4236-0B48-B7BF-290F18C5FA69}" presName="composite" presStyleCnt="0"/>
      <dgm:spPr/>
    </dgm:pt>
    <dgm:pt modelId="{3C057601-8048-094C-A8CE-749CD3AB5056}" type="pres">
      <dgm:prSet presAssocID="{73589064-4236-0B48-B7BF-290F18C5FA69}" presName="parTx" presStyleLbl="alignNode1" presStyleIdx="0" presStyleCnt="2" custLinFactNeighborX="-1" custLinFactNeighborY="-1186">
        <dgm:presLayoutVars>
          <dgm:chMax val="0"/>
          <dgm:chPref val="0"/>
          <dgm:bulletEnabled val="1"/>
        </dgm:presLayoutVars>
      </dgm:prSet>
      <dgm:spPr/>
    </dgm:pt>
    <dgm:pt modelId="{6755686F-73FD-864C-826D-22EAF9B95BF9}" type="pres">
      <dgm:prSet presAssocID="{73589064-4236-0B48-B7BF-290F18C5FA69}" presName="desTx" presStyleLbl="alignAccFollowNode1" presStyleIdx="0" presStyleCnt="2">
        <dgm:presLayoutVars>
          <dgm:bulletEnabled val="1"/>
        </dgm:presLayoutVars>
      </dgm:prSet>
      <dgm:spPr/>
    </dgm:pt>
    <dgm:pt modelId="{6799542E-B127-1A44-B8C9-5F1287006A45}" type="pres">
      <dgm:prSet presAssocID="{3044667F-3D8A-CA4F-BACE-1955EDB90255}" presName="space" presStyleCnt="0"/>
      <dgm:spPr/>
    </dgm:pt>
    <dgm:pt modelId="{803367FA-DDB5-D54D-B6A7-7EE09103D018}" type="pres">
      <dgm:prSet presAssocID="{0C780C18-7BC8-C64E-A61C-28A2C41FB8E3}" presName="composite" presStyleCnt="0"/>
      <dgm:spPr/>
    </dgm:pt>
    <dgm:pt modelId="{92F0BA4D-725E-C149-8561-7FF84A1E7BD5}" type="pres">
      <dgm:prSet presAssocID="{0C780C18-7BC8-C64E-A61C-28A2C41FB8E3}" presName="parTx" presStyleLbl="alignNode1" presStyleIdx="1" presStyleCnt="2" custLinFactNeighborX="34850" custLinFactNeighborY="3074">
        <dgm:presLayoutVars>
          <dgm:chMax val="0"/>
          <dgm:chPref val="0"/>
          <dgm:bulletEnabled val="1"/>
        </dgm:presLayoutVars>
      </dgm:prSet>
      <dgm:spPr/>
    </dgm:pt>
    <dgm:pt modelId="{593A3A78-EBFD-EC4B-B69D-73A7AD3FC322}" type="pres">
      <dgm:prSet presAssocID="{0C780C18-7BC8-C64E-A61C-28A2C41FB8E3}" presName="desTx" presStyleLbl="alignAccFollowNode1" presStyleIdx="1" presStyleCnt="2">
        <dgm:presLayoutVars>
          <dgm:bulletEnabled val="1"/>
        </dgm:presLayoutVars>
      </dgm:prSet>
      <dgm:spPr/>
    </dgm:pt>
  </dgm:ptLst>
  <dgm:cxnLst>
    <dgm:cxn modelId="{9BE24300-8045-7E4C-85ED-A1EAEDDAAF77}" srcId="{73589064-4236-0B48-B7BF-290F18C5FA69}" destId="{592D3F80-22CF-E742-B24E-FBD1B9308EC6}" srcOrd="0" destOrd="0" parTransId="{8B819013-3253-C84D-808E-17B2D14106A8}" sibTransId="{A45EC796-A715-F146-A288-4D0F487FE49D}"/>
    <dgm:cxn modelId="{81327C05-5877-584C-B283-4650584E4899}" srcId="{0C780C18-7BC8-C64E-A61C-28A2C41FB8E3}" destId="{F0083455-5BE4-3143-87D0-B27840F8F28D}" srcOrd="0" destOrd="0" parTransId="{742014A4-D6AD-F741-A6CC-84CED780B58C}" sibTransId="{EE927B48-EC8A-6942-9738-6582D055DE64}"/>
    <dgm:cxn modelId="{FD289005-89A7-3646-BF6C-663C094A52C9}" type="presOf" srcId="{4D5C44E6-C46B-BE4A-9286-BE20A019DD09}" destId="{6755686F-73FD-864C-826D-22EAF9B95BF9}" srcOrd="0" destOrd="6" presId="urn:microsoft.com/office/officeart/2005/8/layout/hList1"/>
    <dgm:cxn modelId="{B197E522-24E7-C64C-8EBD-547FCAEA9A72}" type="presOf" srcId="{F0083455-5BE4-3143-87D0-B27840F8F28D}" destId="{593A3A78-EBFD-EC4B-B69D-73A7AD3FC322}" srcOrd="0" destOrd="0" presId="urn:microsoft.com/office/officeart/2005/8/layout/hList1"/>
    <dgm:cxn modelId="{748D562A-43F6-1F4D-AD44-6B49C4811971}" type="presOf" srcId="{0C780C18-7BC8-C64E-A61C-28A2C41FB8E3}" destId="{92F0BA4D-725E-C149-8561-7FF84A1E7BD5}" srcOrd="0" destOrd="0" presId="urn:microsoft.com/office/officeart/2005/8/layout/hList1"/>
    <dgm:cxn modelId="{D280702D-421B-CF42-A492-D90FA6CB04FB}" type="presOf" srcId="{1750402B-3062-FE4F-A264-A1613A7B2D8A}" destId="{6755686F-73FD-864C-826D-22EAF9B95BF9}" srcOrd="0" destOrd="5" presId="urn:microsoft.com/office/officeart/2005/8/layout/hList1"/>
    <dgm:cxn modelId="{85BFC138-8BB5-5549-A8D1-378A4D253F8C}" type="presOf" srcId="{6BA89FC6-6632-924D-9CBD-9B3DC94F8179}" destId="{6755686F-73FD-864C-826D-22EAF9B95BF9}" srcOrd="0" destOrd="1" presId="urn:microsoft.com/office/officeart/2005/8/layout/hList1"/>
    <dgm:cxn modelId="{DBAFF073-F16B-8543-AB95-F3C6F11EB7D0}" type="presOf" srcId="{CC6321D7-B1F4-1E49-98F6-2FEBDE7A5AD7}" destId="{6755686F-73FD-864C-826D-22EAF9B95BF9}" srcOrd="0" destOrd="2" presId="urn:microsoft.com/office/officeart/2005/8/layout/hList1"/>
    <dgm:cxn modelId="{3D799E74-E887-D343-AF2E-5722903D50DA}" srcId="{73589064-4236-0B48-B7BF-290F18C5FA69}" destId="{CC6321D7-B1F4-1E49-98F6-2FEBDE7A5AD7}" srcOrd="2" destOrd="0" parTransId="{C754E98D-5C97-AE4E-87F4-B8BA3C048DCB}" sibTransId="{3378A36F-B80B-C549-9980-076512809CCB}"/>
    <dgm:cxn modelId="{EA9D9C56-8A9C-F04F-9C5E-F066FECB5A4B}" type="presOf" srcId="{592D3F80-22CF-E742-B24E-FBD1B9308EC6}" destId="{6755686F-73FD-864C-826D-22EAF9B95BF9}" srcOrd="0" destOrd="0" presId="urn:microsoft.com/office/officeart/2005/8/layout/hList1"/>
    <dgm:cxn modelId="{1C672A78-42C3-8B4B-8916-C4D7B1A9FC16}" srcId="{73589064-4236-0B48-B7BF-290F18C5FA69}" destId="{4D5C44E6-C46B-BE4A-9286-BE20A019DD09}" srcOrd="6" destOrd="0" parTransId="{5115DA64-B3DE-C94B-A8EE-EAF8BC8DE8D6}" sibTransId="{4CECD3ED-0C86-F342-B463-2A17117A9822}"/>
    <dgm:cxn modelId="{D3817780-773E-FD45-8B1C-07C8E3857249}" type="presOf" srcId="{E84CF87D-CB60-6848-8CEF-29B7EC5E4220}" destId="{593A3A78-EBFD-EC4B-B69D-73A7AD3FC322}" srcOrd="0" destOrd="1" presId="urn:microsoft.com/office/officeart/2005/8/layout/hList1"/>
    <dgm:cxn modelId="{F961CB80-8009-4246-8C7D-63779864C660}" type="presOf" srcId="{8BFE3804-6AA8-F740-81B8-DE1D2EFBB2A3}" destId="{6755686F-73FD-864C-826D-22EAF9B95BF9}" srcOrd="0" destOrd="3" presId="urn:microsoft.com/office/officeart/2005/8/layout/hList1"/>
    <dgm:cxn modelId="{BB55D88F-7224-2545-8207-8602C3A8DF2A}" srcId="{0C780C18-7BC8-C64E-A61C-28A2C41FB8E3}" destId="{E84CF87D-CB60-6848-8CEF-29B7EC5E4220}" srcOrd="1" destOrd="0" parTransId="{16432E6B-15A0-B146-BC0F-1980377BD2E8}" sibTransId="{3E131FC2-29E6-4C4B-A167-E4663FB768B4}"/>
    <dgm:cxn modelId="{5EAC9F99-0AEE-B14E-B7A5-941CCA323901}" type="presOf" srcId="{73589064-4236-0B48-B7BF-290F18C5FA69}" destId="{3C057601-8048-094C-A8CE-749CD3AB5056}" srcOrd="0" destOrd="0" presId="urn:microsoft.com/office/officeart/2005/8/layout/hList1"/>
    <dgm:cxn modelId="{7D92D09D-6F4E-6C4A-8EE6-0C7FDF304508}" type="presOf" srcId="{5059F672-9DDE-104C-8A6E-928DFFC00452}" destId="{8499C2E9-933F-5046-BF34-DF2E21BE0BCC}" srcOrd="0" destOrd="0" presId="urn:microsoft.com/office/officeart/2005/8/layout/hList1"/>
    <dgm:cxn modelId="{C8153B9F-54CD-4842-A348-0A551FB1ACDD}" type="presOf" srcId="{04563E79-6C78-8C4D-B0D4-64BEBE54D8C8}" destId="{6755686F-73FD-864C-826D-22EAF9B95BF9}" srcOrd="0" destOrd="4" presId="urn:microsoft.com/office/officeart/2005/8/layout/hList1"/>
    <dgm:cxn modelId="{FC27E9B9-6C75-AE48-A387-6E165A87F2DD}" srcId="{5059F672-9DDE-104C-8A6E-928DFFC00452}" destId="{0C780C18-7BC8-C64E-A61C-28A2C41FB8E3}" srcOrd="1" destOrd="0" parTransId="{6AE8E5F1-5ED2-3748-A78E-2B2F5666193E}" sibTransId="{F7387F67-DF1B-D04A-9EB2-DEF273D6BE64}"/>
    <dgm:cxn modelId="{3EA5F0D8-02BD-7348-9A56-27F271FB9EA7}" srcId="{73589064-4236-0B48-B7BF-290F18C5FA69}" destId="{1750402B-3062-FE4F-A264-A1613A7B2D8A}" srcOrd="5" destOrd="0" parTransId="{E2CB7268-8C30-E443-A940-19A2340C1E67}" sibTransId="{87F41928-07CD-DD4F-936E-023A15441B5C}"/>
    <dgm:cxn modelId="{095DFEDB-54DF-7A47-93B5-BE415A04B9FA}" srcId="{73589064-4236-0B48-B7BF-290F18C5FA69}" destId="{8BFE3804-6AA8-F740-81B8-DE1D2EFBB2A3}" srcOrd="3" destOrd="0" parTransId="{8854A034-BB1D-3949-9A20-7A10D89F7833}" sibTransId="{526ABCE2-1652-7345-8F62-F51403EC1E38}"/>
    <dgm:cxn modelId="{80FC41E3-8122-864B-B884-C627ADEA33CC}" srcId="{73589064-4236-0B48-B7BF-290F18C5FA69}" destId="{6BA89FC6-6632-924D-9CBD-9B3DC94F8179}" srcOrd="1" destOrd="0" parTransId="{2FE418D3-2E98-3E45-98FF-2F195A61858A}" sibTransId="{8A38DEB3-314C-8B48-A98B-CF0CE061E026}"/>
    <dgm:cxn modelId="{D41E67E5-A55B-384A-9D47-A283919B56D2}" srcId="{73589064-4236-0B48-B7BF-290F18C5FA69}" destId="{04563E79-6C78-8C4D-B0D4-64BEBE54D8C8}" srcOrd="4" destOrd="0" parTransId="{C507BB67-3406-C94D-91A2-56B124417E77}" sibTransId="{7B41DCD2-04C8-B84F-AD2C-A008FFF5D62E}"/>
    <dgm:cxn modelId="{A76186F4-DFF9-5147-9520-0EFC1B32C26F}" srcId="{5059F672-9DDE-104C-8A6E-928DFFC00452}" destId="{73589064-4236-0B48-B7BF-290F18C5FA69}" srcOrd="0" destOrd="0" parTransId="{67835597-FE50-9442-A74C-1E87BC022839}" sibTransId="{3044667F-3D8A-CA4F-BACE-1955EDB90255}"/>
    <dgm:cxn modelId="{2DF77ADE-2E68-4946-A1DA-7B0A0787BEA6}" type="presParOf" srcId="{8499C2E9-933F-5046-BF34-DF2E21BE0BCC}" destId="{161D2EB1-D243-C74E-B808-78407946E469}" srcOrd="0" destOrd="0" presId="urn:microsoft.com/office/officeart/2005/8/layout/hList1"/>
    <dgm:cxn modelId="{6658131E-37FC-2D43-A0E4-5F83E51F9CAA}" type="presParOf" srcId="{161D2EB1-D243-C74E-B808-78407946E469}" destId="{3C057601-8048-094C-A8CE-749CD3AB5056}" srcOrd="0" destOrd="0" presId="urn:microsoft.com/office/officeart/2005/8/layout/hList1"/>
    <dgm:cxn modelId="{C3501096-760B-684C-A85B-75678FCA0360}" type="presParOf" srcId="{161D2EB1-D243-C74E-B808-78407946E469}" destId="{6755686F-73FD-864C-826D-22EAF9B95BF9}" srcOrd="1" destOrd="0" presId="urn:microsoft.com/office/officeart/2005/8/layout/hList1"/>
    <dgm:cxn modelId="{CA277F17-5F29-F64C-A4D4-8739CE3ECFDF}" type="presParOf" srcId="{8499C2E9-933F-5046-BF34-DF2E21BE0BCC}" destId="{6799542E-B127-1A44-B8C9-5F1287006A45}" srcOrd="1" destOrd="0" presId="urn:microsoft.com/office/officeart/2005/8/layout/hList1"/>
    <dgm:cxn modelId="{0154DCAA-ABB5-5E40-8117-E881270BD5C3}" type="presParOf" srcId="{8499C2E9-933F-5046-BF34-DF2E21BE0BCC}" destId="{803367FA-DDB5-D54D-B6A7-7EE09103D018}" srcOrd="2" destOrd="0" presId="urn:microsoft.com/office/officeart/2005/8/layout/hList1"/>
    <dgm:cxn modelId="{6E5A13BF-F5C1-014C-B8DC-365FD1727DEE}" type="presParOf" srcId="{803367FA-DDB5-D54D-B6A7-7EE09103D018}" destId="{92F0BA4D-725E-C149-8561-7FF84A1E7BD5}" srcOrd="0" destOrd="0" presId="urn:microsoft.com/office/officeart/2005/8/layout/hList1"/>
    <dgm:cxn modelId="{25F26440-06F7-3C43-9D97-8CDCC9063888}" type="presParOf" srcId="{803367FA-DDB5-D54D-B6A7-7EE09103D018}" destId="{593A3A78-EBFD-EC4B-B69D-73A7AD3FC322}"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059F672-9DDE-104C-8A6E-928DFFC00452}"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GB"/>
        </a:p>
      </dgm:t>
    </dgm:pt>
    <dgm:pt modelId="{73589064-4236-0B48-B7BF-290F18C5FA69}">
      <dgm:prSet phldrT="[Text]" custT="1"/>
      <dgm:spPr>
        <a:solidFill>
          <a:schemeClr val="accent3"/>
        </a:solidFill>
        <a:ln>
          <a:noFill/>
        </a:ln>
      </dgm:spPr>
      <dgm:t>
        <a:bodyPr/>
        <a:lstStyle/>
        <a:p>
          <a:r>
            <a:rPr lang="en-GB" sz="1600" b="1" dirty="0">
              <a:latin typeface="Calibri" panose="020F0502020204030204" pitchFamily="34" charset="0"/>
            </a:rPr>
            <a:t>Pros</a:t>
          </a:r>
        </a:p>
      </dgm:t>
    </dgm:pt>
    <dgm:pt modelId="{67835597-FE50-9442-A74C-1E87BC022839}" type="parTrans" cxnId="{A76186F4-DFF9-5147-9520-0EFC1B32C26F}">
      <dgm:prSet/>
      <dgm:spPr/>
      <dgm:t>
        <a:bodyPr/>
        <a:lstStyle/>
        <a:p>
          <a:endParaRPr lang="en-GB" sz="1800">
            <a:latin typeface="Gill Sans MT" panose="020B0502020104020203" pitchFamily="34" charset="0"/>
          </a:endParaRPr>
        </a:p>
      </dgm:t>
    </dgm:pt>
    <dgm:pt modelId="{3044667F-3D8A-CA4F-BACE-1955EDB90255}" type="sibTrans" cxnId="{A76186F4-DFF9-5147-9520-0EFC1B32C26F}">
      <dgm:prSet/>
      <dgm:spPr/>
      <dgm:t>
        <a:bodyPr/>
        <a:lstStyle/>
        <a:p>
          <a:endParaRPr lang="en-GB" sz="1800">
            <a:latin typeface="Gill Sans MT" panose="020B0502020104020203" pitchFamily="34" charset="0"/>
          </a:endParaRPr>
        </a:p>
      </dgm:t>
    </dgm:pt>
    <dgm:pt modelId="{592D3F80-22CF-E742-B24E-FBD1B9308EC6}">
      <dgm:prSet phldrT="[Text]" custT="1"/>
      <dgm:spPr>
        <a:solidFill>
          <a:schemeClr val="accent3">
            <a:lumMod val="20000"/>
            <a:lumOff val="80000"/>
            <a:alpha val="90000"/>
          </a:schemeClr>
        </a:solidFill>
        <a:ln>
          <a:noFill/>
        </a:ln>
      </dgm:spPr>
      <dgm:t>
        <a:bodyPr/>
        <a:lstStyle/>
        <a:p>
          <a:pPr algn="l">
            <a:lnSpc>
              <a:spcPct val="100000"/>
            </a:lnSpc>
          </a:pPr>
          <a:r>
            <a:rPr lang="en-IN" sz="1800" dirty="0">
              <a:latin typeface="Calibri" panose="020F0502020204030204" pitchFamily="34" charset="0"/>
            </a:rPr>
            <a:t>They do not need to be refilled. </a:t>
          </a:r>
          <a:endParaRPr lang="en-GB" sz="1800" dirty="0">
            <a:latin typeface="Calibri" panose="020F0502020204030204" pitchFamily="34" charset="0"/>
          </a:endParaRPr>
        </a:p>
      </dgm:t>
    </dgm:pt>
    <dgm:pt modelId="{8B819013-3253-C84D-808E-17B2D14106A8}" type="parTrans" cxnId="{9BE24300-8045-7E4C-85ED-A1EAEDDAAF77}">
      <dgm:prSet/>
      <dgm:spPr/>
      <dgm:t>
        <a:bodyPr/>
        <a:lstStyle/>
        <a:p>
          <a:endParaRPr lang="en-GB" sz="1800">
            <a:latin typeface="Gill Sans MT" panose="020B0502020104020203" pitchFamily="34" charset="0"/>
          </a:endParaRPr>
        </a:p>
      </dgm:t>
    </dgm:pt>
    <dgm:pt modelId="{A45EC796-A715-F146-A288-4D0F487FE49D}" type="sibTrans" cxnId="{9BE24300-8045-7E4C-85ED-A1EAEDDAAF77}">
      <dgm:prSet/>
      <dgm:spPr/>
      <dgm:t>
        <a:bodyPr/>
        <a:lstStyle/>
        <a:p>
          <a:endParaRPr lang="en-GB" sz="1800">
            <a:latin typeface="Gill Sans MT" panose="020B0502020104020203" pitchFamily="34" charset="0"/>
          </a:endParaRPr>
        </a:p>
      </dgm:t>
    </dgm:pt>
    <dgm:pt modelId="{0C780C18-7BC8-C64E-A61C-28A2C41FB8E3}">
      <dgm:prSet phldrT="[Text]" custT="1"/>
      <dgm:spPr/>
      <dgm:t>
        <a:bodyPr/>
        <a:lstStyle/>
        <a:p>
          <a:r>
            <a:rPr lang="en-GB" sz="1800" b="1" dirty="0">
              <a:latin typeface="Calibri" panose="020F0502020204030204" pitchFamily="34" charset="0"/>
            </a:rPr>
            <a:t>Cons</a:t>
          </a:r>
        </a:p>
      </dgm:t>
    </dgm:pt>
    <dgm:pt modelId="{6AE8E5F1-5ED2-3748-A78E-2B2F5666193E}" type="parTrans" cxnId="{FC27E9B9-6C75-AE48-A387-6E165A87F2DD}">
      <dgm:prSet/>
      <dgm:spPr/>
      <dgm:t>
        <a:bodyPr/>
        <a:lstStyle/>
        <a:p>
          <a:endParaRPr lang="en-GB" sz="1800">
            <a:latin typeface="Gill Sans MT" panose="020B0502020104020203" pitchFamily="34" charset="0"/>
          </a:endParaRPr>
        </a:p>
      </dgm:t>
    </dgm:pt>
    <dgm:pt modelId="{F7387F67-DF1B-D04A-9EB2-DEF273D6BE64}" type="sibTrans" cxnId="{FC27E9B9-6C75-AE48-A387-6E165A87F2DD}">
      <dgm:prSet/>
      <dgm:spPr/>
      <dgm:t>
        <a:bodyPr/>
        <a:lstStyle/>
        <a:p>
          <a:endParaRPr lang="en-GB" sz="1800">
            <a:latin typeface="Gill Sans MT" panose="020B0502020104020203" pitchFamily="34" charset="0"/>
          </a:endParaRPr>
        </a:p>
      </dgm:t>
    </dgm:pt>
    <dgm:pt modelId="{F052C927-45C1-FE4C-BAF9-7EAFF460C578}">
      <dgm:prSet custT="1"/>
      <dgm:spPr/>
      <dgm:t>
        <a:bodyPr/>
        <a:lstStyle/>
        <a:p>
          <a:pPr algn="l">
            <a:lnSpc>
              <a:spcPct val="100000"/>
            </a:lnSpc>
          </a:pPr>
          <a:r>
            <a:rPr lang="en-IN" sz="1800" dirty="0">
              <a:latin typeface="Calibri" panose="020F0502020204030204" pitchFamily="34" charset="0"/>
            </a:rPr>
            <a:t>Need for electrical power to function. Necessary to prepare for unscheduled power outages by setting up a backup power generator</a:t>
          </a:r>
        </a:p>
      </dgm:t>
    </dgm:pt>
    <dgm:pt modelId="{31E40BB1-86E3-2146-9318-C3F2D2AA8207}" type="parTrans" cxnId="{5D1894EB-89BC-8046-88A3-1A36BEDFA834}">
      <dgm:prSet/>
      <dgm:spPr/>
      <dgm:t>
        <a:bodyPr/>
        <a:lstStyle/>
        <a:p>
          <a:endParaRPr lang="en-GB" sz="1800">
            <a:latin typeface="Gill Sans MT" panose="020B0502020104020203" pitchFamily="34" charset="0"/>
          </a:endParaRPr>
        </a:p>
      </dgm:t>
    </dgm:pt>
    <dgm:pt modelId="{32F34BCC-653D-9A4F-87FB-706EC248D6FD}" type="sibTrans" cxnId="{5D1894EB-89BC-8046-88A3-1A36BEDFA834}">
      <dgm:prSet/>
      <dgm:spPr/>
      <dgm:t>
        <a:bodyPr/>
        <a:lstStyle/>
        <a:p>
          <a:endParaRPr lang="en-GB" sz="1800">
            <a:latin typeface="Gill Sans MT" panose="020B0502020104020203" pitchFamily="34" charset="0"/>
          </a:endParaRPr>
        </a:p>
      </dgm:t>
    </dgm:pt>
    <dgm:pt modelId="{E1B246EB-C957-EE45-947D-9185B3DC17E2}">
      <dgm:prSet phldrT="[Text]" custT="1"/>
      <dgm:spPr>
        <a:solidFill>
          <a:schemeClr val="accent3">
            <a:lumMod val="20000"/>
            <a:lumOff val="80000"/>
            <a:alpha val="90000"/>
          </a:schemeClr>
        </a:solidFill>
        <a:ln>
          <a:noFill/>
        </a:ln>
      </dgm:spPr>
      <dgm:t>
        <a:bodyPr/>
        <a:lstStyle/>
        <a:p>
          <a:pPr algn="l">
            <a:lnSpc>
              <a:spcPct val="100000"/>
            </a:lnSpc>
          </a:pPr>
          <a:r>
            <a:rPr lang="en-IN" sz="1800" dirty="0">
              <a:latin typeface="Calibri" panose="020F0502020204030204" pitchFamily="34" charset="0"/>
            </a:rPr>
            <a:t>They concentrators run on electrical power and thus supply an unlimited amount of oxygen.</a:t>
          </a:r>
          <a:endParaRPr lang="en-GB" sz="1800" dirty="0">
            <a:latin typeface="Calibri" panose="020F0502020204030204" pitchFamily="34" charset="0"/>
          </a:endParaRPr>
        </a:p>
      </dgm:t>
    </dgm:pt>
    <dgm:pt modelId="{06D7A7E1-AF43-1842-84B4-D4EFCFD0FD3F}" type="parTrans" cxnId="{673160C5-21C7-7248-B9DF-22C531B2A227}">
      <dgm:prSet/>
      <dgm:spPr/>
      <dgm:t>
        <a:bodyPr/>
        <a:lstStyle/>
        <a:p>
          <a:endParaRPr lang="en-GB" sz="1800">
            <a:latin typeface="Gill Sans MT" panose="020B0502020104020203" pitchFamily="34" charset="0"/>
          </a:endParaRPr>
        </a:p>
      </dgm:t>
    </dgm:pt>
    <dgm:pt modelId="{F6F9EFA7-6A44-3B42-9DC3-7CE9DF373C88}" type="sibTrans" cxnId="{673160C5-21C7-7248-B9DF-22C531B2A227}">
      <dgm:prSet/>
      <dgm:spPr/>
      <dgm:t>
        <a:bodyPr/>
        <a:lstStyle/>
        <a:p>
          <a:endParaRPr lang="en-GB" sz="1800">
            <a:latin typeface="Gill Sans MT" panose="020B0502020104020203" pitchFamily="34" charset="0"/>
          </a:endParaRPr>
        </a:p>
      </dgm:t>
    </dgm:pt>
    <dgm:pt modelId="{4246E141-B756-5A4A-A1F5-95D5F667792C}">
      <dgm:prSet phldrT="[Text]" custT="1"/>
      <dgm:spPr>
        <a:solidFill>
          <a:schemeClr val="accent3">
            <a:lumMod val="20000"/>
            <a:lumOff val="80000"/>
            <a:alpha val="90000"/>
          </a:schemeClr>
        </a:solidFill>
        <a:ln>
          <a:noFill/>
        </a:ln>
      </dgm:spPr>
      <dgm:t>
        <a:bodyPr/>
        <a:lstStyle/>
        <a:p>
          <a:pPr algn="l">
            <a:lnSpc>
              <a:spcPct val="100000"/>
            </a:lnSpc>
          </a:pPr>
          <a:r>
            <a:rPr lang="en-IN" sz="1800" dirty="0">
              <a:latin typeface="Calibri" panose="020F0502020204030204" pitchFamily="34" charset="0"/>
            </a:rPr>
            <a:t>Portable concentrators can be used in an “on-the-go” mode with a battery pack</a:t>
          </a:r>
          <a:endParaRPr lang="en-GB" sz="1800" dirty="0">
            <a:latin typeface="Calibri" panose="020F0502020204030204" pitchFamily="34" charset="0"/>
          </a:endParaRPr>
        </a:p>
      </dgm:t>
    </dgm:pt>
    <dgm:pt modelId="{C07647DC-4A6A-CC4F-9B7A-2B97BAB26338}" type="parTrans" cxnId="{D7EA06A2-9A96-494C-9BB2-0FD5414ACB57}">
      <dgm:prSet/>
      <dgm:spPr/>
      <dgm:t>
        <a:bodyPr/>
        <a:lstStyle/>
        <a:p>
          <a:endParaRPr lang="en-GB" sz="1800">
            <a:latin typeface="Gill Sans MT" panose="020B0502020104020203" pitchFamily="34" charset="0"/>
          </a:endParaRPr>
        </a:p>
      </dgm:t>
    </dgm:pt>
    <dgm:pt modelId="{E44CFE8B-DD89-E245-BAC3-738FFB9E090B}" type="sibTrans" cxnId="{D7EA06A2-9A96-494C-9BB2-0FD5414ACB57}">
      <dgm:prSet/>
      <dgm:spPr/>
      <dgm:t>
        <a:bodyPr/>
        <a:lstStyle/>
        <a:p>
          <a:endParaRPr lang="en-GB" sz="1800">
            <a:latin typeface="Gill Sans MT" panose="020B0502020104020203" pitchFamily="34" charset="0"/>
          </a:endParaRPr>
        </a:p>
      </dgm:t>
    </dgm:pt>
    <dgm:pt modelId="{8CCA1C61-0E7F-C548-910D-26BE891758D0}">
      <dgm:prSet phldrT="[Text]" custT="1"/>
      <dgm:spPr>
        <a:solidFill>
          <a:schemeClr val="accent3">
            <a:lumMod val="20000"/>
            <a:lumOff val="80000"/>
            <a:alpha val="90000"/>
          </a:schemeClr>
        </a:solidFill>
        <a:ln>
          <a:noFill/>
        </a:ln>
      </dgm:spPr>
      <dgm:t>
        <a:bodyPr/>
        <a:lstStyle/>
        <a:p>
          <a:pPr algn="l">
            <a:lnSpc>
              <a:spcPct val="100000"/>
            </a:lnSpc>
          </a:pPr>
          <a:r>
            <a:rPr lang="en-IN" sz="1800" dirty="0">
              <a:latin typeface="Calibri" panose="020F0502020204030204" pitchFamily="34" charset="0"/>
            </a:rPr>
            <a:t>More cost-effective than compressed gas cylinders, and they are known to last for up to 1500 h of continuous use.</a:t>
          </a:r>
          <a:endParaRPr lang="en-GB" sz="1800" dirty="0">
            <a:latin typeface="Calibri" panose="020F0502020204030204" pitchFamily="34" charset="0"/>
          </a:endParaRPr>
        </a:p>
      </dgm:t>
    </dgm:pt>
    <dgm:pt modelId="{C5BAB161-AA1F-7C43-955D-8BD731A6B416}" type="parTrans" cxnId="{1E74432B-5B21-1C41-98A9-53411ABAAF4C}">
      <dgm:prSet/>
      <dgm:spPr/>
      <dgm:t>
        <a:bodyPr/>
        <a:lstStyle/>
        <a:p>
          <a:endParaRPr lang="en-GB" sz="1800">
            <a:latin typeface="Gill Sans MT" panose="020B0502020104020203" pitchFamily="34" charset="0"/>
          </a:endParaRPr>
        </a:p>
      </dgm:t>
    </dgm:pt>
    <dgm:pt modelId="{2E937D99-E9DA-6E4F-A27C-F83102F059F7}" type="sibTrans" cxnId="{1E74432B-5B21-1C41-98A9-53411ABAAF4C}">
      <dgm:prSet/>
      <dgm:spPr/>
      <dgm:t>
        <a:bodyPr/>
        <a:lstStyle/>
        <a:p>
          <a:endParaRPr lang="en-GB" sz="1800">
            <a:latin typeface="Gill Sans MT" panose="020B0502020104020203" pitchFamily="34" charset="0"/>
          </a:endParaRPr>
        </a:p>
      </dgm:t>
    </dgm:pt>
    <dgm:pt modelId="{680462F1-7E86-0544-A663-0677D714F81D}">
      <dgm:prSet custT="1"/>
      <dgm:spPr/>
      <dgm:t>
        <a:bodyPr/>
        <a:lstStyle/>
        <a:p>
          <a:pPr algn="l">
            <a:lnSpc>
              <a:spcPct val="100000"/>
            </a:lnSpc>
          </a:pPr>
          <a:r>
            <a:rPr lang="en-IN" sz="1800" dirty="0">
              <a:latin typeface="Calibri" panose="020F0502020204030204" pitchFamily="34" charset="0"/>
            </a:rPr>
            <a:t>Patients using stationary oxygen concentrators need to change filters weekly and regular servicing</a:t>
          </a:r>
        </a:p>
      </dgm:t>
    </dgm:pt>
    <dgm:pt modelId="{BAAE91C9-E337-144F-BEB3-C8F57C6DB121}" type="parTrans" cxnId="{3C446E49-A537-D742-AA8A-70ECD13E79C6}">
      <dgm:prSet/>
      <dgm:spPr/>
      <dgm:t>
        <a:bodyPr/>
        <a:lstStyle/>
        <a:p>
          <a:endParaRPr lang="en-GB" sz="1800">
            <a:latin typeface="Gill Sans MT" panose="020B0502020104020203" pitchFamily="34" charset="0"/>
          </a:endParaRPr>
        </a:p>
      </dgm:t>
    </dgm:pt>
    <dgm:pt modelId="{E6404F9F-172E-8843-BEE7-2094AA54F90E}" type="sibTrans" cxnId="{3C446E49-A537-D742-AA8A-70ECD13E79C6}">
      <dgm:prSet/>
      <dgm:spPr/>
      <dgm:t>
        <a:bodyPr/>
        <a:lstStyle/>
        <a:p>
          <a:endParaRPr lang="en-GB" sz="1800">
            <a:latin typeface="Gill Sans MT" panose="020B0502020104020203" pitchFamily="34" charset="0"/>
          </a:endParaRPr>
        </a:p>
      </dgm:t>
    </dgm:pt>
    <dgm:pt modelId="{AD9EC7C9-EEBB-7E49-89C6-C381D7D5A357}">
      <dgm:prSet custT="1"/>
      <dgm:spPr/>
      <dgm:t>
        <a:bodyPr/>
        <a:lstStyle/>
        <a:p>
          <a:pPr algn="l">
            <a:lnSpc>
              <a:spcPct val="100000"/>
            </a:lnSpc>
          </a:pPr>
          <a:r>
            <a:rPr lang="en-IN" sz="1800" dirty="0">
              <a:latin typeface="Calibri" panose="020F0502020204030204" pitchFamily="34" charset="0"/>
            </a:rPr>
            <a:t>Noise and vibration from older devices</a:t>
          </a:r>
        </a:p>
      </dgm:t>
    </dgm:pt>
    <dgm:pt modelId="{62F0C4E1-FF81-5940-869A-7B5C53CADD7E}" type="parTrans" cxnId="{A189BB14-294C-0647-947A-8A09F37C8EF6}">
      <dgm:prSet/>
      <dgm:spPr/>
      <dgm:t>
        <a:bodyPr/>
        <a:lstStyle/>
        <a:p>
          <a:endParaRPr lang="en-GB" sz="1800">
            <a:latin typeface="Gill Sans MT" panose="020B0502020104020203" pitchFamily="34" charset="0"/>
          </a:endParaRPr>
        </a:p>
      </dgm:t>
    </dgm:pt>
    <dgm:pt modelId="{B79349A1-9DD1-FB4D-B3F0-342B3F5549D2}" type="sibTrans" cxnId="{A189BB14-294C-0647-947A-8A09F37C8EF6}">
      <dgm:prSet/>
      <dgm:spPr/>
      <dgm:t>
        <a:bodyPr/>
        <a:lstStyle/>
        <a:p>
          <a:endParaRPr lang="en-GB" sz="1800">
            <a:latin typeface="Gill Sans MT" panose="020B0502020104020203" pitchFamily="34" charset="0"/>
          </a:endParaRPr>
        </a:p>
      </dgm:t>
    </dgm:pt>
    <dgm:pt modelId="{8499C2E9-933F-5046-BF34-DF2E21BE0BCC}" type="pres">
      <dgm:prSet presAssocID="{5059F672-9DDE-104C-8A6E-928DFFC00452}" presName="Name0" presStyleCnt="0">
        <dgm:presLayoutVars>
          <dgm:dir/>
          <dgm:animLvl val="lvl"/>
          <dgm:resizeHandles val="exact"/>
        </dgm:presLayoutVars>
      </dgm:prSet>
      <dgm:spPr/>
    </dgm:pt>
    <dgm:pt modelId="{161D2EB1-D243-C74E-B808-78407946E469}" type="pres">
      <dgm:prSet presAssocID="{73589064-4236-0B48-B7BF-290F18C5FA69}" presName="composite" presStyleCnt="0"/>
      <dgm:spPr/>
    </dgm:pt>
    <dgm:pt modelId="{3C057601-8048-094C-A8CE-749CD3AB5056}" type="pres">
      <dgm:prSet presAssocID="{73589064-4236-0B48-B7BF-290F18C5FA69}" presName="parTx" presStyleLbl="alignNode1" presStyleIdx="0" presStyleCnt="2" custScaleY="87300">
        <dgm:presLayoutVars>
          <dgm:chMax val="0"/>
          <dgm:chPref val="0"/>
          <dgm:bulletEnabled val="1"/>
        </dgm:presLayoutVars>
      </dgm:prSet>
      <dgm:spPr/>
    </dgm:pt>
    <dgm:pt modelId="{6755686F-73FD-864C-826D-22EAF9B95BF9}" type="pres">
      <dgm:prSet presAssocID="{73589064-4236-0B48-B7BF-290F18C5FA69}" presName="desTx" presStyleLbl="alignAccFollowNode1" presStyleIdx="0" presStyleCnt="2">
        <dgm:presLayoutVars>
          <dgm:bulletEnabled val="1"/>
        </dgm:presLayoutVars>
      </dgm:prSet>
      <dgm:spPr/>
    </dgm:pt>
    <dgm:pt modelId="{6799542E-B127-1A44-B8C9-5F1287006A45}" type="pres">
      <dgm:prSet presAssocID="{3044667F-3D8A-CA4F-BACE-1955EDB90255}" presName="space" presStyleCnt="0"/>
      <dgm:spPr/>
    </dgm:pt>
    <dgm:pt modelId="{803367FA-DDB5-D54D-B6A7-7EE09103D018}" type="pres">
      <dgm:prSet presAssocID="{0C780C18-7BC8-C64E-A61C-28A2C41FB8E3}" presName="composite" presStyleCnt="0"/>
      <dgm:spPr/>
    </dgm:pt>
    <dgm:pt modelId="{92F0BA4D-725E-C149-8561-7FF84A1E7BD5}" type="pres">
      <dgm:prSet presAssocID="{0C780C18-7BC8-C64E-A61C-28A2C41FB8E3}" presName="parTx" presStyleLbl="alignNode1" presStyleIdx="1" presStyleCnt="2" custScaleY="87300">
        <dgm:presLayoutVars>
          <dgm:chMax val="0"/>
          <dgm:chPref val="0"/>
          <dgm:bulletEnabled val="1"/>
        </dgm:presLayoutVars>
      </dgm:prSet>
      <dgm:spPr/>
    </dgm:pt>
    <dgm:pt modelId="{593A3A78-EBFD-EC4B-B69D-73A7AD3FC322}" type="pres">
      <dgm:prSet presAssocID="{0C780C18-7BC8-C64E-A61C-28A2C41FB8E3}" presName="desTx" presStyleLbl="alignAccFollowNode1" presStyleIdx="1" presStyleCnt="2">
        <dgm:presLayoutVars>
          <dgm:bulletEnabled val="1"/>
        </dgm:presLayoutVars>
      </dgm:prSet>
      <dgm:spPr/>
    </dgm:pt>
  </dgm:ptLst>
  <dgm:cxnLst>
    <dgm:cxn modelId="{9BE24300-8045-7E4C-85ED-A1EAEDDAAF77}" srcId="{73589064-4236-0B48-B7BF-290F18C5FA69}" destId="{592D3F80-22CF-E742-B24E-FBD1B9308EC6}" srcOrd="0" destOrd="0" parTransId="{8B819013-3253-C84D-808E-17B2D14106A8}" sibTransId="{A45EC796-A715-F146-A288-4D0F487FE49D}"/>
    <dgm:cxn modelId="{43309D12-DDB2-D845-B9D1-441F5860494A}" type="presOf" srcId="{4246E141-B756-5A4A-A1F5-95D5F667792C}" destId="{6755686F-73FD-864C-826D-22EAF9B95BF9}" srcOrd="0" destOrd="2" presId="urn:microsoft.com/office/officeart/2005/8/layout/hList1"/>
    <dgm:cxn modelId="{A189BB14-294C-0647-947A-8A09F37C8EF6}" srcId="{0C780C18-7BC8-C64E-A61C-28A2C41FB8E3}" destId="{AD9EC7C9-EEBB-7E49-89C6-C381D7D5A357}" srcOrd="2" destOrd="0" parTransId="{62F0C4E1-FF81-5940-869A-7B5C53CADD7E}" sibTransId="{B79349A1-9DD1-FB4D-B3F0-342B3F5549D2}"/>
    <dgm:cxn modelId="{748D562A-43F6-1F4D-AD44-6B49C4811971}" type="presOf" srcId="{0C780C18-7BC8-C64E-A61C-28A2C41FB8E3}" destId="{92F0BA4D-725E-C149-8561-7FF84A1E7BD5}" srcOrd="0" destOrd="0" presId="urn:microsoft.com/office/officeart/2005/8/layout/hList1"/>
    <dgm:cxn modelId="{1E74432B-5B21-1C41-98A9-53411ABAAF4C}" srcId="{73589064-4236-0B48-B7BF-290F18C5FA69}" destId="{8CCA1C61-0E7F-C548-910D-26BE891758D0}" srcOrd="3" destOrd="0" parTransId="{C5BAB161-AA1F-7C43-955D-8BD731A6B416}" sibTransId="{2E937D99-E9DA-6E4F-A27C-F83102F059F7}"/>
    <dgm:cxn modelId="{0309373E-DB84-074E-97B9-77F4510ABE2B}" type="presOf" srcId="{8CCA1C61-0E7F-C548-910D-26BE891758D0}" destId="{6755686F-73FD-864C-826D-22EAF9B95BF9}" srcOrd="0" destOrd="3" presId="urn:microsoft.com/office/officeart/2005/8/layout/hList1"/>
    <dgm:cxn modelId="{B671AD46-C1B8-F84A-A579-A613C9A93166}" type="presOf" srcId="{F052C927-45C1-FE4C-BAF9-7EAFF460C578}" destId="{593A3A78-EBFD-EC4B-B69D-73A7AD3FC322}" srcOrd="0" destOrd="0" presId="urn:microsoft.com/office/officeart/2005/8/layout/hList1"/>
    <dgm:cxn modelId="{3C446E49-A537-D742-AA8A-70ECD13E79C6}" srcId="{0C780C18-7BC8-C64E-A61C-28A2C41FB8E3}" destId="{680462F1-7E86-0544-A663-0677D714F81D}" srcOrd="1" destOrd="0" parTransId="{BAAE91C9-E337-144F-BEB3-C8F57C6DB121}" sibTransId="{E6404F9F-172E-8843-BEE7-2094AA54F90E}"/>
    <dgm:cxn modelId="{99C62670-88B9-7649-878B-59B4CD5A0F9F}" type="presOf" srcId="{AD9EC7C9-EEBB-7E49-89C6-C381D7D5A357}" destId="{593A3A78-EBFD-EC4B-B69D-73A7AD3FC322}" srcOrd="0" destOrd="2" presId="urn:microsoft.com/office/officeart/2005/8/layout/hList1"/>
    <dgm:cxn modelId="{EA9D9C56-8A9C-F04F-9C5E-F066FECB5A4B}" type="presOf" srcId="{592D3F80-22CF-E742-B24E-FBD1B9308EC6}" destId="{6755686F-73FD-864C-826D-22EAF9B95BF9}" srcOrd="0" destOrd="0" presId="urn:microsoft.com/office/officeart/2005/8/layout/hList1"/>
    <dgm:cxn modelId="{709A6757-8F3D-9B44-B05E-60ADCFE1D1AB}" type="presOf" srcId="{E1B246EB-C957-EE45-947D-9185B3DC17E2}" destId="{6755686F-73FD-864C-826D-22EAF9B95BF9}" srcOrd="0" destOrd="1" presId="urn:microsoft.com/office/officeart/2005/8/layout/hList1"/>
    <dgm:cxn modelId="{5EAC9F99-0AEE-B14E-B7A5-941CCA323901}" type="presOf" srcId="{73589064-4236-0B48-B7BF-290F18C5FA69}" destId="{3C057601-8048-094C-A8CE-749CD3AB5056}" srcOrd="0" destOrd="0" presId="urn:microsoft.com/office/officeart/2005/8/layout/hList1"/>
    <dgm:cxn modelId="{7D92D09D-6F4E-6C4A-8EE6-0C7FDF304508}" type="presOf" srcId="{5059F672-9DDE-104C-8A6E-928DFFC00452}" destId="{8499C2E9-933F-5046-BF34-DF2E21BE0BCC}" srcOrd="0" destOrd="0" presId="urn:microsoft.com/office/officeart/2005/8/layout/hList1"/>
    <dgm:cxn modelId="{D7EA06A2-9A96-494C-9BB2-0FD5414ACB57}" srcId="{73589064-4236-0B48-B7BF-290F18C5FA69}" destId="{4246E141-B756-5A4A-A1F5-95D5F667792C}" srcOrd="2" destOrd="0" parTransId="{C07647DC-4A6A-CC4F-9B7A-2B97BAB26338}" sibTransId="{E44CFE8B-DD89-E245-BAC3-738FFB9E090B}"/>
    <dgm:cxn modelId="{FC27E9B9-6C75-AE48-A387-6E165A87F2DD}" srcId="{5059F672-9DDE-104C-8A6E-928DFFC00452}" destId="{0C780C18-7BC8-C64E-A61C-28A2C41FB8E3}" srcOrd="1" destOrd="0" parTransId="{6AE8E5F1-5ED2-3748-A78E-2B2F5666193E}" sibTransId="{F7387F67-DF1B-D04A-9EB2-DEF273D6BE64}"/>
    <dgm:cxn modelId="{673160C5-21C7-7248-B9DF-22C531B2A227}" srcId="{73589064-4236-0B48-B7BF-290F18C5FA69}" destId="{E1B246EB-C957-EE45-947D-9185B3DC17E2}" srcOrd="1" destOrd="0" parTransId="{06D7A7E1-AF43-1842-84B4-D4EFCFD0FD3F}" sibTransId="{F6F9EFA7-6A44-3B42-9DC3-7CE9DF373C88}"/>
    <dgm:cxn modelId="{7AF639E7-E729-C14F-AD73-A707C2434741}" type="presOf" srcId="{680462F1-7E86-0544-A663-0677D714F81D}" destId="{593A3A78-EBFD-EC4B-B69D-73A7AD3FC322}" srcOrd="0" destOrd="1" presId="urn:microsoft.com/office/officeart/2005/8/layout/hList1"/>
    <dgm:cxn modelId="{5D1894EB-89BC-8046-88A3-1A36BEDFA834}" srcId="{0C780C18-7BC8-C64E-A61C-28A2C41FB8E3}" destId="{F052C927-45C1-FE4C-BAF9-7EAFF460C578}" srcOrd="0" destOrd="0" parTransId="{31E40BB1-86E3-2146-9318-C3F2D2AA8207}" sibTransId="{32F34BCC-653D-9A4F-87FB-706EC248D6FD}"/>
    <dgm:cxn modelId="{A76186F4-DFF9-5147-9520-0EFC1B32C26F}" srcId="{5059F672-9DDE-104C-8A6E-928DFFC00452}" destId="{73589064-4236-0B48-B7BF-290F18C5FA69}" srcOrd="0" destOrd="0" parTransId="{67835597-FE50-9442-A74C-1E87BC022839}" sibTransId="{3044667F-3D8A-CA4F-BACE-1955EDB90255}"/>
    <dgm:cxn modelId="{2DF77ADE-2E68-4946-A1DA-7B0A0787BEA6}" type="presParOf" srcId="{8499C2E9-933F-5046-BF34-DF2E21BE0BCC}" destId="{161D2EB1-D243-C74E-B808-78407946E469}" srcOrd="0" destOrd="0" presId="urn:microsoft.com/office/officeart/2005/8/layout/hList1"/>
    <dgm:cxn modelId="{6658131E-37FC-2D43-A0E4-5F83E51F9CAA}" type="presParOf" srcId="{161D2EB1-D243-C74E-B808-78407946E469}" destId="{3C057601-8048-094C-A8CE-749CD3AB5056}" srcOrd="0" destOrd="0" presId="urn:microsoft.com/office/officeart/2005/8/layout/hList1"/>
    <dgm:cxn modelId="{C3501096-760B-684C-A85B-75678FCA0360}" type="presParOf" srcId="{161D2EB1-D243-C74E-B808-78407946E469}" destId="{6755686F-73FD-864C-826D-22EAF9B95BF9}" srcOrd="1" destOrd="0" presId="urn:microsoft.com/office/officeart/2005/8/layout/hList1"/>
    <dgm:cxn modelId="{CA277F17-5F29-F64C-A4D4-8739CE3ECFDF}" type="presParOf" srcId="{8499C2E9-933F-5046-BF34-DF2E21BE0BCC}" destId="{6799542E-B127-1A44-B8C9-5F1287006A45}" srcOrd="1" destOrd="0" presId="urn:microsoft.com/office/officeart/2005/8/layout/hList1"/>
    <dgm:cxn modelId="{0154DCAA-ABB5-5E40-8117-E881270BD5C3}" type="presParOf" srcId="{8499C2E9-933F-5046-BF34-DF2E21BE0BCC}" destId="{803367FA-DDB5-D54D-B6A7-7EE09103D018}" srcOrd="2" destOrd="0" presId="urn:microsoft.com/office/officeart/2005/8/layout/hList1"/>
    <dgm:cxn modelId="{6E5A13BF-F5C1-014C-B8DC-365FD1727DEE}" type="presParOf" srcId="{803367FA-DDB5-D54D-B6A7-7EE09103D018}" destId="{92F0BA4D-725E-C149-8561-7FF84A1E7BD5}" srcOrd="0" destOrd="0" presId="urn:microsoft.com/office/officeart/2005/8/layout/hList1"/>
    <dgm:cxn modelId="{25F26440-06F7-3C43-9D97-8CDCC9063888}" type="presParOf" srcId="{803367FA-DDB5-D54D-B6A7-7EE09103D018}" destId="{593A3A78-EBFD-EC4B-B69D-73A7AD3FC32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820B4ED-8D40-AC43-B655-D1FD1F80CABF}" type="doc">
      <dgm:prSet loTypeId="urn:microsoft.com/office/officeart/2005/8/layout/vList3" loCatId="" qsTypeId="urn:microsoft.com/office/officeart/2005/8/quickstyle/simple3" qsCatId="simple" csTypeId="urn:microsoft.com/office/officeart/2005/8/colors/accent2_1" csCatId="accent2" phldr="1"/>
      <dgm:spPr/>
      <dgm:t>
        <a:bodyPr/>
        <a:lstStyle/>
        <a:p>
          <a:endParaRPr lang="en-GB"/>
        </a:p>
      </dgm:t>
    </dgm:pt>
    <dgm:pt modelId="{F907AA88-9AA2-EF4D-BA6C-EC21053C852F}">
      <dgm:prSet phldrT="[Text]" custT="1"/>
      <dgm:spPr/>
      <dgm:t>
        <a:bodyPr/>
        <a:lstStyle/>
        <a:p>
          <a:pPr algn="l"/>
          <a:r>
            <a:rPr lang="en-IN" sz="1400" b="1" dirty="0">
              <a:latin typeface="+mn-lt"/>
            </a:rPr>
            <a:t>Pros</a:t>
          </a:r>
        </a:p>
        <a:p>
          <a:pPr algn="l"/>
          <a:r>
            <a:rPr lang="en-IN" sz="1400" dirty="0">
              <a:latin typeface="+mn-lt"/>
            </a:rPr>
            <a:t>Liquid oxygen can be stored in a portable tank and connected to a Central pipeline. </a:t>
          </a:r>
        </a:p>
        <a:p>
          <a:pPr algn="l"/>
          <a:r>
            <a:rPr lang="en-IN" sz="1400" dirty="0">
              <a:latin typeface="+mn-lt"/>
            </a:rPr>
            <a:t>Liquid oxygen is highly concentrated, so more oxygen can be stored in a smaller tank and ensure continuous supply at high pressure. </a:t>
          </a:r>
        </a:p>
        <a:p>
          <a:pPr algn="l"/>
          <a:r>
            <a:rPr lang="en-IN" sz="1400" dirty="0">
              <a:latin typeface="+mn-lt"/>
            </a:rPr>
            <a:t>Most cost-effective system for larger facilities.</a:t>
          </a:r>
          <a:endParaRPr lang="en-GB" sz="1400" dirty="0">
            <a:latin typeface="+mn-lt"/>
          </a:endParaRPr>
        </a:p>
      </dgm:t>
    </dgm:pt>
    <dgm:pt modelId="{C56DFF35-6421-3E43-BB2F-9A413FD364CC}" type="sibTrans" cxnId="{9659AA07-D99F-EA42-8869-0FB0DD4B64BC}">
      <dgm:prSet/>
      <dgm:spPr/>
      <dgm:t>
        <a:bodyPr/>
        <a:lstStyle/>
        <a:p>
          <a:pPr algn="l"/>
          <a:endParaRPr lang="en-GB" sz="1400">
            <a:latin typeface="+mn-lt"/>
          </a:endParaRPr>
        </a:p>
      </dgm:t>
    </dgm:pt>
    <dgm:pt modelId="{7F2796A2-B64D-2A49-BBEC-95AE6CF240DA}" type="parTrans" cxnId="{9659AA07-D99F-EA42-8869-0FB0DD4B64BC}">
      <dgm:prSet/>
      <dgm:spPr/>
      <dgm:t>
        <a:bodyPr/>
        <a:lstStyle/>
        <a:p>
          <a:pPr algn="l"/>
          <a:endParaRPr lang="en-GB" sz="1400">
            <a:latin typeface="+mn-lt"/>
          </a:endParaRPr>
        </a:p>
      </dgm:t>
    </dgm:pt>
    <dgm:pt modelId="{BFDC39FC-F6FF-A54B-992F-E24B061944E0}">
      <dgm:prSet phldrT="[Text]" custT="1"/>
      <dgm:spPr/>
      <dgm:t>
        <a:bodyPr/>
        <a:lstStyle/>
        <a:p>
          <a:pPr algn="l"/>
          <a:r>
            <a:rPr lang="en-IN" sz="1400" b="1" dirty="0">
              <a:latin typeface="+mn-lt"/>
            </a:rPr>
            <a:t>Cons</a:t>
          </a:r>
        </a:p>
        <a:p>
          <a:pPr algn="l"/>
          <a:r>
            <a:rPr lang="en-IN" sz="1400" dirty="0">
              <a:latin typeface="+mn-lt"/>
            </a:rPr>
            <a:t>Liquid oxygen cannot be stored for more than a week or two because it will vaporize (evaporate) and build-up pressure inside storage tank. </a:t>
          </a:r>
        </a:p>
        <a:p>
          <a:pPr algn="l"/>
          <a:r>
            <a:rPr lang="en-IN" sz="1400" dirty="0">
              <a:latin typeface="+mn-lt"/>
            </a:rPr>
            <a:t>The tank's content must be consumed and refilled often, requiring the scheduling of deliveries. </a:t>
          </a:r>
        </a:p>
        <a:p>
          <a:pPr algn="l"/>
          <a:r>
            <a:rPr lang="en-IN" sz="1400" dirty="0">
              <a:latin typeface="+mn-lt"/>
            </a:rPr>
            <a:t>The system need PESO license compliance.</a:t>
          </a:r>
          <a:endParaRPr lang="en-GB" sz="1400" dirty="0">
            <a:latin typeface="+mn-lt"/>
          </a:endParaRPr>
        </a:p>
      </dgm:t>
    </dgm:pt>
    <dgm:pt modelId="{DB80F10D-D2C1-DE42-BE97-6435C2DC5CEE}" type="sibTrans" cxnId="{EDAC15FF-7E8D-6E4F-8048-3436EED5D60E}">
      <dgm:prSet/>
      <dgm:spPr/>
      <dgm:t>
        <a:bodyPr/>
        <a:lstStyle/>
        <a:p>
          <a:pPr algn="l"/>
          <a:endParaRPr lang="en-GB" sz="1400">
            <a:latin typeface="+mn-lt"/>
          </a:endParaRPr>
        </a:p>
      </dgm:t>
    </dgm:pt>
    <dgm:pt modelId="{55ABF629-9420-CC41-8601-78EC7A502D17}" type="parTrans" cxnId="{EDAC15FF-7E8D-6E4F-8048-3436EED5D60E}">
      <dgm:prSet/>
      <dgm:spPr/>
      <dgm:t>
        <a:bodyPr/>
        <a:lstStyle/>
        <a:p>
          <a:pPr algn="l"/>
          <a:endParaRPr lang="en-GB" sz="1400">
            <a:latin typeface="+mn-lt"/>
          </a:endParaRPr>
        </a:p>
      </dgm:t>
    </dgm:pt>
    <dgm:pt modelId="{AD3C7450-258A-4D41-9DE5-909C383B738C}" type="pres">
      <dgm:prSet presAssocID="{9820B4ED-8D40-AC43-B655-D1FD1F80CABF}" presName="linearFlow" presStyleCnt="0">
        <dgm:presLayoutVars>
          <dgm:dir/>
          <dgm:resizeHandles val="exact"/>
        </dgm:presLayoutVars>
      </dgm:prSet>
      <dgm:spPr/>
    </dgm:pt>
    <dgm:pt modelId="{B6B23EA8-18EA-0540-91C0-330B9CF4EF76}" type="pres">
      <dgm:prSet presAssocID="{F907AA88-9AA2-EF4D-BA6C-EC21053C852F}" presName="composite" presStyleCnt="0"/>
      <dgm:spPr/>
    </dgm:pt>
    <dgm:pt modelId="{1C5F5D86-E1CE-3847-9A08-3B52B761EE68}" type="pres">
      <dgm:prSet presAssocID="{F907AA88-9AA2-EF4D-BA6C-EC21053C852F}" presName="imgShp" presStyleLbl="fgImgPlace1" presStyleIdx="0" presStyleCnt="2"/>
      <dgm:spPr>
        <a:blipFill rotWithShape="1">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0DCC0B17-36C3-C245-B7CB-D7375924D8D8}" type="pres">
      <dgm:prSet presAssocID="{F907AA88-9AA2-EF4D-BA6C-EC21053C852F}" presName="txShp" presStyleLbl="node1" presStyleIdx="0" presStyleCnt="2" custScaleY="133809">
        <dgm:presLayoutVars>
          <dgm:bulletEnabled val="1"/>
        </dgm:presLayoutVars>
      </dgm:prSet>
      <dgm:spPr/>
    </dgm:pt>
    <dgm:pt modelId="{6D8E54D6-0599-CE46-BF33-B83DF9BC9739}" type="pres">
      <dgm:prSet presAssocID="{C56DFF35-6421-3E43-BB2F-9A413FD364CC}" presName="spacing" presStyleCnt="0"/>
      <dgm:spPr/>
    </dgm:pt>
    <dgm:pt modelId="{D2A9DCFF-DC1B-634A-BE1B-D4E151C22389}" type="pres">
      <dgm:prSet presAssocID="{BFDC39FC-F6FF-A54B-992F-E24B061944E0}" presName="composite" presStyleCnt="0"/>
      <dgm:spPr/>
    </dgm:pt>
    <dgm:pt modelId="{E1F7F1E8-F0A0-1C48-962C-3EA244F40A8C}" type="pres">
      <dgm:prSet presAssocID="{BFDC39FC-F6FF-A54B-992F-E24B061944E0}" presName="imgShp" presStyleLbl="fgImgPlace1" presStyleIdx="1" presStyleCnt="2"/>
      <dgm:spPr>
        <a:blipFill rotWithShape="1">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9EBEED39-8276-F748-8104-56CA9E3EA02D}" type="pres">
      <dgm:prSet presAssocID="{BFDC39FC-F6FF-A54B-992F-E24B061944E0}" presName="txShp" presStyleLbl="node1" presStyleIdx="1" presStyleCnt="2" custScaleY="135166">
        <dgm:presLayoutVars>
          <dgm:bulletEnabled val="1"/>
        </dgm:presLayoutVars>
      </dgm:prSet>
      <dgm:spPr/>
    </dgm:pt>
  </dgm:ptLst>
  <dgm:cxnLst>
    <dgm:cxn modelId="{9659AA07-D99F-EA42-8869-0FB0DD4B64BC}" srcId="{9820B4ED-8D40-AC43-B655-D1FD1F80CABF}" destId="{F907AA88-9AA2-EF4D-BA6C-EC21053C852F}" srcOrd="0" destOrd="0" parTransId="{7F2796A2-B64D-2A49-BBEC-95AE6CF240DA}" sibTransId="{C56DFF35-6421-3E43-BB2F-9A413FD364CC}"/>
    <dgm:cxn modelId="{B7F7E257-8443-B94A-9236-3DCD75EE0196}" type="presOf" srcId="{F907AA88-9AA2-EF4D-BA6C-EC21053C852F}" destId="{0DCC0B17-36C3-C245-B7CB-D7375924D8D8}" srcOrd="0" destOrd="0" presId="urn:microsoft.com/office/officeart/2005/8/layout/vList3"/>
    <dgm:cxn modelId="{4D7EFB85-5D82-0B4E-9742-74343727576E}" type="presOf" srcId="{9820B4ED-8D40-AC43-B655-D1FD1F80CABF}" destId="{AD3C7450-258A-4D41-9DE5-909C383B738C}" srcOrd="0" destOrd="0" presId="urn:microsoft.com/office/officeart/2005/8/layout/vList3"/>
    <dgm:cxn modelId="{40C5F7E6-730F-5D44-A21D-8AC27E059D45}" type="presOf" srcId="{BFDC39FC-F6FF-A54B-992F-E24B061944E0}" destId="{9EBEED39-8276-F748-8104-56CA9E3EA02D}" srcOrd="0" destOrd="0" presId="urn:microsoft.com/office/officeart/2005/8/layout/vList3"/>
    <dgm:cxn modelId="{EDAC15FF-7E8D-6E4F-8048-3436EED5D60E}" srcId="{9820B4ED-8D40-AC43-B655-D1FD1F80CABF}" destId="{BFDC39FC-F6FF-A54B-992F-E24B061944E0}" srcOrd="1" destOrd="0" parTransId="{55ABF629-9420-CC41-8601-78EC7A502D17}" sibTransId="{DB80F10D-D2C1-DE42-BE97-6435C2DC5CEE}"/>
    <dgm:cxn modelId="{470B9E83-DB41-4F48-AAD3-43C6D6CEE8CB}" type="presParOf" srcId="{AD3C7450-258A-4D41-9DE5-909C383B738C}" destId="{B6B23EA8-18EA-0540-91C0-330B9CF4EF76}" srcOrd="0" destOrd="0" presId="urn:microsoft.com/office/officeart/2005/8/layout/vList3"/>
    <dgm:cxn modelId="{7C423670-D807-954B-B2E8-BE8084207959}" type="presParOf" srcId="{B6B23EA8-18EA-0540-91C0-330B9CF4EF76}" destId="{1C5F5D86-E1CE-3847-9A08-3B52B761EE68}" srcOrd="0" destOrd="0" presId="urn:microsoft.com/office/officeart/2005/8/layout/vList3"/>
    <dgm:cxn modelId="{18FA7311-0E9B-EC46-911A-A89D38BD0C3B}" type="presParOf" srcId="{B6B23EA8-18EA-0540-91C0-330B9CF4EF76}" destId="{0DCC0B17-36C3-C245-B7CB-D7375924D8D8}" srcOrd="1" destOrd="0" presId="urn:microsoft.com/office/officeart/2005/8/layout/vList3"/>
    <dgm:cxn modelId="{D384371C-8BA0-F54A-8ECC-1CF10C818AFE}" type="presParOf" srcId="{AD3C7450-258A-4D41-9DE5-909C383B738C}" destId="{6D8E54D6-0599-CE46-BF33-B83DF9BC9739}" srcOrd="1" destOrd="0" presId="urn:microsoft.com/office/officeart/2005/8/layout/vList3"/>
    <dgm:cxn modelId="{38F49D56-D999-EC43-9B89-C7BCED578E33}" type="presParOf" srcId="{AD3C7450-258A-4D41-9DE5-909C383B738C}" destId="{D2A9DCFF-DC1B-634A-BE1B-D4E151C22389}" srcOrd="2" destOrd="0" presId="urn:microsoft.com/office/officeart/2005/8/layout/vList3"/>
    <dgm:cxn modelId="{E4445995-759B-894E-8A2F-5FC7355CCDA1}" type="presParOf" srcId="{D2A9DCFF-DC1B-634A-BE1B-D4E151C22389}" destId="{E1F7F1E8-F0A0-1C48-962C-3EA244F40A8C}" srcOrd="0" destOrd="0" presId="urn:microsoft.com/office/officeart/2005/8/layout/vList3"/>
    <dgm:cxn modelId="{14BEE6AC-1DA9-2E41-87AD-645A79C8773B}" type="presParOf" srcId="{D2A9DCFF-DC1B-634A-BE1B-D4E151C22389}" destId="{9EBEED39-8276-F748-8104-56CA9E3EA02D}" srcOrd="1" destOrd="0" presId="urn:microsoft.com/office/officeart/2005/8/layout/vList3"/>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059F672-9DDE-104C-8A6E-928DFFC00452}" type="doc">
      <dgm:prSet loTypeId="urn:microsoft.com/office/officeart/2005/8/layout/hList1" loCatId="" qsTypeId="urn:microsoft.com/office/officeart/2005/8/quickstyle/simple1" qsCatId="simple" csTypeId="urn:microsoft.com/office/officeart/2005/8/colors/accent1_2" csCatId="accent1" phldr="1"/>
      <dgm:spPr/>
      <dgm:t>
        <a:bodyPr/>
        <a:lstStyle/>
        <a:p>
          <a:endParaRPr lang="en-GB"/>
        </a:p>
      </dgm:t>
    </dgm:pt>
    <dgm:pt modelId="{73589064-4236-0B48-B7BF-290F18C5FA69}">
      <dgm:prSet phldrT="[Text]" custT="1"/>
      <dgm:spPr>
        <a:solidFill>
          <a:schemeClr val="accent3"/>
        </a:solidFill>
        <a:ln>
          <a:noFill/>
        </a:ln>
      </dgm:spPr>
      <dgm:t>
        <a:bodyPr/>
        <a:lstStyle/>
        <a:p>
          <a:r>
            <a:rPr lang="en-GB" sz="1800" b="1" dirty="0">
              <a:latin typeface="Calibri" panose="020F0502020204030204" pitchFamily="34" charset="0"/>
            </a:rPr>
            <a:t>Pros</a:t>
          </a:r>
        </a:p>
      </dgm:t>
    </dgm:pt>
    <dgm:pt modelId="{67835597-FE50-9442-A74C-1E87BC022839}" type="parTrans" cxnId="{A76186F4-DFF9-5147-9520-0EFC1B32C26F}">
      <dgm:prSet/>
      <dgm:spPr/>
      <dgm:t>
        <a:bodyPr/>
        <a:lstStyle/>
        <a:p>
          <a:endParaRPr lang="en-GB" sz="1600"/>
        </a:p>
      </dgm:t>
    </dgm:pt>
    <dgm:pt modelId="{3044667F-3D8A-CA4F-BACE-1955EDB90255}" type="sibTrans" cxnId="{A76186F4-DFF9-5147-9520-0EFC1B32C26F}">
      <dgm:prSet/>
      <dgm:spPr/>
      <dgm:t>
        <a:bodyPr/>
        <a:lstStyle/>
        <a:p>
          <a:endParaRPr lang="en-GB" sz="1600"/>
        </a:p>
      </dgm:t>
    </dgm:pt>
    <dgm:pt modelId="{592D3F80-22CF-E742-B24E-FBD1B9308EC6}">
      <dgm:prSet phldrT="[Text]" custT="1"/>
      <dgm:spPr>
        <a:solidFill>
          <a:schemeClr val="accent3">
            <a:lumMod val="20000"/>
            <a:lumOff val="80000"/>
            <a:alpha val="90000"/>
          </a:schemeClr>
        </a:solidFill>
        <a:ln>
          <a:noFill/>
        </a:ln>
      </dgm:spPr>
      <dgm:t>
        <a:bodyPr/>
        <a:lstStyle/>
        <a:p>
          <a:r>
            <a:rPr lang="en-IN" sz="1600" dirty="0">
              <a:latin typeface="Calibri" panose="020F0502020204030204" pitchFamily="34" charset="0"/>
            </a:rPr>
            <a:t>Installation does not need permission from any authority like Petroleum and Explosives Safety Organization (PESO).</a:t>
          </a:r>
          <a:endParaRPr lang="en-GB" sz="1600" dirty="0">
            <a:latin typeface="Calibri" panose="020F0502020204030204" pitchFamily="34" charset="0"/>
          </a:endParaRPr>
        </a:p>
      </dgm:t>
    </dgm:pt>
    <dgm:pt modelId="{8B819013-3253-C84D-808E-17B2D14106A8}" type="parTrans" cxnId="{9BE24300-8045-7E4C-85ED-A1EAEDDAAF77}">
      <dgm:prSet/>
      <dgm:spPr/>
      <dgm:t>
        <a:bodyPr/>
        <a:lstStyle/>
        <a:p>
          <a:endParaRPr lang="en-GB" sz="1600"/>
        </a:p>
      </dgm:t>
    </dgm:pt>
    <dgm:pt modelId="{A45EC796-A715-F146-A288-4D0F487FE49D}" type="sibTrans" cxnId="{9BE24300-8045-7E4C-85ED-A1EAEDDAAF77}">
      <dgm:prSet/>
      <dgm:spPr/>
      <dgm:t>
        <a:bodyPr/>
        <a:lstStyle/>
        <a:p>
          <a:endParaRPr lang="en-GB" sz="1600"/>
        </a:p>
      </dgm:t>
    </dgm:pt>
    <dgm:pt modelId="{0C780C18-7BC8-C64E-A61C-28A2C41FB8E3}">
      <dgm:prSet phldrT="[Text]" custT="1"/>
      <dgm:spPr/>
      <dgm:t>
        <a:bodyPr/>
        <a:lstStyle/>
        <a:p>
          <a:r>
            <a:rPr lang="en-GB" sz="1600" b="1" dirty="0"/>
            <a:t>Cons</a:t>
          </a:r>
        </a:p>
      </dgm:t>
    </dgm:pt>
    <dgm:pt modelId="{6AE8E5F1-5ED2-3748-A78E-2B2F5666193E}" type="parTrans" cxnId="{FC27E9B9-6C75-AE48-A387-6E165A87F2DD}">
      <dgm:prSet/>
      <dgm:spPr/>
      <dgm:t>
        <a:bodyPr/>
        <a:lstStyle/>
        <a:p>
          <a:endParaRPr lang="en-GB" sz="1600"/>
        </a:p>
      </dgm:t>
    </dgm:pt>
    <dgm:pt modelId="{F7387F67-DF1B-D04A-9EB2-DEF273D6BE64}" type="sibTrans" cxnId="{FC27E9B9-6C75-AE48-A387-6E165A87F2DD}">
      <dgm:prSet/>
      <dgm:spPr/>
      <dgm:t>
        <a:bodyPr/>
        <a:lstStyle/>
        <a:p>
          <a:endParaRPr lang="en-GB" sz="1600"/>
        </a:p>
      </dgm:t>
    </dgm:pt>
    <dgm:pt modelId="{F052C927-45C1-FE4C-BAF9-7EAFF460C578}">
      <dgm:prSet custT="1"/>
      <dgm:spPr/>
      <dgm:t>
        <a:bodyPr/>
        <a:lstStyle/>
        <a:p>
          <a:r>
            <a:rPr lang="en-IN" sz="1600" dirty="0">
              <a:latin typeface="Calibri" panose="020F0502020204030204" pitchFamily="34" charset="0"/>
            </a:rPr>
            <a:t>Recommended as primary source for small size hospital up to 30 beds.</a:t>
          </a:r>
        </a:p>
      </dgm:t>
    </dgm:pt>
    <dgm:pt modelId="{31E40BB1-86E3-2146-9318-C3F2D2AA8207}" type="parTrans" cxnId="{5D1894EB-89BC-8046-88A3-1A36BEDFA834}">
      <dgm:prSet/>
      <dgm:spPr/>
      <dgm:t>
        <a:bodyPr/>
        <a:lstStyle/>
        <a:p>
          <a:endParaRPr lang="en-GB" sz="1600"/>
        </a:p>
      </dgm:t>
    </dgm:pt>
    <dgm:pt modelId="{32F34BCC-653D-9A4F-87FB-706EC248D6FD}" type="sibTrans" cxnId="{5D1894EB-89BC-8046-88A3-1A36BEDFA834}">
      <dgm:prSet/>
      <dgm:spPr/>
      <dgm:t>
        <a:bodyPr/>
        <a:lstStyle/>
        <a:p>
          <a:endParaRPr lang="en-GB" sz="1600"/>
        </a:p>
      </dgm:t>
    </dgm:pt>
    <dgm:pt modelId="{68A6D9F7-EBF0-264A-92F4-E15469515B21}">
      <dgm:prSet custT="1"/>
      <dgm:spPr/>
      <dgm:t>
        <a:bodyPr/>
        <a:lstStyle/>
        <a:p>
          <a:r>
            <a:rPr lang="en-IN" sz="1600" dirty="0">
              <a:latin typeface="Calibri" panose="020F0502020204030204" pitchFamily="34" charset="0"/>
            </a:rPr>
            <a:t>Space accommodating as construction is long and linear.</a:t>
          </a:r>
        </a:p>
      </dgm:t>
    </dgm:pt>
    <dgm:pt modelId="{9F59F9E3-2919-3542-96E0-0051B9D9D675}" type="parTrans" cxnId="{AFE6B5CC-8560-F345-8D1C-37810851C81C}">
      <dgm:prSet/>
      <dgm:spPr/>
      <dgm:t>
        <a:bodyPr/>
        <a:lstStyle/>
        <a:p>
          <a:endParaRPr lang="en-GB" sz="1600"/>
        </a:p>
      </dgm:t>
    </dgm:pt>
    <dgm:pt modelId="{4EB75F8B-14DD-D145-8DF3-9204C852F092}" type="sibTrans" cxnId="{AFE6B5CC-8560-F345-8D1C-37810851C81C}">
      <dgm:prSet/>
      <dgm:spPr/>
      <dgm:t>
        <a:bodyPr/>
        <a:lstStyle/>
        <a:p>
          <a:endParaRPr lang="en-GB" sz="1600"/>
        </a:p>
      </dgm:t>
    </dgm:pt>
    <dgm:pt modelId="{E6769477-3A9C-1C43-80F2-7A6F5E932F94}">
      <dgm:prSet custT="1"/>
      <dgm:spPr/>
      <dgm:t>
        <a:bodyPr/>
        <a:lstStyle/>
        <a:p>
          <a:r>
            <a:rPr lang="en-IN" sz="1600" dirty="0">
              <a:latin typeface="Calibri" panose="020F0502020204030204" pitchFamily="34" charset="0"/>
            </a:rPr>
            <a:t>Easy setup, can also be used bedside without medical gas pipe system</a:t>
          </a:r>
          <a:r>
            <a:rPr lang="en-IN" sz="1600" dirty="0"/>
            <a:t>.</a:t>
          </a:r>
        </a:p>
      </dgm:t>
    </dgm:pt>
    <dgm:pt modelId="{4925A279-673A-B643-A5C3-38560AF22E5B}" type="parTrans" cxnId="{BF476489-14AF-7542-8366-20F6E527944F}">
      <dgm:prSet/>
      <dgm:spPr/>
      <dgm:t>
        <a:bodyPr/>
        <a:lstStyle/>
        <a:p>
          <a:endParaRPr lang="en-GB" sz="1600"/>
        </a:p>
      </dgm:t>
    </dgm:pt>
    <dgm:pt modelId="{FC06BEC9-2F05-E043-B55B-7752B11D01EA}" type="sibTrans" cxnId="{BF476489-14AF-7542-8366-20F6E527944F}">
      <dgm:prSet/>
      <dgm:spPr/>
      <dgm:t>
        <a:bodyPr/>
        <a:lstStyle/>
        <a:p>
          <a:endParaRPr lang="en-GB" sz="1600"/>
        </a:p>
      </dgm:t>
    </dgm:pt>
    <dgm:pt modelId="{2AB57276-53BD-914E-92C9-DCD2AF12FB3E}">
      <dgm:prSet custT="1"/>
      <dgm:spPr/>
      <dgm:t>
        <a:bodyPr/>
        <a:lstStyle/>
        <a:p>
          <a:r>
            <a:rPr lang="en-IN" sz="1600" dirty="0">
              <a:latin typeface="Calibri" panose="020F0502020204030204" pitchFamily="34" charset="0"/>
            </a:rPr>
            <a:t>Not recommended (specially in current pandemic) as primary source to ICU's.</a:t>
          </a:r>
        </a:p>
      </dgm:t>
    </dgm:pt>
    <dgm:pt modelId="{A79AFF26-9F8C-904C-8B87-16D4D6D9E391}" type="parTrans" cxnId="{23B07437-01C8-744E-98CB-6E3281E870F7}">
      <dgm:prSet/>
      <dgm:spPr/>
      <dgm:t>
        <a:bodyPr/>
        <a:lstStyle/>
        <a:p>
          <a:endParaRPr lang="en-GB" sz="1600"/>
        </a:p>
      </dgm:t>
    </dgm:pt>
    <dgm:pt modelId="{76293458-5964-804E-94DE-617C21F14B98}" type="sibTrans" cxnId="{23B07437-01C8-744E-98CB-6E3281E870F7}">
      <dgm:prSet/>
      <dgm:spPr/>
      <dgm:t>
        <a:bodyPr/>
        <a:lstStyle/>
        <a:p>
          <a:endParaRPr lang="en-GB" sz="1600"/>
        </a:p>
      </dgm:t>
    </dgm:pt>
    <dgm:pt modelId="{E2781338-1C20-AF4F-9757-64C666182E19}">
      <dgm:prSet custT="1"/>
      <dgm:spPr/>
      <dgm:t>
        <a:bodyPr/>
        <a:lstStyle/>
        <a:p>
          <a:r>
            <a:rPr lang="en-IN" sz="1600" dirty="0">
              <a:latin typeface="Calibri" panose="020F0502020204030204" pitchFamily="34" charset="0"/>
            </a:rPr>
            <a:t>Erratic supply chain.</a:t>
          </a:r>
        </a:p>
      </dgm:t>
    </dgm:pt>
    <dgm:pt modelId="{821F09E0-B0ED-4540-B05F-1185DD1D109C}" type="parTrans" cxnId="{F57FCB30-3F83-4D4D-8B47-ADCAC4ABBC0F}">
      <dgm:prSet/>
      <dgm:spPr/>
      <dgm:t>
        <a:bodyPr/>
        <a:lstStyle/>
        <a:p>
          <a:endParaRPr lang="en-GB" sz="1600"/>
        </a:p>
      </dgm:t>
    </dgm:pt>
    <dgm:pt modelId="{89D1B275-99A8-1F46-AF41-6A7C5F377F9B}" type="sibTrans" cxnId="{F57FCB30-3F83-4D4D-8B47-ADCAC4ABBC0F}">
      <dgm:prSet/>
      <dgm:spPr/>
      <dgm:t>
        <a:bodyPr/>
        <a:lstStyle/>
        <a:p>
          <a:endParaRPr lang="en-GB" sz="1600"/>
        </a:p>
      </dgm:t>
    </dgm:pt>
    <dgm:pt modelId="{203117A1-D515-1844-8055-3A6B3D9716DA}">
      <dgm:prSet custT="1"/>
      <dgm:spPr/>
      <dgm:t>
        <a:bodyPr/>
        <a:lstStyle/>
        <a:p>
          <a:r>
            <a:rPr lang="en-IN" sz="1600" dirty="0">
              <a:latin typeface="Calibri" panose="020F0502020204030204" pitchFamily="34" charset="0"/>
            </a:rPr>
            <a:t>Chances of carrying infection.</a:t>
          </a:r>
        </a:p>
      </dgm:t>
    </dgm:pt>
    <dgm:pt modelId="{03F23A75-594E-DF41-8705-C6CCECEBA18C}" type="parTrans" cxnId="{742A9079-68C9-F342-A283-AE86FD959996}">
      <dgm:prSet/>
      <dgm:spPr/>
      <dgm:t>
        <a:bodyPr/>
        <a:lstStyle/>
        <a:p>
          <a:endParaRPr lang="en-GB" sz="1600"/>
        </a:p>
      </dgm:t>
    </dgm:pt>
    <dgm:pt modelId="{51664914-8299-9F49-828E-687985ABB925}" type="sibTrans" cxnId="{742A9079-68C9-F342-A283-AE86FD959996}">
      <dgm:prSet/>
      <dgm:spPr/>
      <dgm:t>
        <a:bodyPr/>
        <a:lstStyle/>
        <a:p>
          <a:endParaRPr lang="en-GB" sz="1600"/>
        </a:p>
      </dgm:t>
    </dgm:pt>
    <dgm:pt modelId="{8499C2E9-933F-5046-BF34-DF2E21BE0BCC}" type="pres">
      <dgm:prSet presAssocID="{5059F672-9DDE-104C-8A6E-928DFFC00452}" presName="Name0" presStyleCnt="0">
        <dgm:presLayoutVars>
          <dgm:dir/>
          <dgm:animLvl val="lvl"/>
          <dgm:resizeHandles val="exact"/>
        </dgm:presLayoutVars>
      </dgm:prSet>
      <dgm:spPr/>
    </dgm:pt>
    <dgm:pt modelId="{161D2EB1-D243-C74E-B808-78407946E469}" type="pres">
      <dgm:prSet presAssocID="{73589064-4236-0B48-B7BF-290F18C5FA69}" presName="composite" presStyleCnt="0"/>
      <dgm:spPr/>
    </dgm:pt>
    <dgm:pt modelId="{3C057601-8048-094C-A8CE-749CD3AB5056}" type="pres">
      <dgm:prSet presAssocID="{73589064-4236-0B48-B7BF-290F18C5FA69}" presName="parTx" presStyleLbl="alignNode1" presStyleIdx="0" presStyleCnt="2" custScaleY="75777">
        <dgm:presLayoutVars>
          <dgm:chMax val="0"/>
          <dgm:chPref val="0"/>
          <dgm:bulletEnabled val="1"/>
        </dgm:presLayoutVars>
      </dgm:prSet>
      <dgm:spPr/>
    </dgm:pt>
    <dgm:pt modelId="{6755686F-73FD-864C-826D-22EAF9B95BF9}" type="pres">
      <dgm:prSet presAssocID="{73589064-4236-0B48-B7BF-290F18C5FA69}" presName="desTx" presStyleLbl="alignAccFollowNode1" presStyleIdx="0" presStyleCnt="2">
        <dgm:presLayoutVars>
          <dgm:bulletEnabled val="1"/>
        </dgm:presLayoutVars>
      </dgm:prSet>
      <dgm:spPr/>
    </dgm:pt>
    <dgm:pt modelId="{6799542E-B127-1A44-B8C9-5F1287006A45}" type="pres">
      <dgm:prSet presAssocID="{3044667F-3D8A-CA4F-BACE-1955EDB90255}" presName="space" presStyleCnt="0"/>
      <dgm:spPr/>
    </dgm:pt>
    <dgm:pt modelId="{803367FA-DDB5-D54D-B6A7-7EE09103D018}" type="pres">
      <dgm:prSet presAssocID="{0C780C18-7BC8-C64E-A61C-28A2C41FB8E3}" presName="composite" presStyleCnt="0"/>
      <dgm:spPr/>
    </dgm:pt>
    <dgm:pt modelId="{92F0BA4D-725E-C149-8561-7FF84A1E7BD5}" type="pres">
      <dgm:prSet presAssocID="{0C780C18-7BC8-C64E-A61C-28A2C41FB8E3}" presName="parTx" presStyleLbl="alignNode1" presStyleIdx="1" presStyleCnt="2" custScaleX="89658" custScaleY="80153" custLinFactNeighborX="3962" custLinFactNeighborY="-3227">
        <dgm:presLayoutVars>
          <dgm:chMax val="0"/>
          <dgm:chPref val="0"/>
          <dgm:bulletEnabled val="1"/>
        </dgm:presLayoutVars>
      </dgm:prSet>
      <dgm:spPr/>
    </dgm:pt>
    <dgm:pt modelId="{593A3A78-EBFD-EC4B-B69D-73A7AD3FC322}" type="pres">
      <dgm:prSet presAssocID="{0C780C18-7BC8-C64E-A61C-28A2C41FB8E3}" presName="desTx" presStyleLbl="alignAccFollowNode1" presStyleIdx="1" presStyleCnt="2" custScaleX="96447">
        <dgm:presLayoutVars>
          <dgm:bulletEnabled val="1"/>
        </dgm:presLayoutVars>
      </dgm:prSet>
      <dgm:spPr/>
    </dgm:pt>
  </dgm:ptLst>
  <dgm:cxnLst>
    <dgm:cxn modelId="{9BE24300-8045-7E4C-85ED-A1EAEDDAAF77}" srcId="{73589064-4236-0B48-B7BF-290F18C5FA69}" destId="{592D3F80-22CF-E742-B24E-FBD1B9308EC6}" srcOrd="0" destOrd="0" parTransId="{8B819013-3253-C84D-808E-17B2D14106A8}" sibTransId="{A45EC796-A715-F146-A288-4D0F487FE49D}"/>
    <dgm:cxn modelId="{8F520806-4007-D840-9BAB-9ED011955DDF}" type="presOf" srcId="{203117A1-D515-1844-8055-3A6B3D9716DA}" destId="{593A3A78-EBFD-EC4B-B69D-73A7AD3FC322}" srcOrd="0" destOrd="3" presId="urn:microsoft.com/office/officeart/2005/8/layout/hList1"/>
    <dgm:cxn modelId="{748D562A-43F6-1F4D-AD44-6B49C4811971}" type="presOf" srcId="{0C780C18-7BC8-C64E-A61C-28A2C41FB8E3}" destId="{92F0BA4D-725E-C149-8561-7FF84A1E7BD5}" srcOrd="0" destOrd="0" presId="urn:microsoft.com/office/officeart/2005/8/layout/hList1"/>
    <dgm:cxn modelId="{F57FCB30-3F83-4D4D-8B47-ADCAC4ABBC0F}" srcId="{0C780C18-7BC8-C64E-A61C-28A2C41FB8E3}" destId="{E2781338-1C20-AF4F-9757-64C666182E19}" srcOrd="2" destOrd="0" parTransId="{821F09E0-B0ED-4540-B05F-1185DD1D109C}" sibTransId="{89D1B275-99A8-1F46-AF41-6A7C5F377F9B}"/>
    <dgm:cxn modelId="{23B07437-01C8-744E-98CB-6E3281E870F7}" srcId="{0C780C18-7BC8-C64E-A61C-28A2C41FB8E3}" destId="{2AB57276-53BD-914E-92C9-DCD2AF12FB3E}" srcOrd="1" destOrd="0" parTransId="{A79AFF26-9F8C-904C-8B87-16D4D6D9E391}" sibTransId="{76293458-5964-804E-94DE-617C21F14B98}"/>
    <dgm:cxn modelId="{1FD03242-E273-864F-B17D-C951400F0245}" type="presOf" srcId="{68A6D9F7-EBF0-264A-92F4-E15469515B21}" destId="{6755686F-73FD-864C-826D-22EAF9B95BF9}" srcOrd="0" destOrd="1" presId="urn:microsoft.com/office/officeart/2005/8/layout/hList1"/>
    <dgm:cxn modelId="{B671AD46-C1B8-F84A-A579-A613C9A93166}" type="presOf" srcId="{F052C927-45C1-FE4C-BAF9-7EAFF460C578}" destId="{593A3A78-EBFD-EC4B-B69D-73A7AD3FC322}" srcOrd="0" destOrd="0" presId="urn:microsoft.com/office/officeart/2005/8/layout/hList1"/>
    <dgm:cxn modelId="{58212F6A-B2CE-094B-82F3-E27955293BF4}" type="presOf" srcId="{E2781338-1C20-AF4F-9757-64C666182E19}" destId="{593A3A78-EBFD-EC4B-B69D-73A7AD3FC322}" srcOrd="0" destOrd="2" presId="urn:microsoft.com/office/officeart/2005/8/layout/hList1"/>
    <dgm:cxn modelId="{EA9D9C56-8A9C-F04F-9C5E-F066FECB5A4B}" type="presOf" srcId="{592D3F80-22CF-E742-B24E-FBD1B9308EC6}" destId="{6755686F-73FD-864C-826D-22EAF9B95BF9}" srcOrd="0" destOrd="0" presId="urn:microsoft.com/office/officeart/2005/8/layout/hList1"/>
    <dgm:cxn modelId="{742A9079-68C9-F342-A283-AE86FD959996}" srcId="{0C780C18-7BC8-C64E-A61C-28A2C41FB8E3}" destId="{203117A1-D515-1844-8055-3A6B3D9716DA}" srcOrd="3" destOrd="0" parTransId="{03F23A75-594E-DF41-8705-C6CCECEBA18C}" sibTransId="{51664914-8299-9F49-828E-687985ABB925}"/>
    <dgm:cxn modelId="{BF476489-14AF-7542-8366-20F6E527944F}" srcId="{73589064-4236-0B48-B7BF-290F18C5FA69}" destId="{E6769477-3A9C-1C43-80F2-7A6F5E932F94}" srcOrd="2" destOrd="0" parTransId="{4925A279-673A-B643-A5C3-38560AF22E5B}" sibTransId="{FC06BEC9-2F05-E043-B55B-7752B11D01EA}"/>
    <dgm:cxn modelId="{5EAC9F99-0AEE-B14E-B7A5-941CCA323901}" type="presOf" srcId="{73589064-4236-0B48-B7BF-290F18C5FA69}" destId="{3C057601-8048-094C-A8CE-749CD3AB5056}" srcOrd="0" destOrd="0" presId="urn:microsoft.com/office/officeart/2005/8/layout/hList1"/>
    <dgm:cxn modelId="{7D92D09D-6F4E-6C4A-8EE6-0C7FDF304508}" type="presOf" srcId="{5059F672-9DDE-104C-8A6E-928DFFC00452}" destId="{8499C2E9-933F-5046-BF34-DF2E21BE0BCC}" srcOrd="0" destOrd="0" presId="urn:microsoft.com/office/officeart/2005/8/layout/hList1"/>
    <dgm:cxn modelId="{B1225AB4-FC79-784D-9760-B3F753947837}" type="presOf" srcId="{2AB57276-53BD-914E-92C9-DCD2AF12FB3E}" destId="{593A3A78-EBFD-EC4B-B69D-73A7AD3FC322}" srcOrd="0" destOrd="1" presId="urn:microsoft.com/office/officeart/2005/8/layout/hList1"/>
    <dgm:cxn modelId="{FC27E9B9-6C75-AE48-A387-6E165A87F2DD}" srcId="{5059F672-9DDE-104C-8A6E-928DFFC00452}" destId="{0C780C18-7BC8-C64E-A61C-28A2C41FB8E3}" srcOrd="1" destOrd="0" parTransId="{6AE8E5F1-5ED2-3748-A78E-2B2F5666193E}" sibTransId="{F7387F67-DF1B-D04A-9EB2-DEF273D6BE64}"/>
    <dgm:cxn modelId="{AFE6B5CC-8560-F345-8D1C-37810851C81C}" srcId="{73589064-4236-0B48-B7BF-290F18C5FA69}" destId="{68A6D9F7-EBF0-264A-92F4-E15469515B21}" srcOrd="1" destOrd="0" parTransId="{9F59F9E3-2919-3542-96E0-0051B9D9D675}" sibTransId="{4EB75F8B-14DD-D145-8DF3-9204C852F092}"/>
    <dgm:cxn modelId="{C8CDADCF-C088-A445-A43E-9C4C64815FB1}" type="presOf" srcId="{E6769477-3A9C-1C43-80F2-7A6F5E932F94}" destId="{6755686F-73FD-864C-826D-22EAF9B95BF9}" srcOrd="0" destOrd="2" presId="urn:microsoft.com/office/officeart/2005/8/layout/hList1"/>
    <dgm:cxn modelId="{5D1894EB-89BC-8046-88A3-1A36BEDFA834}" srcId="{0C780C18-7BC8-C64E-A61C-28A2C41FB8E3}" destId="{F052C927-45C1-FE4C-BAF9-7EAFF460C578}" srcOrd="0" destOrd="0" parTransId="{31E40BB1-86E3-2146-9318-C3F2D2AA8207}" sibTransId="{32F34BCC-653D-9A4F-87FB-706EC248D6FD}"/>
    <dgm:cxn modelId="{A76186F4-DFF9-5147-9520-0EFC1B32C26F}" srcId="{5059F672-9DDE-104C-8A6E-928DFFC00452}" destId="{73589064-4236-0B48-B7BF-290F18C5FA69}" srcOrd="0" destOrd="0" parTransId="{67835597-FE50-9442-A74C-1E87BC022839}" sibTransId="{3044667F-3D8A-CA4F-BACE-1955EDB90255}"/>
    <dgm:cxn modelId="{2DF77ADE-2E68-4946-A1DA-7B0A0787BEA6}" type="presParOf" srcId="{8499C2E9-933F-5046-BF34-DF2E21BE0BCC}" destId="{161D2EB1-D243-C74E-B808-78407946E469}" srcOrd="0" destOrd="0" presId="urn:microsoft.com/office/officeart/2005/8/layout/hList1"/>
    <dgm:cxn modelId="{6658131E-37FC-2D43-A0E4-5F83E51F9CAA}" type="presParOf" srcId="{161D2EB1-D243-C74E-B808-78407946E469}" destId="{3C057601-8048-094C-A8CE-749CD3AB5056}" srcOrd="0" destOrd="0" presId="urn:microsoft.com/office/officeart/2005/8/layout/hList1"/>
    <dgm:cxn modelId="{C3501096-760B-684C-A85B-75678FCA0360}" type="presParOf" srcId="{161D2EB1-D243-C74E-B808-78407946E469}" destId="{6755686F-73FD-864C-826D-22EAF9B95BF9}" srcOrd="1" destOrd="0" presId="urn:microsoft.com/office/officeart/2005/8/layout/hList1"/>
    <dgm:cxn modelId="{CA277F17-5F29-F64C-A4D4-8739CE3ECFDF}" type="presParOf" srcId="{8499C2E9-933F-5046-BF34-DF2E21BE0BCC}" destId="{6799542E-B127-1A44-B8C9-5F1287006A45}" srcOrd="1" destOrd="0" presId="urn:microsoft.com/office/officeart/2005/8/layout/hList1"/>
    <dgm:cxn modelId="{0154DCAA-ABB5-5E40-8117-E881270BD5C3}" type="presParOf" srcId="{8499C2E9-933F-5046-BF34-DF2E21BE0BCC}" destId="{803367FA-DDB5-D54D-B6A7-7EE09103D018}" srcOrd="2" destOrd="0" presId="urn:microsoft.com/office/officeart/2005/8/layout/hList1"/>
    <dgm:cxn modelId="{6E5A13BF-F5C1-014C-B8DC-365FD1727DEE}" type="presParOf" srcId="{803367FA-DDB5-D54D-B6A7-7EE09103D018}" destId="{92F0BA4D-725E-C149-8561-7FF84A1E7BD5}" srcOrd="0" destOrd="0" presId="urn:microsoft.com/office/officeart/2005/8/layout/hList1"/>
    <dgm:cxn modelId="{25F26440-06F7-3C43-9D97-8CDCC9063888}" type="presParOf" srcId="{803367FA-DDB5-D54D-B6A7-7EE09103D018}" destId="{593A3A78-EBFD-EC4B-B69D-73A7AD3FC322}" srcOrd="1" destOrd="0" presId="urn:microsoft.com/office/officeart/2005/8/layout/h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84D1827-21C0-E34F-BC81-7B04DDEDDDDF}" type="doc">
      <dgm:prSet loTypeId="urn:microsoft.com/office/officeart/2005/8/layout/pList2" loCatId="" qsTypeId="urn:microsoft.com/office/officeart/2005/8/quickstyle/simple2" qsCatId="simple" csTypeId="urn:microsoft.com/office/officeart/2005/8/colors/accent2_2" csCatId="accent2" phldr="1"/>
      <dgm:spPr/>
    </dgm:pt>
    <dgm:pt modelId="{405B19B2-3D43-0442-AD1B-1A69877D86ED}">
      <dgm:prSet phldrT="[Text]" custT="1"/>
      <dgm:spPr>
        <a:solidFill>
          <a:schemeClr val="accent2">
            <a:lumMod val="75000"/>
          </a:schemeClr>
        </a:solidFill>
      </dgm:spPr>
      <dgm:t>
        <a:bodyPr/>
        <a:lstStyle/>
        <a:p>
          <a:pPr algn="just">
            <a:buClrTx/>
            <a:buSzTx/>
            <a:buFont typeface="Arial" panose="020B0604020202020204" pitchFamily="34" charset="0"/>
            <a:buChar char="•"/>
          </a:pPr>
          <a:r>
            <a:rPr kumimoji="0" lang="en-US" sz="1400" b="0" i="0" u="none" strike="noStrike" cap="none" spc="0" normalizeH="0" baseline="0" noProof="0" dirty="0">
              <a:ln/>
              <a:effectLst/>
              <a:uLnTx/>
              <a:uFillTx/>
              <a:latin typeface="Calibri" panose="020F0502020204030204" pitchFamily="34" charset="0"/>
              <a:ea typeface="+mn-ea"/>
              <a:cs typeface="+mn-cs"/>
            </a:rPr>
            <a:t>Oxygen mask – covers lower part of face</a:t>
          </a:r>
        </a:p>
        <a:p>
          <a:pPr algn="l">
            <a:buClrTx/>
            <a:buSzTx/>
            <a:buFont typeface="Arial" panose="020B0604020202020204" pitchFamily="34" charset="0"/>
            <a:buChar char="•"/>
          </a:pPr>
          <a:endParaRPr lang="en-GB" sz="1400" dirty="0">
            <a:latin typeface="Calibri" panose="020F0502020204030204" pitchFamily="34" charset="0"/>
          </a:endParaRPr>
        </a:p>
      </dgm:t>
    </dgm:pt>
    <dgm:pt modelId="{E34C365D-BB1A-DE48-B2AF-848331347DDA}" type="parTrans" cxnId="{85160740-2C56-1248-82E9-86FA28B363EF}">
      <dgm:prSet/>
      <dgm:spPr/>
      <dgm:t>
        <a:bodyPr/>
        <a:lstStyle/>
        <a:p>
          <a:endParaRPr lang="en-GB" sz="2000"/>
        </a:p>
      </dgm:t>
    </dgm:pt>
    <dgm:pt modelId="{6B7B1E82-2583-5A45-8932-3E32B8B3E8D7}" type="sibTrans" cxnId="{85160740-2C56-1248-82E9-86FA28B363EF}">
      <dgm:prSet/>
      <dgm:spPr/>
      <dgm:t>
        <a:bodyPr/>
        <a:lstStyle/>
        <a:p>
          <a:endParaRPr lang="en-GB" sz="2000"/>
        </a:p>
      </dgm:t>
    </dgm:pt>
    <dgm:pt modelId="{98541B92-29D5-9B49-8B32-74743630B964}">
      <dgm:prSet phldrT="[Text]" custT="1"/>
      <dgm:spPr>
        <a:solidFill>
          <a:schemeClr val="accent2">
            <a:lumMod val="75000"/>
          </a:schemeClr>
        </a:solidFill>
      </dgm:spPr>
      <dgm:t>
        <a:bodyPr/>
        <a:lstStyle/>
        <a:p>
          <a:pPr algn="l">
            <a:buClrTx/>
            <a:buSzTx/>
            <a:buFont typeface="Arial" panose="020B0604020202020204" pitchFamily="34" charset="0"/>
            <a:buChar char="•"/>
          </a:pPr>
          <a:r>
            <a:rPr kumimoji="0" lang="en-US" sz="1400" b="0" i="0" u="none" strike="noStrike" cap="none" spc="0" normalizeH="0" baseline="0" noProof="0" dirty="0">
              <a:ln/>
              <a:effectLst/>
              <a:uLnTx/>
              <a:uFillTx/>
              <a:latin typeface="Calibri" panose="020F0502020204030204" pitchFamily="34" charset="0"/>
              <a:ea typeface="+mn-ea"/>
              <a:cs typeface="+mn-cs"/>
            </a:rPr>
            <a:t>Non-rebreather mask (NRBM) – can deliver higher concentrations of oxygen than cannula and regular mask</a:t>
          </a:r>
        </a:p>
        <a:p>
          <a:pPr algn="l">
            <a:buClrTx/>
            <a:buSzTx/>
            <a:buFont typeface="Arial" panose="020B0604020202020204" pitchFamily="34" charset="0"/>
            <a:buChar char="•"/>
          </a:pPr>
          <a:r>
            <a:rPr kumimoji="0" lang="en-US" sz="1400" b="0" i="0" u="none" strike="noStrike" cap="none" spc="0" normalizeH="0" baseline="0" noProof="0" dirty="0">
              <a:ln/>
              <a:effectLst/>
              <a:uLnTx/>
              <a:uFillTx/>
              <a:latin typeface="Calibri" panose="020F0502020204030204" pitchFamily="34" charset="0"/>
              <a:ea typeface="+mn-ea"/>
              <a:cs typeface="+mn-cs"/>
            </a:rPr>
            <a:t>Exhaled air exits through 1 way valves thus preventing any rebreathing of exhaled air or room air</a:t>
          </a:r>
        </a:p>
        <a:p>
          <a:pPr algn="ctr">
            <a:buClrTx/>
            <a:buSzTx/>
            <a:buFont typeface="Arial" panose="020B0604020202020204" pitchFamily="34" charset="0"/>
            <a:buChar char="•"/>
          </a:pPr>
          <a:endParaRPr lang="en-GB" sz="1400" dirty="0">
            <a:latin typeface="Calibri" panose="020F0502020204030204" pitchFamily="34" charset="0"/>
          </a:endParaRPr>
        </a:p>
      </dgm:t>
    </dgm:pt>
    <dgm:pt modelId="{150EA685-06D3-9448-83AE-23A596CEF830}" type="parTrans" cxnId="{27543F11-771F-1943-A879-5DCB2D5AB136}">
      <dgm:prSet/>
      <dgm:spPr/>
      <dgm:t>
        <a:bodyPr/>
        <a:lstStyle/>
        <a:p>
          <a:endParaRPr lang="en-GB" sz="2000"/>
        </a:p>
      </dgm:t>
    </dgm:pt>
    <dgm:pt modelId="{5D4CB80A-A69A-C64A-8BAC-DE14097D88E7}" type="sibTrans" cxnId="{27543F11-771F-1943-A879-5DCB2D5AB136}">
      <dgm:prSet/>
      <dgm:spPr/>
      <dgm:t>
        <a:bodyPr/>
        <a:lstStyle/>
        <a:p>
          <a:endParaRPr lang="en-GB" sz="2000"/>
        </a:p>
      </dgm:t>
    </dgm:pt>
    <dgm:pt modelId="{717B3DA1-8F5B-7A4D-98D6-D92B0F7FBAD3}">
      <dgm:prSet phldrT="[Text]" custT="1"/>
      <dgm:spPr>
        <a:solidFill>
          <a:schemeClr val="accent2">
            <a:lumMod val="75000"/>
          </a:schemeClr>
        </a:solidFill>
      </dgm:spPr>
      <dgm:t>
        <a:bodyPr/>
        <a:lstStyle/>
        <a:p>
          <a:pPr algn="just">
            <a:buClrTx/>
            <a:buSzTx/>
            <a:buFont typeface="Arial" panose="020B0604020202020204" pitchFamily="34" charset="0"/>
            <a:buChar char="•"/>
          </a:pPr>
          <a:r>
            <a:rPr kumimoji="0" lang="en-US" sz="1400" b="0" i="0" u="none" strike="noStrike" cap="none" spc="0" normalizeH="0" baseline="0" noProof="0" dirty="0">
              <a:ln/>
              <a:effectLst/>
              <a:uLnTx/>
              <a:uFillTx/>
              <a:latin typeface="Calibri" panose="020F0502020204030204" pitchFamily="34" charset="0"/>
              <a:ea typeface="+mn-ea"/>
              <a:cs typeface="+mn-cs"/>
            </a:rPr>
            <a:t>Oxygen cannula – prongs that are placed in the nose for providing oxygen to patient</a:t>
          </a:r>
          <a:endParaRPr lang="en-GB" sz="1400" dirty="0">
            <a:latin typeface="Calibri" panose="020F0502020204030204" pitchFamily="34" charset="0"/>
          </a:endParaRPr>
        </a:p>
      </dgm:t>
    </dgm:pt>
    <dgm:pt modelId="{263A9E8F-5D89-964B-9C31-54AD0A5CBDED}" type="sibTrans" cxnId="{F5D119CD-FE0D-3B40-B8B9-E0BB56D02CB2}">
      <dgm:prSet/>
      <dgm:spPr/>
      <dgm:t>
        <a:bodyPr/>
        <a:lstStyle/>
        <a:p>
          <a:endParaRPr lang="en-GB" sz="2000"/>
        </a:p>
      </dgm:t>
    </dgm:pt>
    <dgm:pt modelId="{D2AD3042-77C6-1D46-BCC0-A4ABC698BB56}" type="parTrans" cxnId="{F5D119CD-FE0D-3B40-B8B9-E0BB56D02CB2}">
      <dgm:prSet/>
      <dgm:spPr/>
      <dgm:t>
        <a:bodyPr/>
        <a:lstStyle/>
        <a:p>
          <a:endParaRPr lang="en-GB" sz="2000"/>
        </a:p>
      </dgm:t>
    </dgm:pt>
    <dgm:pt modelId="{E4A3C7B6-86E8-4743-A63E-24DFFE5FFC07}" type="pres">
      <dgm:prSet presAssocID="{F84D1827-21C0-E34F-BC81-7B04DDEDDDDF}" presName="Name0" presStyleCnt="0">
        <dgm:presLayoutVars>
          <dgm:dir/>
          <dgm:resizeHandles val="exact"/>
        </dgm:presLayoutVars>
      </dgm:prSet>
      <dgm:spPr/>
    </dgm:pt>
    <dgm:pt modelId="{66931AE5-09D9-E949-A53A-123C33A692BE}" type="pres">
      <dgm:prSet presAssocID="{F84D1827-21C0-E34F-BC81-7B04DDEDDDDF}" presName="bkgdShp" presStyleLbl="alignAccFollowNode1" presStyleIdx="0" presStyleCnt="1" custLinFactNeighborX="59981" custLinFactNeighborY="-12081"/>
      <dgm:spPr/>
    </dgm:pt>
    <dgm:pt modelId="{4C979188-BEFC-7D43-89A7-F35332614A30}" type="pres">
      <dgm:prSet presAssocID="{F84D1827-21C0-E34F-BC81-7B04DDEDDDDF}" presName="linComp" presStyleCnt="0"/>
      <dgm:spPr/>
    </dgm:pt>
    <dgm:pt modelId="{810A34A6-1B85-4B4F-879B-A19769ADB0A4}" type="pres">
      <dgm:prSet presAssocID="{717B3DA1-8F5B-7A4D-98D6-D92B0F7FBAD3}" presName="compNode" presStyleCnt="0"/>
      <dgm:spPr/>
    </dgm:pt>
    <dgm:pt modelId="{C0772F3E-180D-4643-B314-31E5AE7711F6}" type="pres">
      <dgm:prSet presAssocID="{717B3DA1-8F5B-7A4D-98D6-D92B0F7FBAD3}" presName="node" presStyleLbl="node1" presStyleIdx="0" presStyleCnt="3" custLinFactNeighborX="-1467" custLinFactNeighborY="826">
        <dgm:presLayoutVars>
          <dgm:bulletEnabled val="1"/>
        </dgm:presLayoutVars>
      </dgm:prSet>
      <dgm:spPr/>
    </dgm:pt>
    <dgm:pt modelId="{85A71836-992B-0942-98AE-096606AF74B4}" type="pres">
      <dgm:prSet presAssocID="{717B3DA1-8F5B-7A4D-98D6-D92B0F7FBAD3}" presName="invisiNode" presStyleLbl="node1" presStyleIdx="0" presStyleCnt="3"/>
      <dgm:spPr/>
    </dgm:pt>
    <dgm:pt modelId="{3F9F4DDE-7A93-D348-82F9-28923C3E79F1}" type="pres">
      <dgm:prSet presAssocID="{717B3DA1-8F5B-7A4D-98D6-D92B0F7FBAD3}" presName="imagNode" presStyleLbl="fgImgPlace1" presStyleIdx="0" presStyleCnt="3"/>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l="-14000" r="-14000"/>
          </a:stretch>
        </a:blipFill>
      </dgm:spPr>
    </dgm:pt>
    <dgm:pt modelId="{DD503AD4-AF8A-BB43-83F4-7E4A8D900AEA}" type="pres">
      <dgm:prSet presAssocID="{263A9E8F-5D89-964B-9C31-54AD0A5CBDED}" presName="sibTrans" presStyleLbl="sibTrans2D1" presStyleIdx="0" presStyleCnt="0"/>
      <dgm:spPr/>
    </dgm:pt>
    <dgm:pt modelId="{BFC24DFC-50F1-3D4F-B86F-CDD18AC071CA}" type="pres">
      <dgm:prSet presAssocID="{405B19B2-3D43-0442-AD1B-1A69877D86ED}" presName="compNode" presStyleCnt="0"/>
      <dgm:spPr/>
    </dgm:pt>
    <dgm:pt modelId="{4543936C-7E2C-F243-B7DD-BE4CE9FF4218}" type="pres">
      <dgm:prSet presAssocID="{405B19B2-3D43-0442-AD1B-1A69877D86ED}" presName="node" presStyleLbl="node1" presStyleIdx="1" presStyleCnt="3">
        <dgm:presLayoutVars>
          <dgm:bulletEnabled val="1"/>
        </dgm:presLayoutVars>
      </dgm:prSet>
      <dgm:spPr/>
    </dgm:pt>
    <dgm:pt modelId="{EF7ED010-270E-B54A-83F8-6F083C3956A0}" type="pres">
      <dgm:prSet presAssocID="{405B19B2-3D43-0442-AD1B-1A69877D86ED}" presName="invisiNode" presStyleLbl="node1" presStyleIdx="1" presStyleCnt="3"/>
      <dgm:spPr/>
    </dgm:pt>
    <dgm:pt modelId="{C83CAD5C-1AC9-8243-878A-E9B131A2C2D8}" type="pres">
      <dgm:prSet presAssocID="{405B19B2-3D43-0442-AD1B-1A69877D86ED}" presName="imagNode" presStyleLbl="fgImgPlace1" presStyleIdx="1" presStyleCnt="3"/>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t="-18000" b="-18000"/>
          </a:stretch>
        </a:blipFill>
      </dgm:spPr>
    </dgm:pt>
    <dgm:pt modelId="{19C42EF3-FC01-AD43-9C7F-B3B6F7B4AB18}" type="pres">
      <dgm:prSet presAssocID="{6B7B1E82-2583-5A45-8932-3E32B8B3E8D7}" presName="sibTrans" presStyleLbl="sibTrans2D1" presStyleIdx="0" presStyleCnt="0"/>
      <dgm:spPr/>
    </dgm:pt>
    <dgm:pt modelId="{4CE4A1E6-11B3-1040-8279-3534C5AA9612}" type="pres">
      <dgm:prSet presAssocID="{98541B92-29D5-9B49-8B32-74743630B964}" presName="compNode" presStyleCnt="0"/>
      <dgm:spPr/>
    </dgm:pt>
    <dgm:pt modelId="{B6736721-EF85-9242-B30B-67E178AB6CBF}" type="pres">
      <dgm:prSet presAssocID="{98541B92-29D5-9B49-8B32-74743630B964}" presName="node" presStyleLbl="node1" presStyleIdx="2" presStyleCnt="3">
        <dgm:presLayoutVars>
          <dgm:bulletEnabled val="1"/>
        </dgm:presLayoutVars>
      </dgm:prSet>
      <dgm:spPr/>
    </dgm:pt>
    <dgm:pt modelId="{7FA551FA-EADC-7E4B-950D-295ABD2A1DCF}" type="pres">
      <dgm:prSet presAssocID="{98541B92-29D5-9B49-8B32-74743630B964}" presName="invisiNode" presStyleLbl="node1" presStyleIdx="2" presStyleCnt="3"/>
      <dgm:spPr/>
    </dgm:pt>
    <dgm:pt modelId="{8BECCF8D-D0A8-B049-8C54-2BF10C255996}" type="pres">
      <dgm:prSet presAssocID="{98541B92-29D5-9B49-8B32-74743630B964}" presName="imagNode" presStyleLbl="fgImgPlace1" presStyleIdx="2" presStyleCnt="3"/>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t="-39000" b="-39000"/>
          </a:stretch>
        </a:blipFill>
      </dgm:spPr>
    </dgm:pt>
  </dgm:ptLst>
  <dgm:cxnLst>
    <dgm:cxn modelId="{27543F11-771F-1943-A879-5DCB2D5AB136}" srcId="{F84D1827-21C0-E34F-BC81-7B04DDEDDDDF}" destId="{98541B92-29D5-9B49-8B32-74743630B964}" srcOrd="2" destOrd="0" parTransId="{150EA685-06D3-9448-83AE-23A596CEF830}" sibTransId="{5D4CB80A-A69A-C64A-8BAC-DE14097D88E7}"/>
    <dgm:cxn modelId="{85160740-2C56-1248-82E9-86FA28B363EF}" srcId="{F84D1827-21C0-E34F-BC81-7B04DDEDDDDF}" destId="{405B19B2-3D43-0442-AD1B-1A69877D86ED}" srcOrd="1" destOrd="0" parTransId="{E34C365D-BB1A-DE48-B2AF-848331347DDA}" sibTransId="{6B7B1E82-2583-5A45-8932-3E32B8B3E8D7}"/>
    <dgm:cxn modelId="{45A15C4C-4E44-4C4E-99FC-3759CED53E4E}" type="presOf" srcId="{6B7B1E82-2583-5A45-8932-3E32B8B3E8D7}" destId="{19C42EF3-FC01-AD43-9C7F-B3B6F7B4AB18}" srcOrd="0" destOrd="0" presId="urn:microsoft.com/office/officeart/2005/8/layout/pList2"/>
    <dgm:cxn modelId="{1B91549D-0C85-A242-A3F5-2A9F4F2FEB6D}" type="presOf" srcId="{263A9E8F-5D89-964B-9C31-54AD0A5CBDED}" destId="{DD503AD4-AF8A-BB43-83F4-7E4A8D900AEA}" srcOrd="0" destOrd="0" presId="urn:microsoft.com/office/officeart/2005/8/layout/pList2"/>
    <dgm:cxn modelId="{0CE2FAAB-5C91-9543-B10A-9288B0DFF7EB}" type="presOf" srcId="{405B19B2-3D43-0442-AD1B-1A69877D86ED}" destId="{4543936C-7E2C-F243-B7DD-BE4CE9FF4218}" srcOrd="0" destOrd="0" presId="urn:microsoft.com/office/officeart/2005/8/layout/pList2"/>
    <dgm:cxn modelId="{F5D119CD-FE0D-3B40-B8B9-E0BB56D02CB2}" srcId="{F84D1827-21C0-E34F-BC81-7B04DDEDDDDF}" destId="{717B3DA1-8F5B-7A4D-98D6-D92B0F7FBAD3}" srcOrd="0" destOrd="0" parTransId="{D2AD3042-77C6-1D46-BCC0-A4ABC698BB56}" sibTransId="{263A9E8F-5D89-964B-9C31-54AD0A5CBDED}"/>
    <dgm:cxn modelId="{FF37D5CF-51D2-834E-B426-65A534AD3BE8}" type="presOf" srcId="{717B3DA1-8F5B-7A4D-98D6-D92B0F7FBAD3}" destId="{C0772F3E-180D-4643-B314-31E5AE7711F6}" srcOrd="0" destOrd="0" presId="urn:microsoft.com/office/officeart/2005/8/layout/pList2"/>
    <dgm:cxn modelId="{9027D5E2-5F8E-C446-97F3-767248C5FC6B}" type="presOf" srcId="{98541B92-29D5-9B49-8B32-74743630B964}" destId="{B6736721-EF85-9242-B30B-67E178AB6CBF}" srcOrd="0" destOrd="0" presId="urn:microsoft.com/office/officeart/2005/8/layout/pList2"/>
    <dgm:cxn modelId="{FED9A1FC-1E0D-C84A-AD6B-2C0AC74FC5D4}" type="presOf" srcId="{F84D1827-21C0-E34F-BC81-7B04DDEDDDDF}" destId="{E4A3C7B6-86E8-4743-A63E-24DFFE5FFC07}" srcOrd="0" destOrd="0" presId="urn:microsoft.com/office/officeart/2005/8/layout/pList2"/>
    <dgm:cxn modelId="{1432DBEB-1D7B-5340-82BE-FF5DEBE85FE9}" type="presParOf" srcId="{E4A3C7B6-86E8-4743-A63E-24DFFE5FFC07}" destId="{66931AE5-09D9-E949-A53A-123C33A692BE}" srcOrd="0" destOrd="0" presId="urn:microsoft.com/office/officeart/2005/8/layout/pList2"/>
    <dgm:cxn modelId="{842C29C9-2E4C-8744-9632-0B2759812137}" type="presParOf" srcId="{E4A3C7B6-86E8-4743-A63E-24DFFE5FFC07}" destId="{4C979188-BEFC-7D43-89A7-F35332614A30}" srcOrd="1" destOrd="0" presId="urn:microsoft.com/office/officeart/2005/8/layout/pList2"/>
    <dgm:cxn modelId="{2241F82E-FCEC-144C-A96C-31167D6B9DC5}" type="presParOf" srcId="{4C979188-BEFC-7D43-89A7-F35332614A30}" destId="{810A34A6-1B85-4B4F-879B-A19769ADB0A4}" srcOrd="0" destOrd="0" presId="urn:microsoft.com/office/officeart/2005/8/layout/pList2"/>
    <dgm:cxn modelId="{F4525C04-C63B-7F46-83D4-C7B0FD6F074C}" type="presParOf" srcId="{810A34A6-1B85-4B4F-879B-A19769ADB0A4}" destId="{C0772F3E-180D-4643-B314-31E5AE7711F6}" srcOrd="0" destOrd="0" presId="urn:microsoft.com/office/officeart/2005/8/layout/pList2"/>
    <dgm:cxn modelId="{FC8B685A-932C-934A-8279-A28AFAEE7EF5}" type="presParOf" srcId="{810A34A6-1B85-4B4F-879B-A19769ADB0A4}" destId="{85A71836-992B-0942-98AE-096606AF74B4}" srcOrd="1" destOrd="0" presId="urn:microsoft.com/office/officeart/2005/8/layout/pList2"/>
    <dgm:cxn modelId="{BEFBD286-6E37-AF4C-AA95-527A1C75D152}" type="presParOf" srcId="{810A34A6-1B85-4B4F-879B-A19769ADB0A4}" destId="{3F9F4DDE-7A93-D348-82F9-28923C3E79F1}" srcOrd="2" destOrd="0" presId="urn:microsoft.com/office/officeart/2005/8/layout/pList2"/>
    <dgm:cxn modelId="{7A59F66C-A256-FC44-BA5F-1B2AE7AD8BC6}" type="presParOf" srcId="{4C979188-BEFC-7D43-89A7-F35332614A30}" destId="{DD503AD4-AF8A-BB43-83F4-7E4A8D900AEA}" srcOrd="1" destOrd="0" presId="urn:microsoft.com/office/officeart/2005/8/layout/pList2"/>
    <dgm:cxn modelId="{2216DD72-2815-8247-B270-18D50636070F}" type="presParOf" srcId="{4C979188-BEFC-7D43-89A7-F35332614A30}" destId="{BFC24DFC-50F1-3D4F-B86F-CDD18AC071CA}" srcOrd="2" destOrd="0" presId="urn:microsoft.com/office/officeart/2005/8/layout/pList2"/>
    <dgm:cxn modelId="{B48F4496-DC06-584E-8EBD-AB188F57F682}" type="presParOf" srcId="{BFC24DFC-50F1-3D4F-B86F-CDD18AC071CA}" destId="{4543936C-7E2C-F243-B7DD-BE4CE9FF4218}" srcOrd="0" destOrd="0" presId="urn:microsoft.com/office/officeart/2005/8/layout/pList2"/>
    <dgm:cxn modelId="{9F01F546-8F2D-8641-91CC-B9D3136FFB32}" type="presParOf" srcId="{BFC24DFC-50F1-3D4F-B86F-CDD18AC071CA}" destId="{EF7ED010-270E-B54A-83F8-6F083C3956A0}" srcOrd="1" destOrd="0" presId="urn:microsoft.com/office/officeart/2005/8/layout/pList2"/>
    <dgm:cxn modelId="{C08E5679-32EC-0D42-9B8E-B123B58E2D8A}" type="presParOf" srcId="{BFC24DFC-50F1-3D4F-B86F-CDD18AC071CA}" destId="{C83CAD5C-1AC9-8243-878A-E9B131A2C2D8}" srcOrd="2" destOrd="0" presId="urn:microsoft.com/office/officeart/2005/8/layout/pList2"/>
    <dgm:cxn modelId="{D1BB9976-B982-1B45-B4A5-4FEF7AB9A64A}" type="presParOf" srcId="{4C979188-BEFC-7D43-89A7-F35332614A30}" destId="{19C42EF3-FC01-AD43-9C7F-B3B6F7B4AB18}" srcOrd="3" destOrd="0" presId="urn:microsoft.com/office/officeart/2005/8/layout/pList2"/>
    <dgm:cxn modelId="{2C8004F8-03BE-3A45-BECE-9FC0120A93E5}" type="presParOf" srcId="{4C979188-BEFC-7D43-89A7-F35332614A30}" destId="{4CE4A1E6-11B3-1040-8279-3534C5AA9612}" srcOrd="4" destOrd="0" presId="urn:microsoft.com/office/officeart/2005/8/layout/pList2"/>
    <dgm:cxn modelId="{1F331500-7DB2-2544-8033-63E54A91CD6B}" type="presParOf" srcId="{4CE4A1E6-11B3-1040-8279-3534C5AA9612}" destId="{B6736721-EF85-9242-B30B-67E178AB6CBF}" srcOrd="0" destOrd="0" presId="urn:microsoft.com/office/officeart/2005/8/layout/pList2"/>
    <dgm:cxn modelId="{F86A6E9D-2F2C-C243-8774-6D967C470449}" type="presParOf" srcId="{4CE4A1E6-11B3-1040-8279-3534C5AA9612}" destId="{7FA551FA-EADC-7E4B-950D-295ABD2A1DCF}" srcOrd="1" destOrd="0" presId="urn:microsoft.com/office/officeart/2005/8/layout/pList2"/>
    <dgm:cxn modelId="{782A7C48-8E4F-A443-A836-818777BF0FC3}" type="presParOf" srcId="{4CE4A1E6-11B3-1040-8279-3534C5AA9612}" destId="{8BECCF8D-D0A8-B049-8C54-2BF10C255996}" srcOrd="2" destOrd="0" presId="urn:microsoft.com/office/officeart/2005/8/layout/pList2"/>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84D1827-21C0-E34F-BC81-7B04DDEDDDDF}" type="doc">
      <dgm:prSet loTypeId="urn:microsoft.com/office/officeart/2005/8/layout/pList2" loCatId="" qsTypeId="urn:microsoft.com/office/officeart/2005/8/quickstyle/simple2" qsCatId="simple" csTypeId="urn:microsoft.com/office/officeart/2005/8/colors/accent2_2" csCatId="accent2" phldr="1"/>
      <dgm:spPr/>
    </dgm:pt>
    <dgm:pt modelId="{405B19B2-3D43-0442-AD1B-1A69877D86ED}">
      <dgm:prSet phldrT="[Text]" custT="1"/>
      <dgm:spPr>
        <a:solidFill>
          <a:schemeClr val="accent2">
            <a:lumMod val="75000"/>
          </a:schemeClr>
        </a:solidFill>
      </dgm:spPr>
      <dgm:t>
        <a:bodyPr/>
        <a:lstStyle/>
        <a:p>
          <a:pPr algn="just">
            <a:buClrTx/>
            <a:buSzTx/>
            <a:buFont typeface="Arial" panose="020B0604020202020204" pitchFamily="34" charset="0"/>
            <a:buChar char="•"/>
          </a:pPr>
          <a:r>
            <a:rPr kumimoji="0" lang="en-US" sz="1600" b="0" i="0" u="none" strike="noStrike" cap="none" spc="0" normalizeH="0" baseline="0" noProof="0" dirty="0">
              <a:ln/>
              <a:effectLst/>
              <a:uLnTx/>
              <a:uFillTx/>
              <a:latin typeface="+mj-lt"/>
              <a:ea typeface="+mn-ea"/>
              <a:cs typeface="+mn-cs"/>
            </a:rPr>
            <a:t>Invasive mechanical ventilation</a:t>
          </a:r>
        </a:p>
        <a:p>
          <a:pPr algn="just">
            <a:buClrTx/>
            <a:buSzTx/>
            <a:buFont typeface="Arial" panose="020B0604020202020204" pitchFamily="34" charset="0"/>
            <a:buChar char="•"/>
          </a:pPr>
          <a:r>
            <a:rPr kumimoji="0" lang="en-US" sz="1600" b="0" i="0" u="none" strike="noStrike" cap="none" spc="0" normalizeH="0" baseline="0" noProof="0" dirty="0">
              <a:ln/>
              <a:effectLst/>
              <a:uLnTx/>
              <a:uFillTx/>
              <a:latin typeface="+mj-lt"/>
              <a:ea typeface="+mn-ea"/>
              <a:cs typeface="+mn-cs"/>
            </a:rPr>
            <a:t>Through intubation, oxygen is pumped into a patient’s lungs</a:t>
          </a:r>
        </a:p>
        <a:p>
          <a:pPr algn="l">
            <a:buClrTx/>
            <a:buSzTx/>
            <a:buFont typeface="Arial" panose="020B0604020202020204" pitchFamily="34" charset="0"/>
            <a:buChar char="•"/>
          </a:pPr>
          <a:endParaRPr kumimoji="0" lang="en-US" sz="1600" b="0" i="0" u="none" strike="noStrike" cap="none" spc="0" normalizeH="0" baseline="0" noProof="0" dirty="0">
            <a:ln/>
            <a:effectLst/>
            <a:uLnTx/>
            <a:uFillTx/>
            <a:latin typeface="Arial"/>
            <a:ea typeface="+mn-ea"/>
            <a:cs typeface="+mn-cs"/>
          </a:endParaRPr>
        </a:p>
        <a:p>
          <a:pPr algn="l">
            <a:buClrTx/>
            <a:buSzTx/>
            <a:buFont typeface="Arial" panose="020B0604020202020204" pitchFamily="34" charset="0"/>
            <a:buChar char="•"/>
          </a:pPr>
          <a:endParaRPr lang="en-GB" sz="1600" dirty="0"/>
        </a:p>
      </dgm:t>
    </dgm:pt>
    <dgm:pt modelId="{E34C365D-BB1A-DE48-B2AF-848331347DDA}" type="parTrans" cxnId="{85160740-2C56-1248-82E9-86FA28B363EF}">
      <dgm:prSet/>
      <dgm:spPr/>
      <dgm:t>
        <a:bodyPr/>
        <a:lstStyle/>
        <a:p>
          <a:endParaRPr lang="en-GB" sz="2000"/>
        </a:p>
      </dgm:t>
    </dgm:pt>
    <dgm:pt modelId="{6B7B1E82-2583-5A45-8932-3E32B8B3E8D7}" type="sibTrans" cxnId="{85160740-2C56-1248-82E9-86FA28B363EF}">
      <dgm:prSet/>
      <dgm:spPr/>
      <dgm:t>
        <a:bodyPr/>
        <a:lstStyle/>
        <a:p>
          <a:endParaRPr lang="en-GB" sz="2000"/>
        </a:p>
      </dgm:t>
    </dgm:pt>
    <dgm:pt modelId="{717B3DA1-8F5B-7A4D-98D6-D92B0F7FBAD3}">
      <dgm:prSet phldrT="[Text]" custT="1"/>
      <dgm:spPr>
        <a:solidFill>
          <a:schemeClr val="accent2">
            <a:lumMod val="75000"/>
          </a:schemeClr>
        </a:solidFill>
      </dgm:spPr>
      <dgm:t>
        <a:bodyPr/>
        <a:lstStyle/>
        <a:p>
          <a:pPr algn="just">
            <a:buClrTx/>
            <a:buSzTx/>
            <a:buFont typeface="Arial" panose="020B0604020202020204" pitchFamily="34" charset="0"/>
            <a:buChar char="•"/>
          </a:pPr>
          <a:r>
            <a:rPr kumimoji="0" lang="en-US" sz="1600" b="0" i="0" u="none" strike="noStrike" cap="none" spc="0" normalizeH="0" baseline="0" noProof="0" dirty="0">
              <a:ln/>
              <a:effectLst/>
              <a:uLnTx/>
              <a:uFillTx/>
              <a:latin typeface="+mj-lt"/>
              <a:ea typeface="+mn-ea"/>
              <a:cs typeface="+mn-cs"/>
            </a:rPr>
            <a:t>High flow nasal cannula</a:t>
          </a:r>
        </a:p>
        <a:p>
          <a:pPr algn="just">
            <a:buClrTx/>
            <a:buSzTx/>
            <a:buFont typeface="Arial" panose="020B0604020202020204" pitchFamily="34" charset="0"/>
            <a:buChar char="•"/>
          </a:pPr>
          <a:r>
            <a:rPr kumimoji="0" lang="en-US" sz="1600" b="0" i="0" u="none" strike="noStrike" cap="none" spc="0" normalizeH="0" baseline="0" noProof="0" dirty="0">
              <a:ln/>
              <a:effectLst/>
              <a:uLnTx/>
              <a:uFillTx/>
              <a:latin typeface="+mj-lt"/>
              <a:ea typeface="+mn-ea"/>
              <a:cs typeface="+mn-cs"/>
            </a:rPr>
            <a:t>Specialized cannula designed to provide oxygen up to 60LPM and limit inhalation of room air</a:t>
          </a:r>
          <a:endParaRPr lang="en-GB" sz="1600" dirty="0">
            <a:latin typeface="+mj-lt"/>
          </a:endParaRPr>
        </a:p>
      </dgm:t>
    </dgm:pt>
    <dgm:pt modelId="{263A9E8F-5D89-964B-9C31-54AD0A5CBDED}" type="sibTrans" cxnId="{F5D119CD-FE0D-3B40-B8B9-E0BB56D02CB2}">
      <dgm:prSet/>
      <dgm:spPr/>
      <dgm:t>
        <a:bodyPr/>
        <a:lstStyle/>
        <a:p>
          <a:endParaRPr lang="en-GB" sz="2000"/>
        </a:p>
      </dgm:t>
    </dgm:pt>
    <dgm:pt modelId="{D2AD3042-77C6-1D46-BCC0-A4ABC698BB56}" type="parTrans" cxnId="{F5D119CD-FE0D-3B40-B8B9-E0BB56D02CB2}">
      <dgm:prSet/>
      <dgm:spPr/>
      <dgm:t>
        <a:bodyPr/>
        <a:lstStyle/>
        <a:p>
          <a:endParaRPr lang="en-GB" sz="2000"/>
        </a:p>
      </dgm:t>
    </dgm:pt>
    <dgm:pt modelId="{E4A3C7B6-86E8-4743-A63E-24DFFE5FFC07}" type="pres">
      <dgm:prSet presAssocID="{F84D1827-21C0-E34F-BC81-7B04DDEDDDDF}" presName="Name0" presStyleCnt="0">
        <dgm:presLayoutVars>
          <dgm:dir/>
          <dgm:resizeHandles val="exact"/>
        </dgm:presLayoutVars>
      </dgm:prSet>
      <dgm:spPr/>
    </dgm:pt>
    <dgm:pt modelId="{66931AE5-09D9-E949-A53A-123C33A692BE}" type="pres">
      <dgm:prSet presAssocID="{F84D1827-21C0-E34F-BC81-7B04DDEDDDDF}" presName="bkgdShp" presStyleLbl="alignAccFollowNode1" presStyleIdx="0" presStyleCnt="1" custLinFactNeighborX="59981" custLinFactNeighborY="-12081"/>
      <dgm:spPr/>
    </dgm:pt>
    <dgm:pt modelId="{4C979188-BEFC-7D43-89A7-F35332614A30}" type="pres">
      <dgm:prSet presAssocID="{F84D1827-21C0-E34F-BC81-7B04DDEDDDDF}" presName="linComp" presStyleCnt="0"/>
      <dgm:spPr/>
    </dgm:pt>
    <dgm:pt modelId="{810A34A6-1B85-4B4F-879B-A19769ADB0A4}" type="pres">
      <dgm:prSet presAssocID="{717B3DA1-8F5B-7A4D-98D6-D92B0F7FBAD3}" presName="compNode" presStyleCnt="0"/>
      <dgm:spPr/>
    </dgm:pt>
    <dgm:pt modelId="{C0772F3E-180D-4643-B314-31E5AE7711F6}" type="pres">
      <dgm:prSet presAssocID="{717B3DA1-8F5B-7A4D-98D6-D92B0F7FBAD3}" presName="node" presStyleLbl="node1" presStyleIdx="0" presStyleCnt="2">
        <dgm:presLayoutVars>
          <dgm:bulletEnabled val="1"/>
        </dgm:presLayoutVars>
      </dgm:prSet>
      <dgm:spPr/>
    </dgm:pt>
    <dgm:pt modelId="{85A71836-992B-0942-98AE-096606AF74B4}" type="pres">
      <dgm:prSet presAssocID="{717B3DA1-8F5B-7A4D-98D6-D92B0F7FBAD3}" presName="invisiNode" presStyleLbl="node1" presStyleIdx="0" presStyleCnt="2"/>
      <dgm:spPr/>
    </dgm:pt>
    <dgm:pt modelId="{3F9F4DDE-7A93-D348-82F9-28923C3E79F1}" type="pres">
      <dgm:prSet presAssocID="{717B3DA1-8F5B-7A4D-98D6-D92B0F7FBAD3}" presName="imagNode" presStyleLbl="fgImgPlace1" presStyleIdx="0" presStyleCnt="2"/>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t="-11000" b="-11000"/>
          </a:stretch>
        </a:blipFill>
      </dgm:spPr>
    </dgm:pt>
    <dgm:pt modelId="{DD503AD4-AF8A-BB43-83F4-7E4A8D900AEA}" type="pres">
      <dgm:prSet presAssocID="{263A9E8F-5D89-964B-9C31-54AD0A5CBDED}" presName="sibTrans" presStyleLbl="sibTrans2D1" presStyleIdx="0" presStyleCnt="0"/>
      <dgm:spPr/>
    </dgm:pt>
    <dgm:pt modelId="{BFC24DFC-50F1-3D4F-B86F-CDD18AC071CA}" type="pres">
      <dgm:prSet presAssocID="{405B19B2-3D43-0442-AD1B-1A69877D86ED}" presName="compNode" presStyleCnt="0"/>
      <dgm:spPr/>
    </dgm:pt>
    <dgm:pt modelId="{4543936C-7E2C-F243-B7DD-BE4CE9FF4218}" type="pres">
      <dgm:prSet presAssocID="{405B19B2-3D43-0442-AD1B-1A69877D86ED}" presName="node" presStyleLbl="node1" presStyleIdx="1" presStyleCnt="2">
        <dgm:presLayoutVars>
          <dgm:bulletEnabled val="1"/>
        </dgm:presLayoutVars>
      </dgm:prSet>
      <dgm:spPr/>
    </dgm:pt>
    <dgm:pt modelId="{EF7ED010-270E-B54A-83F8-6F083C3956A0}" type="pres">
      <dgm:prSet presAssocID="{405B19B2-3D43-0442-AD1B-1A69877D86ED}" presName="invisiNode" presStyleLbl="node1" presStyleIdx="1" presStyleCnt="2"/>
      <dgm:spPr/>
    </dgm:pt>
    <dgm:pt modelId="{C83CAD5C-1AC9-8243-878A-E9B131A2C2D8}" type="pres">
      <dgm:prSet presAssocID="{405B19B2-3D43-0442-AD1B-1A69877D86ED}" presName="imagNode" presStyleLbl="fgImgPlace1" presStyleIdx="1" presStyleCnt="2"/>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t="-12000" b="-12000"/>
          </a:stretch>
        </a:blipFill>
      </dgm:spPr>
    </dgm:pt>
  </dgm:ptLst>
  <dgm:cxnLst>
    <dgm:cxn modelId="{85160740-2C56-1248-82E9-86FA28B363EF}" srcId="{F84D1827-21C0-E34F-BC81-7B04DDEDDDDF}" destId="{405B19B2-3D43-0442-AD1B-1A69877D86ED}" srcOrd="1" destOrd="0" parTransId="{E34C365D-BB1A-DE48-B2AF-848331347DDA}" sibTransId="{6B7B1E82-2583-5A45-8932-3E32B8B3E8D7}"/>
    <dgm:cxn modelId="{1B91549D-0C85-A242-A3F5-2A9F4F2FEB6D}" type="presOf" srcId="{263A9E8F-5D89-964B-9C31-54AD0A5CBDED}" destId="{DD503AD4-AF8A-BB43-83F4-7E4A8D900AEA}" srcOrd="0" destOrd="0" presId="urn:microsoft.com/office/officeart/2005/8/layout/pList2"/>
    <dgm:cxn modelId="{0CE2FAAB-5C91-9543-B10A-9288B0DFF7EB}" type="presOf" srcId="{405B19B2-3D43-0442-AD1B-1A69877D86ED}" destId="{4543936C-7E2C-F243-B7DD-BE4CE9FF4218}" srcOrd="0" destOrd="0" presId="urn:microsoft.com/office/officeart/2005/8/layout/pList2"/>
    <dgm:cxn modelId="{F5D119CD-FE0D-3B40-B8B9-E0BB56D02CB2}" srcId="{F84D1827-21C0-E34F-BC81-7B04DDEDDDDF}" destId="{717B3DA1-8F5B-7A4D-98D6-D92B0F7FBAD3}" srcOrd="0" destOrd="0" parTransId="{D2AD3042-77C6-1D46-BCC0-A4ABC698BB56}" sibTransId="{263A9E8F-5D89-964B-9C31-54AD0A5CBDED}"/>
    <dgm:cxn modelId="{FF37D5CF-51D2-834E-B426-65A534AD3BE8}" type="presOf" srcId="{717B3DA1-8F5B-7A4D-98D6-D92B0F7FBAD3}" destId="{C0772F3E-180D-4643-B314-31E5AE7711F6}" srcOrd="0" destOrd="0" presId="urn:microsoft.com/office/officeart/2005/8/layout/pList2"/>
    <dgm:cxn modelId="{FED9A1FC-1E0D-C84A-AD6B-2C0AC74FC5D4}" type="presOf" srcId="{F84D1827-21C0-E34F-BC81-7B04DDEDDDDF}" destId="{E4A3C7B6-86E8-4743-A63E-24DFFE5FFC07}" srcOrd="0" destOrd="0" presId="urn:microsoft.com/office/officeart/2005/8/layout/pList2"/>
    <dgm:cxn modelId="{1432DBEB-1D7B-5340-82BE-FF5DEBE85FE9}" type="presParOf" srcId="{E4A3C7B6-86E8-4743-A63E-24DFFE5FFC07}" destId="{66931AE5-09D9-E949-A53A-123C33A692BE}" srcOrd="0" destOrd="0" presId="urn:microsoft.com/office/officeart/2005/8/layout/pList2"/>
    <dgm:cxn modelId="{842C29C9-2E4C-8744-9632-0B2759812137}" type="presParOf" srcId="{E4A3C7B6-86E8-4743-A63E-24DFFE5FFC07}" destId="{4C979188-BEFC-7D43-89A7-F35332614A30}" srcOrd="1" destOrd="0" presId="urn:microsoft.com/office/officeart/2005/8/layout/pList2"/>
    <dgm:cxn modelId="{2241F82E-FCEC-144C-A96C-31167D6B9DC5}" type="presParOf" srcId="{4C979188-BEFC-7D43-89A7-F35332614A30}" destId="{810A34A6-1B85-4B4F-879B-A19769ADB0A4}" srcOrd="0" destOrd="0" presId="urn:microsoft.com/office/officeart/2005/8/layout/pList2"/>
    <dgm:cxn modelId="{F4525C04-C63B-7F46-83D4-C7B0FD6F074C}" type="presParOf" srcId="{810A34A6-1B85-4B4F-879B-A19769ADB0A4}" destId="{C0772F3E-180D-4643-B314-31E5AE7711F6}" srcOrd="0" destOrd="0" presId="urn:microsoft.com/office/officeart/2005/8/layout/pList2"/>
    <dgm:cxn modelId="{FC8B685A-932C-934A-8279-A28AFAEE7EF5}" type="presParOf" srcId="{810A34A6-1B85-4B4F-879B-A19769ADB0A4}" destId="{85A71836-992B-0942-98AE-096606AF74B4}" srcOrd="1" destOrd="0" presId="urn:microsoft.com/office/officeart/2005/8/layout/pList2"/>
    <dgm:cxn modelId="{BEFBD286-6E37-AF4C-AA95-527A1C75D152}" type="presParOf" srcId="{810A34A6-1B85-4B4F-879B-A19769ADB0A4}" destId="{3F9F4DDE-7A93-D348-82F9-28923C3E79F1}" srcOrd="2" destOrd="0" presId="urn:microsoft.com/office/officeart/2005/8/layout/pList2"/>
    <dgm:cxn modelId="{7A59F66C-A256-FC44-BA5F-1B2AE7AD8BC6}" type="presParOf" srcId="{4C979188-BEFC-7D43-89A7-F35332614A30}" destId="{DD503AD4-AF8A-BB43-83F4-7E4A8D900AEA}" srcOrd="1" destOrd="0" presId="urn:microsoft.com/office/officeart/2005/8/layout/pList2"/>
    <dgm:cxn modelId="{2216DD72-2815-8247-B270-18D50636070F}" type="presParOf" srcId="{4C979188-BEFC-7D43-89A7-F35332614A30}" destId="{BFC24DFC-50F1-3D4F-B86F-CDD18AC071CA}" srcOrd="2" destOrd="0" presId="urn:microsoft.com/office/officeart/2005/8/layout/pList2"/>
    <dgm:cxn modelId="{B48F4496-DC06-584E-8EBD-AB188F57F682}" type="presParOf" srcId="{BFC24DFC-50F1-3D4F-B86F-CDD18AC071CA}" destId="{4543936C-7E2C-F243-B7DD-BE4CE9FF4218}" srcOrd="0" destOrd="0" presId="urn:microsoft.com/office/officeart/2005/8/layout/pList2"/>
    <dgm:cxn modelId="{9F01F546-8F2D-8641-91CC-B9D3136FFB32}" type="presParOf" srcId="{BFC24DFC-50F1-3D4F-B86F-CDD18AC071CA}" destId="{EF7ED010-270E-B54A-83F8-6F083C3956A0}" srcOrd="1" destOrd="0" presId="urn:microsoft.com/office/officeart/2005/8/layout/pList2"/>
    <dgm:cxn modelId="{C08E5679-32EC-0D42-9B8E-B123B58E2D8A}" type="presParOf" srcId="{BFC24DFC-50F1-3D4F-B86F-CDD18AC071CA}" destId="{C83CAD5C-1AC9-8243-878A-E9B131A2C2D8}" srcOrd="2" destOrd="0" presId="urn:microsoft.com/office/officeart/2005/8/layout/p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F2C2A63-1B5A-5645-93D7-E7B51C0C5BD4}" type="doc">
      <dgm:prSet loTypeId="urn:microsoft.com/office/officeart/2008/layout/LinedList" loCatId="" qsTypeId="urn:microsoft.com/office/officeart/2005/8/quickstyle/simple1" qsCatId="simple" csTypeId="urn:microsoft.com/office/officeart/2005/8/colors/accent1_2" csCatId="accent1" phldr="1"/>
      <dgm:spPr/>
      <dgm:t>
        <a:bodyPr/>
        <a:lstStyle/>
        <a:p>
          <a:endParaRPr lang="en-GB"/>
        </a:p>
      </dgm:t>
    </dgm:pt>
    <dgm:pt modelId="{0BEA4F6E-EFF8-2340-8C36-6FDA1B15533D}">
      <dgm:prSet custT="1"/>
      <dgm:spPr/>
      <dgm:t>
        <a:bodyPr/>
        <a:lstStyle/>
        <a:p>
          <a:r>
            <a:rPr lang="en-IN" sz="1600" dirty="0">
              <a:solidFill>
                <a:schemeClr val="tx1"/>
              </a:solidFill>
              <a:latin typeface="Calibri" panose="020F0502020204030204" pitchFamily="34" charset="0"/>
            </a:rPr>
            <a:t>There are various types of humidifiers, and their designs differ in how they apply three main principles :</a:t>
          </a:r>
        </a:p>
      </dgm:t>
    </dgm:pt>
    <dgm:pt modelId="{2325345B-44F5-524F-8ED9-034ED78FF0B6}" type="parTrans" cxnId="{79B7CF7D-87AE-CB4E-A9B2-DAB1710A95FE}">
      <dgm:prSet/>
      <dgm:spPr/>
      <dgm:t>
        <a:bodyPr/>
        <a:lstStyle/>
        <a:p>
          <a:endParaRPr lang="en-GB" sz="1600">
            <a:solidFill>
              <a:schemeClr val="tx1"/>
            </a:solidFill>
            <a:latin typeface="Gill Sans MT" panose="020B0502020104020203" pitchFamily="34" charset="0"/>
          </a:endParaRPr>
        </a:p>
      </dgm:t>
    </dgm:pt>
    <dgm:pt modelId="{99CB0DE0-0C89-044D-BEF5-977F85E20B90}" type="sibTrans" cxnId="{79B7CF7D-87AE-CB4E-A9B2-DAB1710A95FE}">
      <dgm:prSet/>
      <dgm:spPr/>
      <dgm:t>
        <a:bodyPr/>
        <a:lstStyle/>
        <a:p>
          <a:endParaRPr lang="en-GB" sz="1600">
            <a:solidFill>
              <a:schemeClr val="tx1"/>
            </a:solidFill>
            <a:latin typeface="Gill Sans MT" panose="020B0502020104020203" pitchFamily="34" charset="0"/>
          </a:endParaRPr>
        </a:p>
      </dgm:t>
    </dgm:pt>
    <dgm:pt modelId="{F1698E92-011F-4F4C-96E3-9D39EF6E0537}">
      <dgm:prSet custT="1"/>
      <dgm:spPr/>
      <dgm:t>
        <a:bodyPr/>
        <a:lstStyle/>
        <a:p>
          <a:r>
            <a:rPr lang="en-IN" sz="1600" b="1" dirty="0">
              <a:solidFill>
                <a:schemeClr val="tx1"/>
              </a:solidFill>
              <a:latin typeface="Calibri" panose="020F0502020204030204" pitchFamily="34" charset="0"/>
            </a:rPr>
            <a:t>1. Temperature: </a:t>
          </a:r>
          <a:r>
            <a:rPr lang="en-IN" sz="1600" dirty="0">
              <a:solidFill>
                <a:schemeClr val="tx1"/>
              </a:solidFill>
              <a:latin typeface="Calibri" panose="020F0502020204030204" pitchFamily="34" charset="0"/>
            </a:rPr>
            <a:t>As the temperature of gas increases, its ability to hold water vapour increases.</a:t>
          </a:r>
        </a:p>
      </dgm:t>
    </dgm:pt>
    <dgm:pt modelId="{251AB51F-9416-9743-84B4-99B7C03D218B}" type="parTrans" cxnId="{C67FEF53-DA67-DB40-BEEF-8487FA62D670}">
      <dgm:prSet/>
      <dgm:spPr/>
      <dgm:t>
        <a:bodyPr/>
        <a:lstStyle/>
        <a:p>
          <a:endParaRPr lang="en-GB" sz="1600">
            <a:solidFill>
              <a:schemeClr val="tx1"/>
            </a:solidFill>
            <a:latin typeface="Gill Sans MT" panose="020B0502020104020203" pitchFamily="34" charset="0"/>
          </a:endParaRPr>
        </a:p>
      </dgm:t>
    </dgm:pt>
    <dgm:pt modelId="{8D6DA7A2-31C8-F446-AEF8-A13E2AFBDE20}" type="sibTrans" cxnId="{C67FEF53-DA67-DB40-BEEF-8487FA62D670}">
      <dgm:prSet/>
      <dgm:spPr/>
      <dgm:t>
        <a:bodyPr/>
        <a:lstStyle/>
        <a:p>
          <a:endParaRPr lang="en-GB" sz="1600">
            <a:solidFill>
              <a:schemeClr val="tx1"/>
            </a:solidFill>
            <a:latin typeface="Gill Sans MT" panose="020B0502020104020203" pitchFamily="34" charset="0"/>
          </a:endParaRPr>
        </a:p>
      </dgm:t>
    </dgm:pt>
    <dgm:pt modelId="{64744DF8-F55E-AD42-8663-727D46212818}">
      <dgm:prSet custT="1"/>
      <dgm:spPr/>
      <dgm:t>
        <a:bodyPr/>
        <a:lstStyle/>
        <a:p>
          <a:r>
            <a:rPr lang="en-IN" sz="1600" b="1" dirty="0">
              <a:solidFill>
                <a:schemeClr val="tx1"/>
              </a:solidFill>
              <a:latin typeface="Calibri" panose="020F0502020204030204" pitchFamily="34" charset="0"/>
            </a:rPr>
            <a:t>2. Surface area: </a:t>
          </a:r>
          <a:r>
            <a:rPr lang="en-IN" sz="1600" dirty="0">
              <a:solidFill>
                <a:schemeClr val="tx1"/>
              </a:solidFill>
              <a:latin typeface="Calibri" panose="020F0502020204030204" pitchFamily="34" charset="0"/>
            </a:rPr>
            <a:t>There is more opportunity for evaporation to occur due to greater surface area of contact between water and gas.</a:t>
          </a:r>
        </a:p>
      </dgm:t>
    </dgm:pt>
    <dgm:pt modelId="{79F69224-BB8F-9945-A9D9-A49879391612}" type="parTrans" cxnId="{ED96E052-8795-9340-9CAF-48059771444C}">
      <dgm:prSet/>
      <dgm:spPr/>
      <dgm:t>
        <a:bodyPr/>
        <a:lstStyle/>
        <a:p>
          <a:endParaRPr lang="en-GB" sz="1600">
            <a:solidFill>
              <a:schemeClr val="tx1"/>
            </a:solidFill>
            <a:latin typeface="Gill Sans MT" panose="020B0502020104020203" pitchFamily="34" charset="0"/>
          </a:endParaRPr>
        </a:p>
      </dgm:t>
    </dgm:pt>
    <dgm:pt modelId="{6EB0C09D-86CF-BF41-90CC-D120B74180FA}" type="sibTrans" cxnId="{ED96E052-8795-9340-9CAF-48059771444C}">
      <dgm:prSet/>
      <dgm:spPr/>
      <dgm:t>
        <a:bodyPr/>
        <a:lstStyle/>
        <a:p>
          <a:endParaRPr lang="en-GB" sz="1600">
            <a:solidFill>
              <a:schemeClr val="tx1"/>
            </a:solidFill>
            <a:latin typeface="Gill Sans MT" panose="020B0502020104020203" pitchFamily="34" charset="0"/>
          </a:endParaRPr>
        </a:p>
      </dgm:t>
    </dgm:pt>
    <dgm:pt modelId="{75598800-0700-AC4A-8DAF-76910F25EA21}">
      <dgm:prSet custT="1"/>
      <dgm:spPr/>
      <dgm:t>
        <a:bodyPr/>
        <a:lstStyle/>
        <a:p>
          <a:r>
            <a:rPr lang="en-IN" sz="1600" b="1" dirty="0">
              <a:solidFill>
                <a:schemeClr val="tx1"/>
              </a:solidFill>
              <a:latin typeface="Calibri" panose="020F0502020204030204" pitchFamily="34" charset="0"/>
            </a:rPr>
            <a:t>3. Time of contact: </a:t>
          </a:r>
          <a:r>
            <a:rPr lang="en-IN" sz="1600" dirty="0">
              <a:solidFill>
                <a:schemeClr val="tx1"/>
              </a:solidFill>
              <a:latin typeface="Calibri" panose="020F0502020204030204" pitchFamily="34" charset="0"/>
            </a:rPr>
            <a:t>There is more opportunity for evaporation to occur when a gas remains in contact with water for long duration.</a:t>
          </a:r>
        </a:p>
      </dgm:t>
    </dgm:pt>
    <dgm:pt modelId="{29A95617-29C4-EA4E-BEC9-4691F139CA4D}" type="parTrans" cxnId="{BA668684-AE4B-E247-B996-085B750EBE2A}">
      <dgm:prSet/>
      <dgm:spPr/>
      <dgm:t>
        <a:bodyPr/>
        <a:lstStyle/>
        <a:p>
          <a:endParaRPr lang="en-GB" sz="1600">
            <a:solidFill>
              <a:schemeClr val="tx1"/>
            </a:solidFill>
            <a:latin typeface="Gill Sans MT" panose="020B0502020104020203" pitchFamily="34" charset="0"/>
          </a:endParaRPr>
        </a:p>
      </dgm:t>
    </dgm:pt>
    <dgm:pt modelId="{5C6FFBBE-EF8B-404F-943D-9893C538D948}" type="sibTrans" cxnId="{BA668684-AE4B-E247-B996-085B750EBE2A}">
      <dgm:prSet/>
      <dgm:spPr/>
      <dgm:t>
        <a:bodyPr/>
        <a:lstStyle/>
        <a:p>
          <a:endParaRPr lang="en-GB" sz="1600">
            <a:solidFill>
              <a:schemeClr val="tx1"/>
            </a:solidFill>
            <a:latin typeface="Gill Sans MT" panose="020B0502020104020203" pitchFamily="34" charset="0"/>
          </a:endParaRPr>
        </a:p>
      </dgm:t>
    </dgm:pt>
    <dgm:pt modelId="{70C8CF7B-7063-FB41-B54E-84BE4625EB3E}" type="pres">
      <dgm:prSet presAssocID="{4F2C2A63-1B5A-5645-93D7-E7B51C0C5BD4}" presName="vert0" presStyleCnt="0">
        <dgm:presLayoutVars>
          <dgm:dir/>
          <dgm:animOne val="branch"/>
          <dgm:animLvl val="lvl"/>
        </dgm:presLayoutVars>
      </dgm:prSet>
      <dgm:spPr/>
    </dgm:pt>
    <dgm:pt modelId="{63BF553B-C892-3F4E-A693-5FE7DB2BEFAE}" type="pres">
      <dgm:prSet presAssocID="{0BEA4F6E-EFF8-2340-8C36-6FDA1B15533D}" presName="thickLine" presStyleLbl="alignNode1" presStyleIdx="0" presStyleCnt="4"/>
      <dgm:spPr/>
    </dgm:pt>
    <dgm:pt modelId="{063AF2F4-EFD1-5F43-9A04-E0302D362345}" type="pres">
      <dgm:prSet presAssocID="{0BEA4F6E-EFF8-2340-8C36-6FDA1B15533D}" presName="horz1" presStyleCnt="0"/>
      <dgm:spPr/>
    </dgm:pt>
    <dgm:pt modelId="{AB130C09-1DA9-A549-BEAD-3B7F11FE4068}" type="pres">
      <dgm:prSet presAssocID="{0BEA4F6E-EFF8-2340-8C36-6FDA1B15533D}" presName="tx1" presStyleLbl="revTx" presStyleIdx="0" presStyleCnt="4"/>
      <dgm:spPr/>
    </dgm:pt>
    <dgm:pt modelId="{5D59E32B-5902-8641-9947-82415727AD16}" type="pres">
      <dgm:prSet presAssocID="{0BEA4F6E-EFF8-2340-8C36-6FDA1B15533D}" presName="vert1" presStyleCnt="0"/>
      <dgm:spPr/>
    </dgm:pt>
    <dgm:pt modelId="{5DE9E155-2D5F-6A4F-8A13-8D9C19AD3776}" type="pres">
      <dgm:prSet presAssocID="{F1698E92-011F-4F4C-96E3-9D39EF6E0537}" presName="thickLine" presStyleLbl="alignNode1" presStyleIdx="1" presStyleCnt="4"/>
      <dgm:spPr/>
    </dgm:pt>
    <dgm:pt modelId="{3252B290-B519-BB4C-A050-D68F87694941}" type="pres">
      <dgm:prSet presAssocID="{F1698E92-011F-4F4C-96E3-9D39EF6E0537}" presName="horz1" presStyleCnt="0"/>
      <dgm:spPr/>
    </dgm:pt>
    <dgm:pt modelId="{1A084CEF-CD6C-9F44-9CDF-BC574056A606}" type="pres">
      <dgm:prSet presAssocID="{F1698E92-011F-4F4C-96E3-9D39EF6E0537}" presName="tx1" presStyleLbl="revTx" presStyleIdx="1" presStyleCnt="4"/>
      <dgm:spPr/>
    </dgm:pt>
    <dgm:pt modelId="{6455F807-074D-2040-8F84-1C36A47FD15E}" type="pres">
      <dgm:prSet presAssocID="{F1698E92-011F-4F4C-96E3-9D39EF6E0537}" presName="vert1" presStyleCnt="0"/>
      <dgm:spPr/>
    </dgm:pt>
    <dgm:pt modelId="{C148BCB5-B23E-C04F-BDBD-FFB3A89018DC}" type="pres">
      <dgm:prSet presAssocID="{64744DF8-F55E-AD42-8663-727D46212818}" presName="thickLine" presStyleLbl="alignNode1" presStyleIdx="2" presStyleCnt="4"/>
      <dgm:spPr/>
    </dgm:pt>
    <dgm:pt modelId="{4C35714C-8656-F04E-9AA7-0674650B3EB1}" type="pres">
      <dgm:prSet presAssocID="{64744DF8-F55E-AD42-8663-727D46212818}" presName="horz1" presStyleCnt="0"/>
      <dgm:spPr/>
    </dgm:pt>
    <dgm:pt modelId="{5B7A51DC-47D9-0542-8563-583474B9AC89}" type="pres">
      <dgm:prSet presAssocID="{64744DF8-F55E-AD42-8663-727D46212818}" presName="tx1" presStyleLbl="revTx" presStyleIdx="2" presStyleCnt="4"/>
      <dgm:spPr/>
    </dgm:pt>
    <dgm:pt modelId="{E65C103D-BE91-1F49-BDCC-DDDC60F77E79}" type="pres">
      <dgm:prSet presAssocID="{64744DF8-F55E-AD42-8663-727D46212818}" presName="vert1" presStyleCnt="0"/>
      <dgm:spPr/>
    </dgm:pt>
    <dgm:pt modelId="{8481D70E-C2B7-584D-B83D-7D9054E92BF2}" type="pres">
      <dgm:prSet presAssocID="{75598800-0700-AC4A-8DAF-76910F25EA21}" presName="thickLine" presStyleLbl="alignNode1" presStyleIdx="3" presStyleCnt="4"/>
      <dgm:spPr/>
    </dgm:pt>
    <dgm:pt modelId="{98C32056-6384-2E4D-AE11-F5E0F906D386}" type="pres">
      <dgm:prSet presAssocID="{75598800-0700-AC4A-8DAF-76910F25EA21}" presName="horz1" presStyleCnt="0"/>
      <dgm:spPr/>
    </dgm:pt>
    <dgm:pt modelId="{CF850D3D-C13A-E543-914A-F34109428873}" type="pres">
      <dgm:prSet presAssocID="{75598800-0700-AC4A-8DAF-76910F25EA21}" presName="tx1" presStyleLbl="revTx" presStyleIdx="3" presStyleCnt="4"/>
      <dgm:spPr/>
    </dgm:pt>
    <dgm:pt modelId="{6DF9F85B-E3F5-3546-92FD-2722E02DFA56}" type="pres">
      <dgm:prSet presAssocID="{75598800-0700-AC4A-8DAF-76910F25EA21}" presName="vert1" presStyleCnt="0"/>
      <dgm:spPr/>
    </dgm:pt>
  </dgm:ptLst>
  <dgm:cxnLst>
    <dgm:cxn modelId="{D08C7016-0FF2-EA4D-94BE-DD135AD51F2D}" type="presOf" srcId="{F1698E92-011F-4F4C-96E3-9D39EF6E0537}" destId="{1A084CEF-CD6C-9F44-9CDF-BC574056A606}" srcOrd="0" destOrd="0" presId="urn:microsoft.com/office/officeart/2008/layout/LinedList"/>
    <dgm:cxn modelId="{A1C3662C-15B4-6A4D-94F3-C73499341EBD}" type="presOf" srcId="{64744DF8-F55E-AD42-8663-727D46212818}" destId="{5B7A51DC-47D9-0542-8563-583474B9AC89}" srcOrd="0" destOrd="0" presId="urn:microsoft.com/office/officeart/2008/layout/LinedList"/>
    <dgm:cxn modelId="{8B252161-1E9E-6248-88A1-3B423FF7E4CC}" type="presOf" srcId="{0BEA4F6E-EFF8-2340-8C36-6FDA1B15533D}" destId="{AB130C09-1DA9-A549-BEAD-3B7F11FE4068}" srcOrd="0" destOrd="0" presId="urn:microsoft.com/office/officeart/2008/layout/LinedList"/>
    <dgm:cxn modelId="{D51E4A61-3826-ED43-8202-C51FA51BCF32}" type="presOf" srcId="{4F2C2A63-1B5A-5645-93D7-E7B51C0C5BD4}" destId="{70C8CF7B-7063-FB41-B54E-84BE4625EB3E}" srcOrd="0" destOrd="0" presId="urn:microsoft.com/office/officeart/2008/layout/LinedList"/>
    <dgm:cxn modelId="{ED96E052-8795-9340-9CAF-48059771444C}" srcId="{4F2C2A63-1B5A-5645-93D7-E7B51C0C5BD4}" destId="{64744DF8-F55E-AD42-8663-727D46212818}" srcOrd="2" destOrd="0" parTransId="{79F69224-BB8F-9945-A9D9-A49879391612}" sibTransId="{6EB0C09D-86CF-BF41-90CC-D120B74180FA}"/>
    <dgm:cxn modelId="{C67FEF53-DA67-DB40-BEEF-8487FA62D670}" srcId="{4F2C2A63-1B5A-5645-93D7-E7B51C0C5BD4}" destId="{F1698E92-011F-4F4C-96E3-9D39EF6E0537}" srcOrd="1" destOrd="0" parTransId="{251AB51F-9416-9743-84B4-99B7C03D218B}" sibTransId="{8D6DA7A2-31C8-F446-AEF8-A13E2AFBDE20}"/>
    <dgm:cxn modelId="{E9E7A855-AFB3-6A42-98F4-6D1FB0869545}" type="presOf" srcId="{75598800-0700-AC4A-8DAF-76910F25EA21}" destId="{CF850D3D-C13A-E543-914A-F34109428873}" srcOrd="0" destOrd="0" presId="urn:microsoft.com/office/officeart/2008/layout/LinedList"/>
    <dgm:cxn modelId="{79B7CF7D-87AE-CB4E-A9B2-DAB1710A95FE}" srcId="{4F2C2A63-1B5A-5645-93D7-E7B51C0C5BD4}" destId="{0BEA4F6E-EFF8-2340-8C36-6FDA1B15533D}" srcOrd="0" destOrd="0" parTransId="{2325345B-44F5-524F-8ED9-034ED78FF0B6}" sibTransId="{99CB0DE0-0C89-044D-BEF5-977F85E20B90}"/>
    <dgm:cxn modelId="{BA668684-AE4B-E247-B996-085B750EBE2A}" srcId="{4F2C2A63-1B5A-5645-93D7-E7B51C0C5BD4}" destId="{75598800-0700-AC4A-8DAF-76910F25EA21}" srcOrd="3" destOrd="0" parTransId="{29A95617-29C4-EA4E-BEC9-4691F139CA4D}" sibTransId="{5C6FFBBE-EF8B-404F-943D-9893C538D948}"/>
    <dgm:cxn modelId="{7851A940-8C21-1C49-B2B0-FCCFEFDCE40A}" type="presParOf" srcId="{70C8CF7B-7063-FB41-B54E-84BE4625EB3E}" destId="{63BF553B-C892-3F4E-A693-5FE7DB2BEFAE}" srcOrd="0" destOrd="0" presId="urn:microsoft.com/office/officeart/2008/layout/LinedList"/>
    <dgm:cxn modelId="{F543EA0F-FF98-C24D-B3C5-D85FA3AF4914}" type="presParOf" srcId="{70C8CF7B-7063-FB41-B54E-84BE4625EB3E}" destId="{063AF2F4-EFD1-5F43-9A04-E0302D362345}" srcOrd="1" destOrd="0" presId="urn:microsoft.com/office/officeart/2008/layout/LinedList"/>
    <dgm:cxn modelId="{17BD83D9-419C-1240-B16E-B2741CDF5655}" type="presParOf" srcId="{063AF2F4-EFD1-5F43-9A04-E0302D362345}" destId="{AB130C09-1DA9-A549-BEAD-3B7F11FE4068}" srcOrd="0" destOrd="0" presId="urn:microsoft.com/office/officeart/2008/layout/LinedList"/>
    <dgm:cxn modelId="{6D8615AD-D617-274D-974C-52B329B12576}" type="presParOf" srcId="{063AF2F4-EFD1-5F43-9A04-E0302D362345}" destId="{5D59E32B-5902-8641-9947-82415727AD16}" srcOrd="1" destOrd="0" presId="urn:microsoft.com/office/officeart/2008/layout/LinedList"/>
    <dgm:cxn modelId="{0408DEBE-039A-6C43-83F3-7E67CF38F3F5}" type="presParOf" srcId="{70C8CF7B-7063-FB41-B54E-84BE4625EB3E}" destId="{5DE9E155-2D5F-6A4F-8A13-8D9C19AD3776}" srcOrd="2" destOrd="0" presId="urn:microsoft.com/office/officeart/2008/layout/LinedList"/>
    <dgm:cxn modelId="{AE95E0F8-DEC9-A84E-8E02-E0EA005A2998}" type="presParOf" srcId="{70C8CF7B-7063-FB41-B54E-84BE4625EB3E}" destId="{3252B290-B519-BB4C-A050-D68F87694941}" srcOrd="3" destOrd="0" presId="urn:microsoft.com/office/officeart/2008/layout/LinedList"/>
    <dgm:cxn modelId="{AA0FA382-8FA4-054F-9D1E-48936BAFFB4C}" type="presParOf" srcId="{3252B290-B519-BB4C-A050-D68F87694941}" destId="{1A084CEF-CD6C-9F44-9CDF-BC574056A606}" srcOrd="0" destOrd="0" presId="urn:microsoft.com/office/officeart/2008/layout/LinedList"/>
    <dgm:cxn modelId="{8672337B-3F29-154D-8938-C3E638250843}" type="presParOf" srcId="{3252B290-B519-BB4C-A050-D68F87694941}" destId="{6455F807-074D-2040-8F84-1C36A47FD15E}" srcOrd="1" destOrd="0" presId="urn:microsoft.com/office/officeart/2008/layout/LinedList"/>
    <dgm:cxn modelId="{2C621090-75A9-E848-937C-BF633C4FE8A1}" type="presParOf" srcId="{70C8CF7B-7063-FB41-B54E-84BE4625EB3E}" destId="{C148BCB5-B23E-C04F-BDBD-FFB3A89018DC}" srcOrd="4" destOrd="0" presId="urn:microsoft.com/office/officeart/2008/layout/LinedList"/>
    <dgm:cxn modelId="{16BA8D15-75D9-CE4D-A9C7-FB1DA7B1957E}" type="presParOf" srcId="{70C8CF7B-7063-FB41-B54E-84BE4625EB3E}" destId="{4C35714C-8656-F04E-9AA7-0674650B3EB1}" srcOrd="5" destOrd="0" presId="urn:microsoft.com/office/officeart/2008/layout/LinedList"/>
    <dgm:cxn modelId="{A05A7824-A32B-1146-8F2E-6FF62845E2FE}" type="presParOf" srcId="{4C35714C-8656-F04E-9AA7-0674650B3EB1}" destId="{5B7A51DC-47D9-0542-8563-583474B9AC89}" srcOrd="0" destOrd="0" presId="urn:microsoft.com/office/officeart/2008/layout/LinedList"/>
    <dgm:cxn modelId="{9E6DA7A6-5180-A143-8454-54236E6E189A}" type="presParOf" srcId="{4C35714C-8656-F04E-9AA7-0674650B3EB1}" destId="{E65C103D-BE91-1F49-BDCC-DDDC60F77E79}" srcOrd="1" destOrd="0" presId="urn:microsoft.com/office/officeart/2008/layout/LinedList"/>
    <dgm:cxn modelId="{CC6461B3-CBB6-B24F-B075-A914171FAE61}" type="presParOf" srcId="{70C8CF7B-7063-FB41-B54E-84BE4625EB3E}" destId="{8481D70E-C2B7-584D-B83D-7D9054E92BF2}" srcOrd="6" destOrd="0" presId="urn:microsoft.com/office/officeart/2008/layout/LinedList"/>
    <dgm:cxn modelId="{A3AE014F-B833-B64E-A505-EB8C2124B254}" type="presParOf" srcId="{70C8CF7B-7063-FB41-B54E-84BE4625EB3E}" destId="{98C32056-6384-2E4D-AE11-F5E0F906D386}" srcOrd="7" destOrd="0" presId="urn:microsoft.com/office/officeart/2008/layout/LinedList"/>
    <dgm:cxn modelId="{022003F5-D62E-C940-8621-3A0F3C29175E}" type="presParOf" srcId="{98C32056-6384-2E4D-AE11-F5E0F906D386}" destId="{CF850D3D-C13A-E543-914A-F34109428873}" srcOrd="0" destOrd="0" presId="urn:microsoft.com/office/officeart/2008/layout/LinedList"/>
    <dgm:cxn modelId="{810EDEDC-A8D1-8E45-8F04-E628B4D3B250}" type="presParOf" srcId="{98C32056-6384-2E4D-AE11-F5E0F906D386}" destId="{6DF9F85B-E3F5-3546-92FD-2722E02DFA56}"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AAAC1FB-C13F-4B82-B5CA-CAD6D3D63680}"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IN"/>
        </a:p>
      </dgm:t>
    </dgm:pt>
    <dgm:pt modelId="{C3D30C6F-7262-4A81-96D9-B81924EA6A3C}">
      <dgm:prSet phldrT="[Text]" custT="1"/>
      <dgm:spPr>
        <a:solidFill>
          <a:schemeClr val="tx2"/>
        </a:solidFill>
      </dgm:spPr>
      <dgm:t>
        <a:bodyPr/>
        <a:lstStyle/>
        <a:p>
          <a:r>
            <a:rPr lang="en-IN" sz="1200" dirty="0">
              <a:solidFill>
                <a:schemeClr val="bg1"/>
              </a:solidFill>
              <a:latin typeface="Calibri" panose="020F0502020204030204" pitchFamily="34" charset="0"/>
            </a:rPr>
            <a:t>Oxygen</a:t>
          </a:r>
          <a:r>
            <a:rPr lang="en-IN" sz="1200" dirty="0">
              <a:solidFill>
                <a:schemeClr val="tx1"/>
              </a:solidFill>
              <a:latin typeface="Calibri" panose="020F0502020204030204" pitchFamily="34" charset="0"/>
            </a:rPr>
            <a:t> </a:t>
          </a:r>
          <a:r>
            <a:rPr lang="en-IN" sz="1200" dirty="0">
              <a:solidFill>
                <a:schemeClr val="bg1"/>
              </a:solidFill>
              <a:latin typeface="Calibri" panose="020F0502020204030204" pitchFamily="34" charset="0"/>
            </a:rPr>
            <a:t>Manufacturing</a:t>
          </a:r>
        </a:p>
      </dgm:t>
    </dgm:pt>
    <dgm:pt modelId="{DDB9DFEA-8BC2-4245-AE5C-34ED950F588E}" type="parTrans" cxnId="{3022F82B-CA5F-4A50-9668-D2F8E5874F5F}">
      <dgm:prSet/>
      <dgm:spPr/>
      <dgm:t>
        <a:bodyPr/>
        <a:lstStyle/>
        <a:p>
          <a:endParaRPr lang="en-IN" sz="1200">
            <a:solidFill>
              <a:schemeClr val="tx1"/>
            </a:solidFill>
            <a:latin typeface="Gill Sans MT" panose="020B0502020104020203" pitchFamily="34" charset="0"/>
          </a:endParaRPr>
        </a:p>
      </dgm:t>
    </dgm:pt>
    <dgm:pt modelId="{E0EB83A8-F999-403B-B01D-D1F36D2B9377}" type="sibTrans" cxnId="{3022F82B-CA5F-4A50-9668-D2F8E5874F5F}">
      <dgm:prSet/>
      <dgm:spPr/>
      <dgm:t>
        <a:bodyPr/>
        <a:lstStyle/>
        <a:p>
          <a:endParaRPr lang="en-IN" sz="1200">
            <a:solidFill>
              <a:schemeClr val="tx1"/>
            </a:solidFill>
            <a:latin typeface="Gill Sans MT" panose="020B0502020104020203" pitchFamily="34" charset="0"/>
          </a:endParaRPr>
        </a:p>
      </dgm:t>
    </dgm:pt>
    <dgm:pt modelId="{BDC411F0-E644-4EC8-BB86-4B7E109B32A2}" type="asst">
      <dgm:prSet phldrT="[Text]" custT="1"/>
      <dgm:spPr>
        <a:solidFill>
          <a:schemeClr val="accent1">
            <a:lumMod val="40000"/>
            <a:lumOff val="60000"/>
          </a:schemeClr>
        </a:solidFill>
      </dgm:spPr>
      <dgm:t>
        <a:bodyPr/>
        <a:lstStyle/>
        <a:p>
          <a:r>
            <a:rPr lang="en-IN" sz="1200" dirty="0">
              <a:solidFill>
                <a:schemeClr val="tx1"/>
              </a:solidFill>
              <a:latin typeface="Calibri" panose="020F0502020204030204" pitchFamily="34" charset="0"/>
            </a:rPr>
            <a:t>Cryogenic (industrial site)</a:t>
          </a:r>
        </a:p>
      </dgm:t>
    </dgm:pt>
    <dgm:pt modelId="{05B9D588-BF93-4D48-982C-28BCCB7A6282}" type="parTrans" cxnId="{9A10A8B3-CFF6-4685-8A65-AF90B3EF244B}">
      <dgm:prSet/>
      <dgm:spPr/>
      <dgm:t>
        <a:bodyPr/>
        <a:lstStyle/>
        <a:p>
          <a:endParaRPr lang="en-IN" sz="1200">
            <a:solidFill>
              <a:schemeClr val="tx1"/>
            </a:solidFill>
            <a:latin typeface="Gill Sans MT" panose="020B0502020104020203" pitchFamily="34" charset="0"/>
          </a:endParaRPr>
        </a:p>
      </dgm:t>
    </dgm:pt>
    <dgm:pt modelId="{ACCE2A17-1A33-410D-AB0C-C9172C88B4BB}" type="sibTrans" cxnId="{9A10A8B3-CFF6-4685-8A65-AF90B3EF244B}">
      <dgm:prSet/>
      <dgm:spPr/>
      <dgm:t>
        <a:bodyPr/>
        <a:lstStyle/>
        <a:p>
          <a:endParaRPr lang="en-IN" sz="1200">
            <a:solidFill>
              <a:schemeClr val="tx1"/>
            </a:solidFill>
            <a:latin typeface="Gill Sans MT" panose="020B0502020104020203" pitchFamily="34" charset="0"/>
          </a:endParaRPr>
        </a:p>
      </dgm:t>
    </dgm:pt>
    <dgm:pt modelId="{4DC117BC-548A-489F-9ABE-0AC15014A7F2}" type="asst">
      <dgm:prSet phldrT="[Text]" custT="1"/>
      <dgm:spPr>
        <a:solidFill>
          <a:schemeClr val="accent1">
            <a:lumMod val="40000"/>
            <a:lumOff val="60000"/>
          </a:schemeClr>
        </a:solidFill>
      </dgm:spPr>
      <dgm:t>
        <a:bodyPr/>
        <a:lstStyle/>
        <a:p>
          <a:r>
            <a:rPr lang="en-IN" sz="1200" dirty="0">
              <a:solidFill>
                <a:schemeClr val="tx1"/>
              </a:solidFill>
              <a:latin typeface="Calibri" panose="020F0502020204030204" pitchFamily="34" charset="0"/>
            </a:rPr>
            <a:t>Air Separation Units (ASUs) (industrial site)</a:t>
          </a:r>
        </a:p>
      </dgm:t>
    </dgm:pt>
    <dgm:pt modelId="{99EE4864-9F64-416E-A235-4C358AA2BA6F}" type="parTrans" cxnId="{A29527CF-D810-4C04-98C4-11CC2F53F5D5}">
      <dgm:prSet/>
      <dgm:spPr/>
      <dgm:t>
        <a:bodyPr/>
        <a:lstStyle/>
        <a:p>
          <a:endParaRPr lang="en-IN" sz="1200">
            <a:solidFill>
              <a:schemeClr val="tx1"/>
            </a:solidFill>
            <a:latin typeface="Gill Sans MT" panose="020B0502020104020203" pitchFamily="34" charset="0"/>
          </a:endParaRPr>
        </a:p>
      </dgm:t>
    </dgm:pt>
    <dgm:pt modelId="{BE03719F-BB63-45C1-8577-9230C829FE22}" type="sibTrans" cxnId="{A29527CF-D810-4C04-98C4-11CC2F53F5D5}">
      <dgm:prSet/>
      <dgm:spPr/>
      <dgm:t>
        <a:bodyPr/>
        <a:lstStyle/>
        <a:p>
          <a:endParaRPr lang="en-IN" sz="1200">
            <a:solidFill>
              <a:schemeClr val="tx1"/>
            </a:solidFill>
            <a:latin typeface="Gill Sans MT" panose="020B0502020104020203" pitchFamily="34" charset="0"/>
          </a:endParaRPr>
        </a:p>
      </dgm:t>
    </dgm:pt>
    <dgm:pt modelId="{E21EE6A3-73B1-41ED-8A88-DF0876380E2B}" type="asst">
      <dgm:prSet phldrT="[Text]" custT="1"/>
      <dgm:spPr>
        <a:solidFill>
          <a:schemeClr val="accent1">
            <a:lumMod val="40000"/>
            <a:lumOff val="60000"/>
          </a:schemeClr>
        </a:solidFill>
      </dgm:spPr>
      <dgm:t>
        <a:bodyPr/>
        <a:lstStyle/>
        <a:p>
          <a:r>
            <a:rPr lang="en-IN" sz="1200" dirty="0">
              <a:solidFill>
                <a:schemeClr val="tx1"/>
              </a:solidFill>
              <a:latin typeface="Calibri" panose="020F0502020204030204" pitchFamily="34" charset="0"/>
            </a:rPr>
            <a:t>PSA Plants (hospital site)</a:t>
          </a:r>
        </a:p>
      </dgm:t>
    </dgm:pt>
    <dgm:pt modelId="{8FE9E10A-CF40-4D3D-84D4-2FF416370B5A}" type="parTrans" cxnId="{C3E2C6FD-B00B-42FC-9294-E23C21D8FDFA}">
      <dgm:prSet/>
      <dgm:spPr/>
      <dgm:t>
        <a:bodyPr/>
        <a:lstStyle/>
        <a:p>
          <a:endParaRPr lang="en-IN" sz="1200">
            <a:solidFill>
              <a:schemeClr val="tx1"/>
            </a:solidFill>
            <a:latin typeface="Gill Sans MT" panose="020B0502020104020203" pitchFamily="34" charset="0"/>
          </a:endParaRPr>
        </a:p>
      </dgm:t>
    </dgm:pt>
    <dgm:pt modelId="{64BD780E-A9DC-49B4-A1B9-2BBBCF4DEB13}" type="sibTrans" cxnId="{C3E2C6FD-B00B-42FC-9294-E23C21D8FDFA}">
      <dgm:prSet/>
      <dgm:spPr/>
      <dgm:t>
        <a:bodyPr/>
        <a:lstStyle/>
        <a:p>
          <a:endParaRPr lang="en-IN" sz="1200">
            <a:solidFill>
              <a:schemeClr val="tx1"/>
            </a:solidFill>
            <a:latin typeface="Gill Sans MT" panose="020B0502020104020203" pitchFamily="34" charset="0"/>
          </a:endParaRPr>
        </a:p>
      </dgm:t>
    </dgm:pt>
    <dgm:pt modelId="{6F347903-0B8D-4CEE-91CA-DE87C0D64AC1}" type="asst">
      <dgm:prSet phldrT="[Text]" custT="1"/>
      <dgm:spPr>
        <a:solidFill>
          <a:schemeClr val="accent1">
            <a:lumMod val="40000"/>
            <a:lumOff val="60000"/>
          </a:schemeClr>
        </a:solidFill>
      </dgm:spPr>
      <dgm:t>
        <a:bodyPr/>
        <a:lstStyle/>
        <a:p>
          <a:r>
            <a:rPr lang="en-IN" sz="1200" dirty="0">
              <a:solidFill>
                <a:schemeClr val="tx1"/>
              </a:solidFill>
              <a:latin typeface="Calibri" panose="020F0502020204030204" pitchFamily="34" charset="0"/>
            </a:rPr>
            <a:t>Concentrators (hospital site)</a:t>
          </a:r>
        </a:p>
      </dgm:t>
    </dgm:pt>
    <dgm:pt modelId="{A4E46907-D0FE-41A0-A21A-9842EAADE718}" type="parTrans" cxnId="{53CD0E01-2CC6-41B7-A5A8-7D8C7677DB96}">
      <dgm:prSet/>
      <dgm:spPr/>
      <dgm:t>
        <a:bodyPr/>
        <a:lstStyle/>
        <a:p>
          <a:endParaRPr lang="en-IN" sz="1200">
            <a:solidFill>
              <a:schemeClr val="tx1"/>
            </a:solidFill>
            <a:latin typeface="Gill Sans MT" panose="020B0502020104020203" pitchFamily="34" charset="0"/>
          </a:endParaRPr>
        </a:p>
      </dgm:t>
    </dgm:pt>
    <dgm:pt modelId="{A41FB33A-1DD3-4396-B7CA-6692A532CB67}" type="sibTrans" cxnId="{53CD0E01-2CC6-41B7-A5A8-7D8C7677DB96}">
      <dgm:prSet/>
      <dgm:spPr/>
      <dgm:t>
        <a:bodyPr/>
        <a:lstStyle/>
        <a:p>
          <a:endParaRPr lang="en-IN" sz="1200">
            <a:solidFill>
              <a:schemeClr val="tx1"/>
            </a:solidFill>
            <a:latin typeface="Gill Sans MT" panose="020B0502020104020203" pitchFamily="34" charset="0"/>
          </a:endParaRPr>
        </a:p>
      </dgm:t>
    </dgm:pt>
    <dgm:pt modelId="{C94377DF-60A2-4C75-B465-CFFEF7E09E5E}" type="asst">
      <dgm:prSet phldrT="[Text]" custT="1"/>
      <dgm:spPr>
        <a:noFill/>
      </dgm:spPr>
      <dgm:t>
        <a:bodyPr/>
        <a:lstStyle/>
        <a:p>
          <a:r>
            <a:rPr lang="en-IN" sz="1200" dirty="0">
              <a:solidFill>
                <a:schemeClr val="tx1"/>
              </a:solidFill>
              <a:latin typeface="Calibri" panose="020F0502020204030204" pitchFamily="34" charset="0"/>
            </a:rPr>
            <a:t>LMO-based re-filler)</a:t>
          </a:r>
        </a:p>
      </dgm:t>
    </dgm:pt>
    <dgm:pt modelId="{6296290A-4C5A-4D86-9491-11D508836000}" type="parTrans" cxnId="{A05DEBD5-FF71-46FA-B9F1-266E1A426606}">
      <dgm:prSet/>
      <dgm:spPr/>
      <dgm:t>
        <a:bodyPr/>
        <a:lstStyle/>
        <a:p>
          <a:endParaRPr lang="en-IN" sz="1200">
            <a:solidFill>
              <a:schemeClr val="tx1"/>
            </a:solidFill>
            <a:latin typeface="Gill Sans MT" panose="020B0502020104020203" pitchFamily="34" charset="0"/>
          </a:endParaRPr>
        </a:p>
      </dgm:t>
    </dgm:pt>
    <dgm:pt modelId="{0A679839-3756-4F08-ABAB-F2B78B20A1B2}" type="sibTrans" cxnId="{A05DEBD5-FF71-46FA-B9F1-266E1A426606}">
      <dgm:prSet/>
      <dgm:spPr/>
      <dgm:t>
        <a:bodyPr/>
        <a:lstStyle/>
        <a:p>
          <a:endParaRPr lang="en-IN" sz="1200">
            <a:solidFill>
              <a:schemeClr val="tx1"/>
            </a:solidFill>
            <a:latin typeface="Gill Sans MT" panose="020B0502020104020203" pitchFamily="34" charset="0"/>
          </a:endParaRPr>
        </a:p>
      </dgm:t>
    </dgm:pt>
    <dgm:pt modelId="{FA32B876-3BE6-4D37-89A3-06291E70B34A}" type="asst">
      <dgm:prSet phldrT="[Text]" custT="1"/>
      <dgm:spPr>
        <a:noFill/>
      </dgm:spPr>
      <dgm:t>
        <a:bodyPr/>
        <a:lstStyle/>
        <a:p>
          <a:r>
            <a:rPr lang="en-IN" sz="1200" dirty="0">
              <a:solidFill>
                <a:schemeClr val="tx1"/>
              </a:solidFill>
              <a:latin typeface="Calibri" panose="020F0502020204030204" pitchFamily="34" charset="0"/>
            </a:rPr>
            <a:t>To facilities with LMO tanks</a:t>
          </a:r>
        </a:p>
      </dgm:t>
    </dgm:pt>
    <dgm:pt modelId="{7B7E134A-7C2D-4A29-9472-B48F936E1863}" type="parTrans" cxnId="{610001C8-4A68-4ACD-A9EB-86E69930B871}">
      <dgm:prSet/>
      <dgm:spPr/>
      <dgm:t>
        <a:bodyPr/>
        <a:lstStyle/>
        <a:p>
          <a:endParaRPr lang="en-IN" sz="1200">
            <a:solidFill>
              <a:schemeClr val="tx1"/>
            </a:solidFill>
            <a:latin typeface="Gill Sans MT" panose="020B0502020104020203" pitchFamily="34" charset="0"/>
          </a:endParaRPr>
        </a:p>
      </dgm:t>
    </dgm:pt>
    <dgm:pt modelId="{8AE2CF19-466B-4A59-88BF-4AAD8525DCE6}" type="sibTrans" cxnId="{610001C8-4A68-4ACD-A9EB-86E69930B871}">
      <dgm:prSet/>
      <dgm:spPr/>
      <dgm:t>
        <a:bodyPr/>
        <a:lstStyle/>
        <a:p>
          <a:endParaRPr lang="en-IN" sz="1200">
            <a:solidFill>
              <a:schemeClr val="tx1"/>
            </a:solidFill>
            <a:latin typeface="Gill Sans MT" panose="020B0502020104020203" pitchFamily="34" charset="0"/>
          </a:endParaRPr>
        </a:p>
      </dgm:t>
    </dgm:pt>
    <dgm:pt modelId="{85C0101F-DB28-460D-835F-066549E4E571}" type="asst">
      <dgm:prSet phldrT="[Text]" custT="1"/>
      <dgm:spPr>
        <a:noFill/>
      </dgm:spPr>
      <dgm:t>
        <a:bodyPr/>
        <a:lstStyle/>
        <a:p>
          <a:r>
            <a:rPr lang="en-IN" sz="1200" dirty="0">
              <a:solidFill>
                <a:schemeClr val="tx1"/>
              </a:solidFill>
              <a:latin typeface="Calibri" panose="020F0502020204030204" pitchFamily="34" charset="0"/>
            </a:rPr>
            <a:t>To facilities in Jumbo D type cylinders</a:t>
          </a:r>
        </a:p>
      </dgm:t>
    </dgm:pt>
    <dgm:pt modelId="{43FA1B12-41B0-4241-AD81-88496AFA4EEC}" type="parTrans" cxnId="{961E5F4D-128D-4755-A9AD-4F36EF8619C4}">
      <dgm:prSet/>
      <dgm:spPr/>
      <dgm:t>
        <a:bodyPr/>
        <a:lstStyle/>
        <a:p>
          <a:endParaRPr lang="en-IN" sz="1200">
            <a:solidFill>
              <a:schemeClr val="tx1"/>
            </a:solidFill>
            <a:latin typeface="Gill Sans MT" panose="020B0502020104020203" pitchFamily="34" charset="0"/>
          </a:endParaRPr>
        </a:p>
      </dgm:t>
    </dgm:pt>
    <dgm:pt modelId="{A82FCC70-23D7-44F4-9C29-AF16F5344F04}" type="sibTrans" cxnId="{961E5F4D-128D-4755-A9AD-4F36EF8619C4}">
      <dgm:prSet/>
      <dgm:spPr/>
      <dgm:t>
        <a:bodyPr/>
        <a:lstStyle/>
        <a:p>
          <a:endParaRPr lang="en-IN" sz="1200">
            <a:solidFill>
              <a:schemeClr val="tx1"/>
            </a:solidFill>
            <a:latin typeface="Gill Sans MT" panose="020B0502020104020203" pitchFamily="34" charset="0"/>
          </a:endParaRPr>
        </a:p>
      </dgm:t>
    </dgm:pt>
    <dgm:pt modelId="{F5C79008-3284-4FB1-A8F4-B97ED81AF5AC}" type="asst">
      <dgm:prSet phldrT="[Text]" custT="1"/>
      <dgm:spPr>
        <a:noFill/>
      </dgm:spPr>
      <dgm:t>
        <a:bodyPr/>
        <a:lstStyle/>
        <a:p>
          <a:r>
            <a:rPr lang="en-IN" sz="1200" dirty="0">
              <a:solidFill>
                <a:schemeClr val="tx1"/>
              </a:solidFill>
              <a:latin typeface="Calibri" panose="020F0502020204030204" pitchFamily="34" charset="0"/>
            </a:rPr>
            <a:t>To facilities in Jumbo D type cylinders</a:t>
          </a:r>
        </a:p>
      </dgm:t>
    </dgm:pt>
    <dgm:pt modelId="{BFF188E4-3921-4DDD-AB26-22BBBAFD940D}" type="parTrans" cxnId="{D99C06C6-EA65-4949-B4F8-488874E210E0}">
      <dgm:prSet/>
      <dgm:spPr/>
      <dgm:t>
        <a:bodyPr/>
        <a:lstStyle/>
        <a:p>
          <a:endParaRPr lang="en-IN" sz="1200">
            <a:solidFill>
              <a:schemeClr val="tx1"/>
            </a:solidFill>
            <a:latin typeface="Gill Sans MT" panose="020B0502020104020203" pitchFamily="34" charset="0"/>
          </a:endParaRPr>
        </a:p>
      </dgm:t>
    </dgm:pt>
    <dgm:pt modelId="{4C8E280F-2881-44A5-A0EA-87A0AD3CA577}" type="sibTrans" cxnId="{D99C06C6-EA65-4949-B4F8-488874E210E0}">
      <dgm:prSet/>
      <dgm:spPr/>
      <dgm:t>
        <a:bodyPr/>
        <a:lstStyle/>
        <a:p>
          <a:endParaRPr lang="en-IN" sz="1200">
            <a:solidFill>
              <a:schemeClr val="tx1"/>
            </a:solidFill>
            <a:latin typeface="Gill Sans MT" panose="020B0502020104020203" pitchFamily="34" charset="0"/>
          </a:endParaRPr>
        </a:p>
      </dgm:t>
    </dgm:pt>
    <dgm:pt modelId="{1C659E5C-9760-4BDF-BD3C-606312BCDA73}" type="asst">
      <dgm:prSet phldrT="[Text]" custT="1"/>
      <dgm:spPr>
        <a:noFill/>
      </dgm:spPr>
      <dgm:t>
        <a:bodyPr/>
        <a:lstStyle/>
        <a:p>
          <a:r>
            <a:rPr lang="en-IN" sz="1200" dirty="0">
              <a:solidFill>
                <a:schemeClr val="tx1"/>
              </a:solidFill>
              <a:latin typeface="Calibri" panose="020F0502020204030204" pitchFamily="34" charset="0"/>
            </a:rPr>
            <a:t>D type to retailers</a:t>
          </a:r>
        </a:p>
      </dgm:t>
    </dgm:pt>
    <dgm:pt modelId="{EE5E82F4-9D2E-41C4-83C1-8B4F4F8B19BA}" type="parTrans" cxnId="{B83EBA58-9A55-4003-BAB0-D5F8867AB154}">
      <dgm:prSet/>
      <dgm:spPr/>
      <dgm:t>
        <a:bodyPr/>
        <a:lstStyle/>
        <a:p>
          <a:endParaRPr lang="en-US" sz="1200">
            <a:latin typeface="Gill Sans MT" panose="020B0502020104020203" pitchFamily="34" charset="0"/>
          </a:endParaRPr>
        </a:p>
      </dgm:t>
    </dgm:pt>
    <dgm:pt modelId="{3C0360F3-0B4F-48D4-8CB1-0DB745ABBA44}" type="sibTrans" cxnId="{B83EBA58-9A55-4003-BAB0-D5F8867AB154}">
      <dgm:prSet/>
      <dgm:spPr/>
      <dgm:t>
        <a:bodyPr/>
        <a:lstStyle/>
        <a:p>
          <a:endParaRPr lang="en-US" sz="1200">
            <a:latin typeface="Gill Sans MT" panose="020B0502020104020203" pitchFamily="34" charset="0"/>
          </a:endParaRPr>
        </a:p>
      </dgm:t>
    </dgm:pt>
    <dgm:pt modelId="{CC92F73F-8741-4E0C-A75F-C775349057C0}" type="asst">
      <dgm:prSet phldrT="[Text]" custT="1"/>
      <dgm:spPr>
        <a:noFill/>
      </dgm:spPr>
      <dgm:t>
        <a:bodyPr/>
        <a:lstStyle/>
        <a:p>
          <a:r>
            <a:rPr lang="en-IN" sz="1200" dirty="0">
              <a:solidFill>
                <a:schemeClr val="tx1"/>
              </a:solidFill>
              <a:latin typeface="Calibri" panose="020F0502020204030204" pitchFamily="34" charset="0"/>
            </a:rPr>
            <a:t>Retailers to facilities</a:t>
          </a:r>
        </a:p>
      </dgm:t>
    </dgm:pt>
    <dgm:pt modelId="{A935A02A-0899-4E1C-9976-0E60AE02D57C}" type="parTrans" cxnId="{A465D5BE-D6AE-413D-8276-84FBE344C639}">
      <dgm:prSet/>
      <dgm:spPr/>
      <dgm:t>
        <a:bodyPr/>
        <a:lstStyle/>
        <a:p>
          <a:endParaRPr lang="en-US" sz="1200">
            <a:latin typeface="Gill Sans MT" panose="020B0502020104020203" pitchFamily="34" charset="0"/>
          </a:endParaRPr>
        </a:p>
      </dgm:t>
    </dgm:pt>
    <dgm:pt modelId="{578CE9B4-5B18-4BB8-B65A-4D98CA0C9E1B}" type="sibTrans" cxnId="{A465D5BE-D6AE-413D-8276-84FBE344C639}">
      <dgm:prSet/>
      <dgm:spPr/>
      <dgm:t>
        <a:bodyPr/>
        <a:lstStyle/>
        <a:p>
          <a:endParaRPr lang="en-US" sz="1200">
            <a:latin typeface="Gill Sans MT" panose="020B0502020104020203" pitchFamily="34" charset="0"/>
          </a:endParaRPr>
        </a:p>
      </dgm:t>
    </dgm:pt>
    <dgm:pt modelId="{28AB3758-8C7A-4D00-8F3C-068FBA9EBF4C}" type="asst">
      <dgm:prSet phldrT="[Text]" custT="1"/>
      <dgm:spPr>
        <a:noFill/>
      </dgm:spPr>
      <dgm:t>
        <a:bodyPr/>
        <a:lstStyle/>
        <a:p>
          <a:r>
            <a:rPr lang="en-IN" sz="1200" dirty="0">
              <a:solidFill>
                <a:schemeClr val="tx1"/>
              </a:solidFill>
              <a:latin typeface="Calibri" panose="020F0502020204030204" pitchFamily="34" charset="0"/>
            </a:rPr>
            <a:t>D type to retailers</a:t>
          </a:r>
        </a:p>
      </dgm:t>
    </dgm:pt>
    <dgm:pt modelId="{EB8A3029-C7E8-49B8-B368-339035F16488}" type="parTrans" cxnId="{EF54E64D-AECF-4B20-A52F-1025536C0921}">
      <dgm:prSet/>
      <dgm:spPr/>
      <dgm:t>
        <a:bodyPr/>
        <a:lstStyle/>
        <a:p>
          <a:endParaRPr lang="en-US" sz="1200">
            <a:latin typeface="Gill Sans MT" panose="020B0502020104020203" pitchFamily="34" charset="0"/>
          </a:endParaRPr>
        </a:p>
      </dgm:t>
    </dgm:pt>
    <dgm:pt modelId="{F582B392-9A8F-43D0-98A8-1B52073382E2}" type="sibTrans" cxnId="{EF54E64D-AECF-4B20-A52F-1025536C0921}">
      <dgm:prSet/>
      <dgm:spPr/>
      <dgm:t>
        <a:bodyPr/>
        <a:lstStyle/>
        <a:p>
          <a:endParaRPr lang="en-US" sz="1200">
            <a:latin typeface="Gill Sans MT" panose="020B0502020104020203" pitchFamily="34" charset="0"/>
          </a:endParaRPr>
        </a:p>
      </dgm:t>
    </dgm:pt>
    <dgm:pt modelId="{09683863-67A7-49A1-B3CB-3EA867E68A9A}" type="asst">
      <dgm:prSet phldrT="[Text]" custT="1"/>
      <dgm:spPr>
        <a:noFill/>
      </dgm:spPr>
      <dgm:t>
        <a:bodyPr/>
        <a:lstStyle/>
        <a:p>
          <a:r>
            <a:rPr lang="en-IN" sz="1200" dirty="0">
              <a:solidFill>
                <a:schemeClr val="tx1"/>
              </a:solidFill>
              <a:latin typeface="Calibri" panose="020F0502020204030204" pitchFamily="34" charset="0"/>
            </a:rPr>
            <a:t>Retailers to facilities</a:t>
          </a:r>
        </a:p>
      </dgm:t>
    </dgm:pt>
    <dgm:pt modelId="{92917B57-496C-42DF-A179-D07137A7D54E}" type="parTrans" cxnId="{E17FE61F-9B07-47E0-A630-4C88A99A2E80}">
      <dgm:prSet/>
      <dgm:spPr/>
      <dgm:t>
        <a:bodyPr/>
        <a:lstStyle/>
        <a:p>
          <a:endParaRPr lang="en-US" sz="1200">
            <a:latin typeface="Gill Sans MT" panose="020B0502020104020203" pitchFamily="34" charset="0"/>
          </a:endParaRPr>
        </a:p>
      </dgm:t>
    </dgm:pt>
    <dgm:pt modelId="{2E2DCC81-B65B-4296-8EE2-88A04F1ECED5}" type="sibTrans" cxnId="{E17FE61F-9B07-47E0-A630-4C88A99A2E80}">
      <dgm:prSet/>
      <dgm:spPr/>
      <dgm:t>
        <a:bodyPr/>
        <a:lstStyle/>
        <a:p>
          <a:endParaRPr lang="en-US" sz="1200">
            <a:latin typeface="Gill Sans MT" panose="020B0502020104020203" pitchFamily="34" charset="0"/>
          </a:endParaRPr>
        </a:p>
      </dgm:t>
    </dgm:pt>
    <dgm:pt modelId="{CD71C412-E071-4CB4-91B4-A64261F91F98}" type="pres">
      <dgm:prSet presAssocID="{7AAAC1FB-C13F-4B82-B5CA-CAD6D3D63680}" presName="hierChild1" presStyleCnt="0">
        <dgm:presLayoutVars>
          <dgm:orgChart val="1"/>
          <dgm:chPref val="1"/>
          <dgm:dir/>
          <dgm:animOne val="branch"/>
          <dgm:animLvl val="lvl"/>
          <dgm:resizeHandles/>
        </dgm:presLayoutVars>
      </dgm:prSet>
      <dgm:spPr/>
    </dgm:pt>
    <dgm:pt modelId="{418FB797-C0BA-4AE4-9EAF-8846A4085A07}" type="pres">
      <dgm:prSet presAssocID="{C3D30C6F-7262-4A81-96D9-B81924EA6A3C}" presName="hierRoot1" presStyleCnt="0">
        <dgm:presLayoutVars>
          <dgm:hierBranch val="init"/>
        </dgm:presLayoutVars>
      </dgm:prSet>
      <dgm:spPr/>
    </dgm:pt>
    <dgm:pt modelId="{6E5BC384-E0FE-4731-8D22-895259D1AC8E}" type="pres">
      <dgm:prSet presAssocID="{C3D30C6F-7262-4A81-96D9-B81924EA6A3C}" presName="rootComposite1" presStyleCnt="0"/>
      <dgm:spPr/>
    </dgm:pt>
    <dgm:pt modelId="{4D0DA715-B421-4F59-A16D-DA64AD59EC09}" type="pres">
      <dgm:prSet presAssocID="{C3D30C6F-7262-4A81-96D9-B81924EA6A3C}" presName="rootText1" presStyleLbl="node0" presStyleIdx="0" presStyleCnt="1">
        <dgm:presLayoutVars>
          <dgm:chPref val="3"/>
        </dgm:presLayoutVars>
      </dgm:prSet>
      <dgm:spPr/>
    </dgm:pt>
    <dgm:pt modelId="{0DDD7E7B-0418-4AC1-9CBE-0EF2F2459BF4}" type="pres">
      <dgm:prSet presAssocID="{C3D30C6F-7262-4A81-96D9-B81924EA6A3C}" presName="rootConnector1" presStyleLbl="node1" presStyleIdx="0" presStyleCnt="0"/>
      <dgm:spPr/>
    </dgm:pt>
    <dgm:pt modelId="{28002463-7DCD-4359-9770-C0DA0443E96C}" type="pres">
      <dgm:prSet presAssocID="{C3D30C6F-7262-4A81-96D9-B81924EA6A3C}" presName="hierChild2" presStyleCnt="0"/>
      <dgm:spPr/>
    </dgm:pt>
    <dgm:pt modelId="{23D67639-47D8-44C2-A828-5AC1F3865C19}" type="pres">
      <dgm:prSet presAssocID="{C3D30C6F-7262-4A81-96D9-B81924EA6A3C}" presName="hierChild3" presStyleCnt="0"/>
      <dgm:spPr/>
    </dgm:pt>
    <dgm:pt modelId="{27217E44-4219-47EC-9498-145D592962B6}" type="pres">
      <dgm:prSet presAssocID="{05B9D588-BF93-4D48-982C-28BCCB7A6282}" presName="Name111" presStyleLbl="parChTrans1D2" presStyleIdx="0" presStyleCnt="4"/>
      <dgm:spPr/>
    </dgm:pt>
    <dgm:pt modelId="{0BA4D311-2046-42E2-A384-B723586D0C7A}" type="pres">
      <dgm:prSet presAssocID="{BDC411F0-E644-4EC8-BB86-4B7E109B32A2}" presName="hierRoot3" presStyleCnt="0">
        <dgm:presLayoutVars>
          <dgm:hierBranch val="init"/>
        </dgm:presLayoutVars>
      </dgm:prSet>
      <dgm:spPr/>
    </dgm:pt>
    <dgm:pt modelId="{8E2B7696-F1BB-4F62-B1D5-EA40F47EF779}" type="pres">
      <dgm:prSet presAssocID="{BDC411F0-E644-4EC8-BB86-4B7E109B32A2}" presName="rootComposite3" presStyleCnt="0"/>
      <dgm:spPr/>
    </dgm:pt>
    <dgm:pt modelId="{1BB7DDC8-EF66-4D22-BDB0-E0B19802035D}" type="pres">
      <dgm:prSet presAssocID="{BDC411F0-E644-4EC8-BB86-4B7E109B32A2}" presName="rootText3" presStyleLbl="asst1" presStyleIdx="0" presStyleCnt="12">
        <dgm:presLayoutVars>
          <dgm:chPref val="3"/>
        </dgm:presLayoutVars>
      </dgm:prSet>
      <dgm:spPr/>
    </dgm:pt>
    <dgm:pt modelId="{6AC5DF71-2093-4A1C-B40A-087435FC1FCA}" type="pres">
      <dgm:prSet presAssocID="{BDC411F0-E644-4EC8-BB86-4B7E109B32A2}" presName="rootConnector3" presStyleLbl="asst1" presStyleIdx="0" presStyleCnt="12"/>
      <dgm:spPr/>
    </dgm:pt>
    <dgm:pt modelId="{FC81B739-5108-4E8D-846D-170C8F68E6B1}" type="pres">
      <dgm:prSet presAssocID="{BDC411F0-E644-4EC8-BB86-4B7E109B32A2}" presName="hierChild6" presStyleCnt="0"/>
      <dgm:spPr/>
    </dgm:pt>
    <dgm:pt modelId="{C9E5F84D-A048-43F0-819A-EE399AD4F67F}" type="pres">
      <dgm:prSet presAssocID="{BDC411F0-E644-4EC8-BB86-4B7E109B32A2}" presName="hierChild7" presStyleCnt="0"/>
      <dgm:spPr/>
    </dgm:pt>
    <dgm:pt modelId="{36337CD3-0044-4708-9497-306ABECFB923}" type="pres">
      <dgm:prSet presAssocID="{6296290A-4C5A-4D86-9491-11D508836000}" presName="Name111" presStyleLbl="parChTrans1D3" presStyleIdx="0" presStyleCnt="4"/>
      <dgm:spPr/>
    </dgm:pt>
    <dgm:pt modelId="{300D7BA5-45A4-4055-85C6-A3A9109C1D5A}" type="pres">
      <dgm:prSet presAssocID="{C94377DF-60A2-4C75-B465-CFFEF7E09E5E}" presName="hierRoot3" presStyleCnt="0">
        <dgm:presLayoutVars>
          <dgm:hierBranch val="init"/>
        </dgm:presLayoutVars>
      </dgm:prSet>
      <dgm:spPr/>
    </dgm:pt>
    <dgm:pt modelId="{CA85A656-CC40-4867-A59F-8CB026B61226}" type="pres">
      <dgm:prSet presAssocID="{C94377DF-60A2-4C75-B465-CFFEF7E09E5E}" presName="rootComposite3" presStyleCnt="0"/>
      <dgm:spPr/>
    </dgm:pt>
    <dgm:pt modelId="{E730F0D9-288F-4FC3-A564-3FF88D98B57A}" type="pres">
      <dgm:prSet presAssocID="{C94377DF-60A2-4C75-B465-CFFEF7E09E5E}" presName="rootText3" presStyleLbl="asst1" presStyleIdx="1" presStyleCnt="12">
        <dgm:presLayoutVars>
          <dgm:chPref val="3"/>
        </dgm:presLayoutVars>
      </dgm:prSet>
      <dgm:spPr/>
    </dgm:pt>
    <dgm:pt modelId="{43EF0916-21D3-48E4-B875-8D8F400F0073}" type="pres">
      <dgm:prSet presAssocID="{C94377DF-60A2-4C75-B465-CFFEF7E09E5E}" presName="rootConnector3" presStyleLbl="asst1" presStyleIdx="1" presStyleCnt="12"/>
      <dgm:spPr/>
    </dgm:pt>
    <dgm:pt modelId="{A9784AD9-D02C-4115-BDCC-CB4678C554F2}" type="pres">
      <dgm:prSet presAssocID="{C94377DF-60A2-4C75-B465-CFFEF7E09E5E}" presName="hierChild6" presStyleCnt="0"/>
      <dgm:spPr/>
    </dgm:pt>
    <dgm:pt modelId="{EE57047C-F48C-48D0-AC02-4A60D5354827}" type="pres">
      <dgm:prSet presAssocID="{C94377DF-60A2-4C75-B465-CFFEF7E09E5E}" presName="hierChild7" presStyleCnt="0"/>
      <dgm:spPr/>
    </dgm:pt>
    <dgm:pt modelId="{6FC52651-05CA-4355-B833-92FDF171EBEF}" type="pres">
      <dgm:prSet presAssocID="{BFF188E4-3921-4DDD-AB26-22BBBAFD940D}" presName="Name111" presStyleLbl="parChTrans1D4" presStyleIdx="0" presStyleCnt="4"/>
      <dgm:spPr/>
    </dgm:pt>
    <dgm:pt modelId="{A95852E4-A6A0-4C07-83B9-4EF2557D780C}" type="pres">
      <dgm:prSet presAssocID="{F5C79008-3284-4FB1-A8F4-B97ED81AF5AC}" presName="hierRoot3" presStyleCnt="0">
        <dgm:presLayoutVars>
          <dgm:hierBranch val="init"/>
        </dgm:presLayoutVars>
      </dgm:prSet>
      <dgm:spPr/>
    </dgm:pt>
    <dgm:pt modelId="{ADCC49D8-D9A1-4615-9008-1C282B9F7751}" type="pres">
      <dgm:prSet presAssocID="{F5C79008-3284-4FB1-A8F4-B97ED81AF5AC}" presName="rootComposite3" presStyleCnt="0"/>
      <dgm:spPr/>
    </dgm:pt>
    <dgm:pt modelId="{3AB49A2B-6BC6-4D04-A84B-B3A926DC2622}" type="pres">
      <dgm:prSet presAssocID="{F5C79008-3284-4FB1-A8F4-B97ED81AF5AC}" presName="rootText3" presStyleLbl="asst1" presStyleIdx="2" presStyleCnt="12">
        <dgm:presLayoutVars>
          <dgm:chPref val="3"/>
        </dgm:presLayoutVars>
      </dgm:prSet>
      <dgm:spPr/>
    </dgm:pt>
    <dgm:pt modelId="{5F86036D-B144-481B-8F36-C70420E886C9}" type="pres">
      <dgm:prSet presAssocID="{F5C79008-3284-4FB1-A8F4-B97ED81AF5AC}" presName="rootConnector3" presStyleLbl="asst1" presStyleIdx="2" presStyleCnt="12"/>
      <dgm:spPr/>
    </dgm:pt>
    <dgm:pt modelId="{0B300F46-4B52-46F4-B66D-CAC41BBE3952}" type="pres">
      <dgm:prSet presAssocID="{F5C79008-3284-4FB1-A8F4-B97ED81AF5AC}" presName="hierChild6" presStyleCnt="0"/>
      <dgm:spPr/>
    </dgm:pt>
    <dgm:pt modelId="{97A46F73-C0D2-4022-B48C-B117747EB85E}" type="pres">
      <dgm:prSet presAssocID="{F5C79008-3284-4FB1-A8F4-B97ED81AF5AC}" presName="hierChild7" presStyleCnt="0"/>
      <dgm:spPr/>
    </dgm:pt>
    <dgm:pt modelId="{C1022AFC-7D81-4F42-A5FB-A266DB577358}" type="pres">
      <dgm:prSet presAssocID="{EE5E82F4-9D2E-41C4-83C1-8B4F4F8B19BA}" presName="Name111" presStyleLbl="parChTrans1D4" presStyleIdx="1" presStyleCnt="4"/>
      <dgm:spPr/>
    </dgm:pt>
    <dgm:pt modelId="{713BEB3A-9889-4575-9F02-996B755C0348}" type="pres">
      <dgm:prSet presAssocID="{1C659E5C-9760-4BDF-BD3C-606312BCDA73}" presName="hierRoot3" presStyleCnt="0">
        <dgm:presLayoutVars>
          <dgm:hierBranch val="init"/>
        </dgm:presLayoutVars>
      </dgm:prSet>
      <dgm:spPr/>
    </dgm:pt>
    <dgm:pt modelId="{8F8D3CB5-9296-4C8B-AED0-9A33160D0A1B}" type="pres">
      <dgm:prSet presAssocID="{1C659E5C-9760-4BDF-BD3C-606312BCDA73}" presName="rootComposite3" presStyleCnt="0"/>
      <dgm:spPr/>
    </dgm:pt>
    <dgm:pt modelId="{72E81D15-9824-4974-9E30-CBFC28FEF2D7}" type="pres">
      <dgm:prSet presAssocID="{1C659E5C-9760-4BDF-BD3C-606312BCDA73}" presName="rootText3" presStyleLbl="asst1" presStyleIdx="3" presStyleCnt="12">
        <dgm:presLayoutVars>
          <dgm:chPref val="3"/>
        </dgm:presLayoutVars>
      </dgm:prSet>
      <dgm:spPr/>
    </dgm:pt>
    <dgm:pt modelId="{03D57E5C-087D-4795-BF91-B0D589366BBF}" type="pres">
      <dgm:prSet presAssocID="{1C659E5C-9760-4BDF-BD3C-606312BCDA73}" presName="rootConnector3" presStyleLbl="asst1" presStyleIdx="3" presStyleCnt="12"/>
      <dgm:spPr/>
    </dgm:pt>
    <dgm:pt modelId="{D7489976-97D5-4393-AA90-F0BC6D975197}" type="pres">
      <dgm:prSet presAssocID="{1C659E5C-9760-4BDF-BD3C-606312BCDA73}" presName="hierChild6" presStyleCnt="0"/>
      <dgm:spPr/>
    </dgm:pt>
    <dgm:pt modelId="{B8F8AD13-797B-44E2-A0B9-D5F8D5B1DC3F}" type="pres">
      <dgm:prSet presAssocID="{1C659E5C-9760-4BDF-BD3C-606312BCDA73}" presName="hierChild7" presStyleCnt="0"/>
      <dgm:spPr/>
    </dgm:pt>
    <dgm:pt modelId="{1679C7A9-37A8-4C53-9B40-5B7ADC9A3D54}" type="pres">
      <dgm:prSet presAssocID="{A935A02A-0899-4E1C-9976-0E60AE02D57C}" presName="Name111" presStyleLbl="parChTrans1D4" presStyleIdx="2" presStyleCnt="4"/>
      <dgm:spPr/>
    </dgm:pt>
    <dgm:pt modelId="{9D767867-DCDA-4F0F-AAE7-1A3CDFAC8353}" type="pres">
      <dgm:prSet presAssocID="{CC92F73F-8741-4E0C-A75F-C775349057C0}" presName="hierRoot3" presStyleCnt="0">
        <dgm:presLayoutVars>
          <dgm:hierBranch val="init"/>
        </dgm:presLayoutVars>
      </dgm:prSet>
      <dgm:spPr/>
    </dgm:pt>
    <dgm:pt modelId="{99C6151A-08A7-4AC9-A9AD-336D48B7FE0D}" type="pres">
      <dgm:prSet presAssocID="{CC92F73F-8741-4E0C-A75F-C775349057C0}" presName="rootComposite3" presStyleCnt="0"/>
      <dgm:spPr/>
    </dgm:pt>
    <dgm:pt modelId="{E89F4909-FE1C-443F-8344-1D523811B5C7}" type="pres">
      <dgm:prSet presAssocID="{CC92F73F-8741-4E0C-A75F-C775349057C0}" presName="rootText3" presStyleLbl="asst1" presStyleIdx="4" presStyleCnt="12">
        <dgm:presLayoutVars>
          <dgm:chPref val="3"/>
        </dgm:presLayoutVars>
      </dgm:prSet>
      <dgm:spPr/>
    </dgm:pt>
    <dgm:pt modelId="{C344437F-7546-48F0-93F0-66D8E3E1524C}" type="pres">
      <dgm:prSet presAssocID="{CC92F73F-8741-4E0C-A75F-C775349057C0}" presName="rootConnector3" presStyleLbl="asst1" presStyleIdx="4" presStyleCnt="12"/>
      <dgm:spPr/>
    </dgm:pt>
    <dgm:pt modelId="{B84FD289-EC3E-4D57-BE96-FC051DA24012}" type="pres">
      <dgm:prSet presAssocID="{CC92F73F-8741-4E0C-A75F-C775349057C0}" presName="hierChild6" presStyleCnt="0"/>
      <dgm:spPr/>
    </dgm:pt>
    <dgm:pt modelId="{E22BEC96-4360-4F99-8B0F-2C6CC13371AB}" type="pres">
      <dgm:prSet presAssocID="{CC92F73F-8741-4E0C-A75F-C775349057C0}" presName="hierChild7" presStyleCnt="0"/>
      <dgm:spPr/>
    </dgm:pt>
    <dgm:pt modelId="{C8FED99D-E3E4-4EDB-8D15-A9634043370B}" type="pres">
      <dgm:prSet presAssocID="{7B7E134A-7C2D-4A29-9472-B48F936E1863}" presName="Name111" presStyleLbl="parChTrans1D3" presStyleIdx="1" presStyleCnt="4"/>
      <dgm:spPr/>
    </dgm:pt>
    <dgm:pt modelId="{50E33169-D16E-420D-9ECC-0A04B91CDD85}" type="pres">
      <dgm:prSet presAssocID="{FA32B876-3BE6-4D37-89A3-06291E70B34A}" presName="hierRoot3" presStyleCnt="0">
        <dgm:presLayoutVars>
          <dgm:hierBranch val="init"/>
        </dgm:presLayoutVars>
      </dgm:prSet>
      <dgm:spPr/>
    </dgm:pt>
    <dgm:pt modelId="{6D30B6F1-1178-4710-A2A6-4C88C58B7AC2}" type="pres">
      <dgm:prSet presAssocID="{FA32B876-3BE6-4D37-89A3-06291E70B34A}" presName="rootComposite3" presStyleCnt="0"/>
      <dgm:spPr/>
    </dgm:pt>
    <dgm:pt modelId="{15E681CE-76FE-4F1D-8906-35701364ACD5}" type="pres">
      <dgm:prSet presAssocID="{FA32B876-3BE6-4D37-89A3-06291E70B34A}" presName="rootText3" presStyleLbl="asst1" presStyleIdx="5" presStyleCnt="12">
        <dgm:presLayoutVars>
          <dgm:chPref val="3"/>
        </dgm:presLayoutVars>
      </dgm:prSet>
      <dgm:spPr/>
    </dgm:pt>
    <dgm:pt modelId="{0B75A6EA-8D69-48F0-BD9D-C8FA29E913E2}" type="pres">
      <dgm:prSet presAssocID="{FA32B876-3BE6-4D37-89A3-06291E70B34A}" presName="rootConnector3" presStyleLbl="asst1" presStyleIdx="5" presStyleCnt="12"/>
      <dgm:spPr/>
    </dgm:pt>
    <dgm:pt modelId="{D409E109-7B94-47A3-8690-C32B03A4509F}" type="pres">
      <dgm:prSet presAssocID="{FA32B876-3BE6-4D37-89A3-06291E70B34A}" presName="hierChild6" presStyleCnt="0"/>
      <dgm:spPr/>
    </dgm:pt>
    <dgm:pt modelId="{7DF2D2F1-C306-4784-BEEC-295571166A01}" type="pres">
      <dgm:prSet presAssocID="{FA32B876-3BE6-4D37-89A3-06291E70B34A}" presName="hierChild7" presStyleCnt="0"/>
      <dgm:spPr/>
    </dgm:pt>
    <dgm:pt modelId="{7E9036D4-A6C5-4C87-A68B-A47AE0F6CCFA}" type="pres">
      <dgm:prSet presAssocID="{99EE4864-9F64-416E-A235-4C358AA2BA6F}" presName="Name111" presStyleLbl="parChTrans1D2" presStyleIdx="1" presStyleCnt="4"/>
      <dgm:spPr/>
    </dgm:pt>
    <dgm:pt modelId="{A9AACBD7-533F-448E-AA75-470B7CE6E183}" type="pres">
      <dgm:prSet presAssocID="{4DC117BC-548A-489F-9ABE-0AC15014A7F2}" presName="hierRoot3" presStyleCnt="0">
        <dgm:presLayoutVars>
          <dgm:hierBranch val="init"/>
        </dgm:presLayoutVars>
      </dgm:prSet>
      <dgm:spPr/>
    </dgm:pt>
    <dgm:pt modelId="{58856417-416F-46D8-A8DF-8DF5C5F7E7A8}" type="pres">
      <dgm:prSet presAssocID="{4DC117BC-548A-489F-9ABE-0AC15014A7F2}" presName="rootComposite3" presStyleCnt="0"/>
      <dgm:spPr/>
    </dgm:pt>
    <dgm:pt modelId="{7DDEACFD-9907-4127-A5FB-8F4B6D6ADEC0}" type="pres">
      <dgm:prSet presAssocID="{4DC117BC-548A-489F-9ABE-0AC15014A7F2}" presName="rootText3" presStyleLbl="asst1" presStyleIdx="6" presStyleCnt="12">
        <dgm:presLayoutVars>
          <dgm:chPref val="3"/>
        </dgm:presLayoutVars>
      </dgm:prSet>
      <dgm:spPr/>
    </dgm:pt>
    <dgm:pt modelId="{FBB93A22-CFE6-49E3-88F9-49AFE8D8816C}" type="pres">
      <dgm:prSet presAssocID="{4DC117BC-548A-489F-9ABE-0AC15014A7F2}" presName="rootConnector3" presStyleLbl="asst1" presStyleIdx="6" presStyleCnt="12"/>
      <dgm:spPr/>
    </dgm:pt>
    <dgm:pt modelId="{7870ACAF-4DD0-411D-8F72-BC9382802665}" type="pres">
      <dgm:prSet presAssocID="{4DC117BC-548A-489F-9ABE-0AC15014A7F2}" presName="hierChild6" presStyleCnt="0"/>
      <dgm:spPr/>
    </dgm:pt>
    <dgm:pt modelId="{1B9605BF-35B3-4FA1-B576-3EA11B3DC147}" type="pres">
      <dgm:prSet presAssocID="{4DC117BC-548A-489F-9ABE-0AC15014A7F2}" presName="hierChild7" presStyleCnt="0"/>
      <dgm:spPr/>
    </dgm:pt>
    <dgm:pt modelId="{70C9077C-82CC-4064-B8AC-3BFD84DB2EFA}" type="pres">
      <dgm:prSet presAssocID="{43FA1B12-41B0-4241-AD81-88496AFA4EEC}" presName="Name111" presStyleLbl="parChTrans1D3" presStyleIdx="2" presStyleCnt="4"/>
      <dgm:spPr/>
    </dgm:pt>
    <dgm:pt modelId="{0461C58D-7F3E-4B86-8F24-517DC164A7B0}" type="pres">
      <dgm:prSet presAssocID="{85C0101F-DB28-460D-835F-066549E4E571}" presName="hierRoot3" presStyleCnt="0">
        <dgm:presLayoutVars>
          <dgm:hierBranch val="init"/>
        </dgm:presLayoutVars>
      </dgm:prSet>
      <dgm:spPr/>
    </dgm:pt>
    <dgm:pt modelId="{DC863BCB-E2E0-4798-8600-ACC7ECAF33E6}" type="pres">
      <dgm:prSet presAssocID="{85C0101F-DB28-460D-835F-066549E4E571}" presName="rootComposite3" presStyleCnt="0"/>
      <dgm:spPr/>
    </dgm:pt>
    <dgm:pt modelId="{99EACDF6-99FC-4A75-B944-DD3B8E4CEE35}" type="pres">
      <dgm:prSet presAssocID="{85C0101F-DB28-460D-835F-066549E4E571}" presName="rootText3" presStyleLbl="asst1" presStyleIdx="7" presStyleCnt="12">
        <dgm:presLayoutVars>
          <dgm:chPref val="3"/>
        </dgm:presLayoutVars>
      </dgm:prSet>
      <dgm:spPr/>
    </dgm:pt>
    <dgm:pt modelId="{AB569B33-F6B2-427E-B549-0016B97B89E4}" type="pres">
      <dgm:prSet presAssocID="{85C0101F-DB28-460D-835F-066549E4E571}" presName="rootConnector3" presStyleLbl="asst1" presStyleIdx="7" presStyleCnt="12"/>
      <dgm:spPr/>
    </dgm:pt>
    <dgm:pt modelId="{78750EF1-AEFF-49B4-998A-011133B486A4}" type="pres">
      <dgm:prSet presAssocID="{85C0101F-DB28-460D-835F-066549E4E571}" presName="hierChild6" presStyleCnt="0"/>
      <dgm:spPr/>
    </dgm:pt>
    <dgm:pt modelId="{07099AAE-2E6B-4777-A1D1-2EEDC2EB1CD0}" type="pres">
      <dgm:prSet presAssocID="{85C0101F-DB28-460D-835F-066549E4E571}" presName="hierChild7" presStyleCnt="0"/>
      <dgm:spPr/>
    </dgm:pt>
    <dgm:pt modelId="{E54CCE39-C158-4445-AE55-E9204AA71FD1}" type="pres">
      <dgm:prSet presAssocID="{EB8A3029-C7E8-49B8-B368-339035F16488}" presName="Name111" presStyleLbl="parChTrans1D3" presStyleIdx="3" presStyleCnt="4"/>
      <dgm:spPr/>
    </dgm:pt>
    <dgm:pt modelId="{64B12471-4166-4E8E-B310-133B2A22E718}" type="pres">
      <dgm:prSet presAssocID="{28AB3758-8C7A-4D00-8F3C-068FBA9EBF4C}" presName="hierRoot3" presStyleCnt="0">
        <dgm:presLayoutVars>
          <dgm:hierBranch val="init"/>
        </dgm:presLayoutVars>
      </dgm:prSet>
      <dgm:spPr/>
    </dgm:pt>
    <dgm:pt modelId="{D2720814-8C10-44A6-8E33-5B3D616B632D}" type="pres">
      <dgm:prSet presAssocID="{28AB3758-8C7A-4D00-8F3C-068FBA9EBF4C}" presName="rootComposite3" presStyleCnt="0"/>
      <dgm:spPr/>
    </dgm:pt>
    <dgm:pt modelId="{B57A22CC-0216-4B6B-B986-C8AAC030463D}" type="pres">
      <dgm:prSet presAssocID="{28AB3758-8C7A-4D00-8F3C-068FBA9EBF4C}" presName="rootText3" presStyleLbl="asst1" presStyleIdx="8" presStyleCnt="12">
        <dgm:presLayoutVars>
          <dgm:chPref val="3"/>
        </dgm:presLayoutVars>
      </dgm:prSet>
      <dgm:spPr/>
    </dgm:pt>
    <dgm:pt modelId="{E796C7BF-C22F-4C7F-9507-719E63FA01AD}" type="pres">
      <dgm:prSet presAssocID="{28AB3758-8C7A-4D00-8F3C-068FBA9EBF4C}" presName="rootConnector3" presStyleLbl="asst1" presStyleIdx="8" presStyleCnt="12"/>
      <dgm:spPr/>
    </dgm:pt>
    <dgm:pt modelId="{B4C231C4-83C0-4099-93D2-73FA38A1F0BA}" type="pres">
      <dgm:prSet presAssocID="{28AB3758-8C7A-4D00-8F3C-068FBA9EBF4C}" presName="hierChild6" presStyleCnt="0"/>
      <dgm:spPr/>
    </dgm:pt>
    <dgm:pt modelId="{01521E51-6826-4B3F-8F50-08E6AA8A63B3}" type="pres">
      <dgm:prSet presAssocID="{28AB3758-8C7A-4D00-8F3C-068FBA9EBF4C}" presName="hierChild7" presStyleCnt="0"/>
      <dgm:spPr/>
    </dgm:pt>
    <dgm:pt modelId="{DC717EB4-FE58-46EF-ACD2-CA05E8C3B691}" type="pres">
      <dgm:prSet presAssocID="{92917B57-496C-42DF-A179-D07137A7D54E}" presName="Name111" presStyleLbl="parChTrans1D4" presStyleIdx="3" presStyleCnt="4"/>
      <dgm:spPr/>
    </dgm:pt>
    <dgm:pt modelId="{25B412C7-B174-4BCF-A4A0-FA41AC07593E}" type="pres">
      <dgm:prSet presAssocID="{09683863-67A7-49A1-B3CB-3EA867E68A9A}" presName="hierRoot3" presStyleCnt="0">
        <dgm:presLayoutVars>
          <dgm:hierBranch val="init"/>
        </dgm:presLayoutVars>
      </dgm:prSet>
      <dgm:spPr/>
    </dgm:pt>
    <dgm:pt modelId="{2C2BADE2-CE85-4594-A42D-A749B6DD1B3D}" type="pres">
      <dgm:prSet presAssocID="{09683863-67A7-49A1-B3CB-3EA867E68A9A}" presName="rootComposite3" presStyleCnt="0"/>
      <dgm:spPr/>
    </dgm:pt>
    <dgm:pt modelId="{699D4282-A4C9-4AB5-B67D-460EBDA9D404}" type="pres">
      <dgm:prSet presAssocID="{09683863-67A7-49A1-B3CB-3EA867E68A9A}" presName="rootText3" presStyleLbl="asst1" presStyleIdx="9" presStyleCnt="12">
        <dgm:presLayoutVars>
          <dgm:chPref val="3"/>
        </dgm:presLayoutVars>
      </dgm:prSet>
      <dgm:spPr/>
    </dgm:pt>
    <dgm:pt modelId="{51E7009C-1DAE-4162-B7E4-BE7AFB1DA53A}" type="pres">
      <dgm:prSet presAssocID="{09683863-67A7-49A1-B3CB-3EA867E68A9A}" presName="rootConnector3" presStyleLbl="asst1" presStyleIdx="9" presStyleCnt="12"/>
      <dgm:spPr/>
    </dgm:pt>
    <dgm:pt modelId="{2AE4F84D-0FEE-4CA7-B8C3-4F12D23A146F}" type="pres">
      <dgm:prSet presAssocID="{09683863-67A7-49A1-B3CB-3EA867E68A9A}" presName="hierChild6" presStyleCnt="0"/>
      <dgm:spPr/>
    </dgm:pt>
    <dgm:pt modelId="{AFB030AF-496F-4711-9AB2-7EFB7CADFBB7}" type="pres">
      <dgm:prSet presAssocID="{09683863-67A7-49A1-B3CB-3EA867E68A9A}" presName="hierChild7" presStyleCnt="0"/>
      <dgm:spPr/>
    </dgm:pt>
    <dgm:pt modelId="{5941C0EE-097C-4032-B6A3-F6FE3B6FED7B}" type="pres">
      <dgm:prSet presAssocID="{8FE9E10A-CF40-4D3D-84D4-2FF416370B5A}" presName="Name111" presStyleLbl="parChTrans1D2" presStyleIdx="2" presStyleCnt="4"/>
      <dgm:spPr/>
    </dgm:pt>
    <dgm:pt modelId="{58A45728-2A04-4E79-9F0E-367A22257680}" type="pres">
      <dgm:prSet presAssocID="{E21EE6A3-73B1-41ED-8A88-DF0876380E2B}" presName="hierRoot3" presStyleCnt="0">
        <dgm:presLayoutVars>
          <dgm:hierBranch val="init"/>
        </dgm:presLayoutVars>
      </dgm:prSet>
      <dgm:spPr/>
    </dgm:pt>
    <dgm:pt modelId="{5DB049F2-63CE-41F8-8ACA-5F37E5C9637D}" type="pres">
      <dgm:prSet presAssocID="{E21EE6A3-73B1-41ED-8A88-DF0876380E2B}" presName="rootComposite3" presStyleCnt="0"/>
      <dgm:spPr/>
    </dgm:pt>
    <dgm:pt modelId="{CCA06F98-272D-42E7-9BCA-AB22DB9D4CE1}" type="pres">
      <dgm:prSet presAssocID="{E21EE6A3-73B1-41ED-8A88-DF0876380E2B}" presName="rootText3" presStyleLbl="asst1" presStyleIdx="10" presStyleCnt="12">
        <dgm:presLayoutVars>
          <dgm:chPref val="3"/>
        </dgm:presLayoutVars>
      </dgm:prSet>
      <dgm:spPr/>
    </dgm:pt>
    <dgm:pt modelId="{3FD683B6-C68B-46B0-B707-3737198A70D6}" type="pres">
      <dgm:prSet presAssocID="{E21EE6A3-73B1-41ED-8A88-DF0876380E2B}" presName="rootConnector3" presStyleLbl="asst1" presStyleIdx="10" presStyleCnt="12"/>
      <dgm:spPr/>
    </dgm:pt>
    <dgm:pt modelId="{317B688B-81A0-4944-BA53-63CC8113A9B4}" type="pres">
      <dgm:prSet presAssocID="{E21EE6A3-73B1-41ED-8A88-DF0876380E2B}" presName="hierChild6" presStyleCnt="0"/>
      <dgm:spPr/>
    </dgm:pt>
    <dgm:pt modelId="{F8A12C8D-6000-42BC-865D-1BDFBFD2F383}" type="pres">
      <dgm:prSet presAssocID="{E21EE6A3-73B1-41ED-8A88-DF0876380E2B}" presName="hierChild7" presStyleCnt="0"/>
      <dgm:spPr/>
    </dgm:pt>
    <dgm:pt modelId="{A72387A1-B468-401C-A475-4DE506041DB8}" type="pres">
      <dgm:prSet presAssocID="{A4E46907-D0FE-41A0-A21A-9842EAADE718}" presName="Name111" presStyleLbl="parChTrans1D2" presStyleIdx="3" presStyleCnt="4"/>
      <dgm:spPr/>
    </dgm:pt>
    <dgm:pt modelId="{B94FB8AB-72CF-4AF8-AF45-6DA67D8B7280}" type="pres">
      <dgm:prSet presAssocID="{6F347903-0B8D-4CEE-91CA-DE87C0D64AC1}" presName="hierRoot3" presStyleCnt="0">
        <dgm:presLayoutVars>
          <dgm:hierBranch val="init"/>
        </dgm:presLayoutVars>
      </dgm:prSet>
      <dgm:spPr/>
    </dgm:pt>
    <dgm:pt modelId="{579A77A5-5EE1-46CC-8841-749C4E281112}" type="pres">
      <dgm:prSet presAssocID="{6F347903-0B8D-4CEE-91CA-DE87C0D64AC1}" presName="rootComposite3" presStyleCnt="0"/>
      <dgm:spPr/>
    </dgm:pt>
    <dgm:pt modelId="{453E6ABC-52AB-4CC0-B566-1E97D231C16E}" type="pres">
      <dgm:prSet presAssocID="{6F347903-0B8D-4CEE-91CA-DE87C0D64AC1}" presName="rootText3" presStyleLbl="asst1" presStyleIdx="11" presStyleCnt="12">
        <dgm:presLayoutVars>
          <dgm:chPref val="3"/>
        </dgm:presLayoutVars>
      </dgm:prSet>
      <dgm:spPr/>
    </dgm:pt>
    <dgm:pt modelId="{96BB40E7-6750-428C-98AD-10EAC71CD0A7}" type="pres">
      <dgm:prSet presAssocID="{6F347903-0B8D-4CEE-91CA-DE87C0D64AC1}" presName="rootConnector3" presStyleLbl="asst1" presStyleIdx="11" presStyleCnt="12"/>
      <dgm:spPr/>
    </dgm:pt>
    <dgm:pt modelId="{B31B3B1D-4DDF-4117-8181-1F16A6A0B49F}" type="pres">
      <dgm:prSet presAssocID="{6F347903-0B8D-4CEE-91CA-DE87C0D64AC1}" presName="hierChild6" presStyleCnt="0"/>
      <dgm:spPr/>
    </dgm:pt>
    <dgm:pt modelId="{1FE261C1-C83D-4F94-B6E5-CE00838129D6}" type="pres">
      <dgm:prSet presAssocID="{6F347903-0B8D-4CEE-91CA-DE87C0D64AC1}" presName="hierChild7" presStyleCnt="0"/>
      <dgm:spPr/>
    </dgm:pt>
  </dgm:ptLst>
  <dgm:cxnLst>
    <dgm:cxn modelId="{53CD0E01-2CC6-41B7-A5A8-7D8C7677DB96}" srcId="{C3D30C6F-7262-4A81-96D9-B81924EA6A3C}" destId="{6F347903-0B8D-4CEE-91CA-DE87C0D64AC1}" srcOrd="3" destOrd="0" parTransId="{A4E46907-D0FE-41A0-A21A-9842EAADE718}" sibTransId="{A41FB33A-1DD3-4396-B7CA-6692A532CB67}"/>
    <dgm:cxn modelId="{BA73E305-F1DF-400B-A06B-A8720D8D1EE3}" type="presOf" srcId="{85C0101F-DB28-460D-835F-066549E4E571}" destId="{AB569B33-F6B2-427E-B549-0016B97B89E4}" srcOrd="1" destOrd="0" presId="urn:microsoft.com/office/officeart/2005/8/layout/orgChart1"/>
    <dgm:cxn modelId="{55490312-388B-4F4D-9A67-05FA1E886E53}" type="presOf" srcId="{BDC411F0-E644-4EC8-BB86-4B7E109B32A2}" destId="{1BB7DDC8-EF66-4D22-BDB0-E0B19802035D}" srcOrd="0" destOrd="0" presId="urn:microsoft.com/office/officeart/2005/8/layout/orgChart1"/>
    <dgm:cxn modelId="{316A8216-C35D-4675-BE3D-E8D86C91AA45}" type="presOf" srcId="{C94377DF-60A2-4C75-B465-CFFEF7E09E5E}" destId="{E730F0D9-288F-4FC3-A564-3FF88D98B57A}" srcOrd="0" destOrd="0" presId="urn:microsoft.com/office/officeart/2005/8/layout/orgChart1"/>
    <dgm:cxn modelId="{8BC5A919-F268-46CB-AA93-3C10056BC3F4}" type="presOf" srcId="{BDC411F0-E644-4EC8-BB86-4B7E109B32A2}" destId="{6AC5DF71-2093-4A1C-B40A-087435FC1FCA}" srcOrd="1" destOrd="0" presId="urn:microsoft.com/office/officeart/2005/8/layout/orgChart1"/>
    <dgm:cxn modelId="{6AB7D119-6A8D-4270-BB6D-CE34E15F225C}" type="presOf" srcId="{F5C79008-3284-4FB1-A8F4-B97ED81AF5AC}" destId="{3AB49A2B-6BC6-4D04-A84B-B3A926DC2622}" srcOrd="0" destOrd="0" presId="urn:microsoft.com/office/officeart/2005/8/layout/orgChart1"/>
    <dgm:cxn modelId="{266E1E1D-7F06-4BD3-87E4-96496996FA11}" type="presOf" srcId="{CC92F73F-8741-4E0C-A75F-C775349057C0}" destId="{C344437F-7546-48F0-93F0-66D8E3E1524C}" srcOrd="1" destOrd="0" presId="urn:microsoft.com/office/officeart/2005/8/layout/orgChart1"/>
    <dgm:cxn modelId="{E17FE61F-9B07-47E0-A630-4C88A99A2E80}" srcId="{28AB3758-8C7A-4D00-8F3C-068FBA9EBF4C}" destId="{09683863-67A7-49A1-B3CB-3EA867E68A9A}" srcOrd="0" destOrd="0" parTransId="{92917B57-496C-42DF-A179-D07137A7D54E}" sibTransId="{2E2DCC81-B65B-4296-8EE2-88A04F1ECED5}"/>
    <dgm:cxn modelId="{3022F82B-CA5F-4A50-9668-D2F8E5874F5F}" srcId="{7AAAC1FB-C13F-4B82-B5CA-CAD6D3D63680}" destId="{C3D30C6F-7262-4A81-96D9-B81924EA6A3C}" srcOrd="0" destOrd="0" parTransId="{DDB9DFEA-8BC2-4245-AE5C-34ED950F588E}" sibTransId="{E0EB83A8-F999-403B-B01D-D1F36D2B9377}"/>
    <dgm:cxn modelId="{5C391A35-1053-4338-95A9-4A4CE7C4B3DB}" type="presOf" srcId="{BFF188E4-3921-4DDD-AB26-22BBBAFD940D}" destId="{6FC52651-05CA-4355-B833-92FDF171EBEF}" srcOrd="0" destOrd="0" presId="urn:microsoft.com/office/officeart/2005/8/layout/orgChart1"/>
    <dgm:cxn modelId="{F5FA0136-4F36-412B-A2E7-7D3762E64F03}" type="presOf" srcId="{EB8A3029-C7E8-49B8-B368-339035F16488}" destId="{E54CCE39-C158-4445-AE55-E9204AA71FD1}" srcOrd="0" destOrd="0" presId="urn:microsoft.com/office/officeart/2005/8/layout/orgChart1"/>
    <dgm:cxn modelId="{82774D37-AA8E-421E-B2A5-892B6D8374FA}" type="presOf" srcId="{4DC117BC-548A-489F-9ABE-0AC15014A7F2}" destId="{7DDEACFD-9907-4127-A5FB-8F4B6D6ADEC0}" srcOrd="0" destOrd="0" presId="urn:microsoft.com/office/officeart/2005/8/layout/orgChart1"/>
    <dgm:cxn modelId="{4ACF483D-DF93-486B-9C80-CED4EF9738AF}" type="presOf" srcId="{85C0101F-DB28-460D-835F-066549E4E571}" destId="{99EACDF6-99FC-4A75-B944-DD3B8E4CEE35}" srcOrd="0" destOrd="0" presId="urn:microsoft.com/office/officeart/2005/8/layout/orgChart1"/>
    <dgm:cxn modelId="{6551F864-3679-4994-B788-661EC4617826}" type="presOf" srcId="{F5C79008-3284-4FB1-A8F4-B97ED81AF5AC}" destId="{5F86036D-B144-481B-8F36-C70420E886C9}" srcOrd="1" destOrd="0" presId="urn:microsoft.com/office/officeart/2005/8/layout/orgChart1"/>
    <dgm:cxn modelId="{54C6B66C-7AE9-4014-B158-A76E80DDB3AA}" type="presOf" srcId="{99EE4864-9F64-416E-A235-4C358AA2BA6F}" destId="{7E9036D4-A6C5-4C87-A68B-A47AE0F6CCFA}" srcOrd="0" destOrd="0" presId="urn:microsoft.com/office/officeart/2005/8/layout/orgChart1"/>
    <dgm:cxn modelId="{961E5F4D-128D-4755-A9AD-4F36EF8619C4}" srcId="{4DC117BC-548A-489F-9ABE-0AC15014A7F2}" destId="{85C0101F-DB28-460D-835F-066549E4E571}" srcOrd="0" destOrd="0" parTransId="{43FA1B12-41B0-4241-AD81-88496AFA4EEC}" sibTransId="{A82FCC70-23D7-44F4-9C29-AF16F5344F04}"/>
    <dgm:cxn modelId="{EF54E64D-AECF-4B20-A52F-1025536C0921}" srcId="{4DC117BC-548A-489F-9ABE-0AC15014A7F2}" destId="{28AB3758-8C7A-4D00-8F3C-068FBA9EBF4C}" srcOrd="1" destOrd="0" parTransId="{EB8A3029-C7E8-49B8-B368-339035F16488}" sibTransId="{F582B392-9A8F-43D0-98A8-1B52073382E2}"/>
    <dgm:cxn modelId="{1F69BB6F-9152-4B86-AA3E-3CC6373E7782}" type="presOf" srcId="{C3D30C6F-7262-4A81-96D9-B81924EA6A3C}" destId="{0DDD7E7B-0418-4AC1-9CBE-0EF2F2459BF4}" srcOrd="1" destOrd="0" presId="urn:microsoft.com/office/officeart/2005/8/layout/orgChart1"/>
    <dgm:cxn modelId="{AD6FCF72-F80F-4198-8B8F-7DABE0BC37A6}" type="presOf" srcId="{7AAAC1FB-C13F-4B82-B5CA-CAD6D3D63680}" destId="{CD71C412-E071-4CB4-91B4-A64261F91F98}" srcOrd="0" destOrd="0" presId="urn:microsoft.com/office/officeart/2005/8/layout/orgChart1"/>
    <dgm:cxn modelId="{B83EBA58-9A55-4003-BAB0-D5F8867AB154}" srcId="{C94377DF-60A2-4C75-B465-CFFEF7E09E5E}" destId="{1C659E5C-9760-4BDF-BD3C-606312BCDA73}" srcOrd="1" destOrd="0" parTransId="{EE5E82F4-9D2E-41C4-83C1-8B4F4F8B19BA}" sibTransId="{3C0360F3-0B4F-48D4-8CB1-0DB745ABBA44}"/>
    <dgm:cxn modelId="{59269D7C-879D-4F2A-BAC9-1C1CABFA1006}" type="presOf" srcId="{6296290A-4C5A-4D86-9491-11D508836000}" destId="{36337CD3-0044-4708-9497-306ABECFB923}" srcOrd="0" destOrd="0" presId="urn:microsoft.com/office/officeart/2005/8/layout/orgChart1"/>
    <dgm:cxn modelId="{81BE8F8C-1125-43B0-9EA8-C8C359BB6015}" type="presOf" srcId="{09683863-67A7-49A1-B3CB-3EA867E68A9A}" destId="{699D4282-A4C9-4AB5-B67D-460EBDA9D404}" srcOrd="0" destOrd="0" presId="urn:microsoft.com/office/officeart/2005/8/layout/orgChart1"/>
    <dgm:cxn modelId="{C7872E91-1742-443E-B325-4AFA5CEA3298}" type="presOf" srcId="{4DC117BC-548A-489F-9ABE-0AC15014A7F2}" destId="{FBB93A22-CFE6-49E3-88F9-49AFE8D8816C}" srcOrd="1" destOrd="0" presId="urn:microsoft.com/office/officeart/2005/8/layout/orgChart1"/>
    <dgm:cxn modelId="{4BB5A594-F04A-4468-8799-52B78E2A5D5B}" type="presOf" srcId="{C94377DF-60A2-4C75-B465-CFFEF7E09E5E}" destId="{43EF0916-21D3-48E4-B875-8D8F400F0073}" srcOrd="1" destOrd="0" presId="urn:microsoft.com/office/officeart/2005/8/layout/orgChart1"/>
    <dgm:cxn modelId="{85145596-C9E4-467F-B21C-2D6D215DB8BD}" type="presOf" srcId="{28AB3758-8C7A-4D00-8F3C-068FBA9EBF4C}" destId="{E796C7BF-C22F-4C7F-9507-719E63FA01AD}" srcOrd="1" destOrd="0" presId="urn:microsoft.com/office/officeart/2005/8/layout/orgChart1"/>
    <dgm:cxn modelId="{96CF5B97-BFCE-4697-8930-D5E29AF43F7C}" type="presOf" srcId="{1C659E5C-9760-4BDF-BD3C-606312BCDA73}" destId="{03D57E5C-087D-4795-BF91-B0D589366BBF}" srcOrd="1" destOrd="0" presId="urn:microsoft.com/office/officeart/2005/8/layout/orgChart1"/>
    <dgm:cxn modelId="{65DA249F-E5A0-4795-8C5E-DC620C77094A}" type="presOf" srcId="{C3D30C6F-7262-4A81-96D9-B81924EA6A3C}" destId="{4D0DA715-B421-4F59-A16D-DA64AD59EC09}" srcOrd="0" destOrd="0" presId="urn:microsoft.com/office/officeart/2005/8/layout/orgChart1"/>
    <dgm:cxn modelId="{801F7CA9-E79A-44A1-A599-901AF2F304FF}" type="presOf" srcId="{05B9D588-BF93-4D48-982C-28BCCB7A6282}" destId="{27217E44-4219-47EC-9498-145D592962B6}" srcOrd="0" destOrd="0" presId="urn:microsoft.com/office/officeart/2005/8/layout/orgChart1"/>
    <dgm:cxn modelId="{A3D2F1AB-E94A-4EC9-AA50-315F1793EF79}" type="presOf" srcId="{6F347903-0B8D-4CEE-91CA-DE87C0D64AC1}" destId="{96BB40E7-6750-428C-98AD-10EAC71CD0A7}" srcOrd="1" destOrd="0" presId="urn:microsoft.com/office/officeart/2005/8/layout/orgChart1"/>
    <dgm:cxn modelId="{B2698BAC-786D-43DB-8DF6-134A191490B1}" type="presOf" srcId="{92917B57-496C-42DF-A179-D07137A7D54E}" destId="{DC717EB4-FE58-46EF-ACD2-CA05E8C3B691}" srcOrd="0" destOrd="0" presId="urn:microsoft.com/office/officeart/2005/8/layout/orgChart1"/>
    <dgm:cxn modelId="{9A10A8B3-CFF6-4685-8A65-AF90B3EF244B}" srcId="{C3D30C6F-7262-4A81-96D9-B81924EA6A3C}" destId="{BDC411F0-E644-4EC8-BB86-4B7E109B32A2}" srcOrd="0" destOrd="0" parTransId="{05B9D588-BF93-4D48-982C-28BCCB7A6282}" sibTransId="{ACCE2A17-1A33-410D-AB0C-C9172C88B4BB}"/>
    <dgm:cxn modelId="{269407B5-59AC-4332-ABAF-BFC313B3885B}" type="presOf" srcId="{A4E46907-D0FE-41A0-A21A-9842EAADE718}" destId="{A72387A1-B468-401C-A475-4DE506041DB8}" srcOrd="0" destOrd="0" presId="urn:microsoft.com/office/officeart/2005/8/layout/orgChart1"/>
    <dgm:cxn modelId="{A465D5BE-D6AE-413D-8276-84FBE344C639}" srcId="{1C659E5C-9760-4BDF-BD3C-606312BCDA73}" destId="{CC92F73F-8741-4E0C-A75F-C775349057C0}" srcOrd="0" destOrd="0" parTransId="{A935A02A-0899-4E1C-9976-0E60AE02D57C}" sibTransId="{578CE9B4-5B18-4BB8-B65A-4D98CA0C9E1B}"/>
    <dgm:cxn modelId="{96883CC2-24A6-4FB4-B238-4A226CA72438}" type="presOf" srcId="{E21EE6A3-73B1-41ED-8A88-DF0876380E2B}" destId="{3FD683B6-C68B-46B0-B707-3737198A70D6}" srcOrd="1" destOrd="0" presId="urn:microsoft.com/office/officeart/2005/8/layout/orgChart1"/>
    <dgm:cxn modelId="{9747F3C2-79D1-42A3-BF24-CA86C9851B01}" type="presOf" srcId="{EE5E82F4-9D2E-41C4-83C1-8B4F4F8B19BA}" destId="{C1022AFC-7D81-4F42-A5FB-A266DB577358}" srcOrd="0" destOrd="0" presId="urn:microsoft.com/office/officeart/2005/8/layout/orgChart1"/>
    <dgm:cxn modelId="{D99C06C6-EA65-4949-B4F8-488874E210E0}" srcId="{C94377DF-60A2-4C75-B465-CFFEF7E09E5E}" destId="{F5C79008-3284-4FB1-A8F4-B97ED81AF5AC}" srcOrd="0" destOrd="0" parTransId="{BFF188E4-3921-4DDD-AB26-22BBBAFD940D}" sibTransId="{4C8E280F-2881-44A5-A0EA-87A0AD3CA577}"/>
    <dgm:cxn modelId="{610001C8-4A68-4ACD-A9EB-86E69930B871}" srcId="{BDC411F0-E644-4EC8-BB86-4B7E109B32A2}" destId="{FA32B876-3BE6-4D37-89A3-06291E70B34A}" srcOrd="1" destOrd="0" parTransId="{7B7E134A-7C2D-4A29-9472-B48F936E1863}" sibTransId="{8AE2CF19-466B-4A59-88BF-4AAD8525DCE6}"/>
    <dgm:cxn modelId="{1CA80FCF-A522-49F4-9310-545348459C71}" type="presOf" srcId="{1C659E5C-9760-4BDF-BD3C-606312BCDA73}" destId="{72E81D15-9824-4974-9E30-CBFC28FEF2D7}" srcOrd="0" destOrd="0" presId="urn:microsoft.com/office/officeart/2005/8/layout/orgChart1"/>
    <dgm:cxn modelId="{A29527CF-D810-4C04-98C4-11CC2F53F5D5}" srcId="{C3D30C6F-7262-4A81-96D9-B81924EA6A3C}" destId="{4DC117BC-548A-489F-9ABE-0AC15014A7F2}" srcOrd="1" destOrd="0" parTransId="{99EE4864-9F64-416E-A235-4C358AA2BA6F}" sibTransId="{BE03719F-BB63-45C1-8577-9230C829FE22}"/>
    <dgm:cxn modelId="{C789D9D2-0997-4A23-947C-4001651E042F}" type="presOf" srcId="{FA32B876-3BE6-4D37-89A3-06291E70B34A}" destId="{15E681CE-76FE-4F1D-8906-35701364ACD5}" srcOrd="0" destOrd="0" presId="urn:microsoft.com/office/officeart/2005/8/layout/orgChart1"/>
    <dgm:cxn modelId="{A05DEBD5-FF71-46FA-B9F1-266E1A426606}" srcId="{BDC411F0-E644-4EC8-BB86-4B7E109B32A2}" destId="{C94377DF-60A2-4C75-B465-CFFEF7E09E5E}" srcOrd="0" destOrd="0" parTransId="{6296290A-4C5A-4D86-9491-11D508836000}" sibTransId="{0A679839-3756-4F08-ABAB-F2B78B20A1B2}"/>
    <dgm:cxn modelId="{69A56FDF-7F51-4047-90FD-17B697597247}" type="presOf" srcId="{8FE9E10A-CF40-4D3D-84D4-2FF416370B5A}" destId="{5941C0EE-097C-4032-B6A3-F6FE3B6FED7B}" srcOrd="0" destOrd="0" presId="urn:microsoft.com/office/officeart/2005/8/layout/orgChart1"/>
    <dgm:cxn modelId="{B1E798E0-7F3C-4570-BCB6-227EC38E7571}" type="presOf" srcId="{7B7E134A-7C2D-4A29-9472-B48F936E1863}" destId="{C8FED99D-E3E4-4EDB-8D15-A9634043370B}" srcOrd="0" destOrd="0" presId="urn:microsoft.com/office/officeart/2005/8/layout/orgChart1"/>
    <dgm:cxn modelId="{8E80FAE3-B4AA-4EB4-8659-9E9CA8C9B1B0}" type="presOf" srcId="{09683863-67A7-49A1-B3CB-3EA867E68A9A}" destId="{51E7009C-1DAE-4162-B7E4-BE7AFB1DA53A}" srcOrd="1" destOrd="0" presId="urn:microsoft.com/office/officeart/2005/8/layout/orgChart1"/>
    <dgm:cxn modelId="{95EBCAE6-0686-4B7F-A76D-31AFCCE0099C}" type="presOf" srcId="{E21EE6A3-73B1-41ED-8A88-DF0876380E2B}" destId="{CCA06F98-272D-42E7-9BCA-AB22DB9D4CE1}" srcOrd="0" destOrd="0" presId="urn:microsoft.com/office/officeart/2005/8/layout/orgChart1"/>
    <dgm:cxn modelId="{2F6299EA-59FB-4D88-BC8F-81CEE347C890}" type="presOf" srcId="{28AB3758-8C7A-4D00-8F3C-068FBA9EBF4C}" destId="{B57A22CC-0216-4B6B-B986-C8AAC030463D}" srcOrd="0" destOrd="0" presId="urn:microsoft.com/office/officeart/2005/8/layout/orgChart1"/>
    <dgm:cxn modelId="{FBD454EB-B133-4892-B29D-5EF988D4EA31}" type="presOf" srcId="{6F347903-0B8D-4CEE-91CA-DE87C0D64AC1}" destId="{453E6ABC-52AB-4CC0-B566-1E97D231C16E}" srcOrd="0" destOrd="0" presId="urn:microsoft.com/office/officeart/2005/8/layout/orgChart1"/>
    <dgm:cxn modelId="{A1809BF0-4404-41AB-B7F0-F43708E12CFA}" type="presOf" srcId="{A935A02A-0899-4E1C-9976-0E60AE02D57C}" destId="{1679C7A9-37A8-4C53-9B40-5B7ADC9A3D54}" srcOrd="0" destOrd="0" presId="urn:microsoft.com/office/officeart/2005/8/layout/orgChart1"/>
    <dgm:cxn modelId="{D15E2CF3-EC7E-47B7-9224-7CD8F6E9D0A6}" type="presOf" srcId="{CC92F73F-8741-4E0C-A75F-C775349057C0}" destId="{E89F4909-FE1C-443F-8344-1D523811B5C7}" srcOrd="0" destOrd="0" presId="urn:microsoft.com/office/officeart/2005/8/layout/orgChart1"/>
    <dgm:cxn modelId="{7F9CA3F6-3085-45F4-8AEC-536DB08F615F}" type="presOf" srcId="{FA32B876-3BE6-4D37-89A3-06291E70B34A}" destId="{0B75A6EA-8D69-48F0-BD9D-C8FA29E913E2}" srcOrd="1" destOrd="0" presId="urn:microsoft.com/office/officeart/2005/8/layout/orgChart1"/>
    <dgm:cxn modelId="{C3E2C6FD-B00B-42FC-9294-E23C21D8FDFA}" srcId="{C3D30C6F-7262-4A81-96D9-B81924EA6A3C}" destId="{E21EE6A3-73B1-41ED-8A88-DF0876380E2B}" srcOrd="2" destOrd="0" parTransId="{8FE9E10A-CF40-4D3D-84D4-2FF416370B5A}" sibTransId="{64BD780E-A9DC-49B4-A1B9-2BBBCF4DEB13}"/>
    <dgm:cxn modelId="{7EBBAEFF-D6DA-444A-9D0F-9AEB37D63D2C}" type="presOf" srcId="{43FA1B12-41B0-4241-AD81-88496AFA4EEC}" destId="{70C9077C-82CC-4064-B8AC-3BFD84DB2EFA}" srcOrd="0" destOrd="0" presId="urn:microsoft.com/office/officeart/2005/8/layout/orgChart1"/>
    <dgm:cxn modelId="{7518EF45-D393-4B46-82CE-A34975D34ED6}" type="presParOf" srcId="{CD71C412-E071-4CB4-91B4-A64261F91F98}" destId="{418FB797-C0BA-4AE4-9EAF-8846A4085A07}" srcOrd="0" destOrd="0" presId="urn:microsoft.com/office/officeart/2005/8/layout/orgChart1"/>
    <dgm:cxn modelId="{9B15EDDC-1ABB-4A3F-951D-0533A0E78D04}" type="presParOf" srcId="{418FB797-C0BA-4AE4-9EAF-8846A4085A07}" destId="{6E5BC384-E0FE-4731-8D22-895259D1AC8E}" srcOrd="0" destOrd="0" presId="urn:microsoft.com/office/officeart/2005/8/layout/orgChart1"/>
    <dgm:cxn modelId="{F9FA5B6E-E7F4-4C9B-8ADF-0A95ADAEBD9B}" type="presParOf" srcId="{6E5BC384-E0FE-4731-8D22-895259D1AC8E}" destId="{4D0DA715-B421-4F59-A16D-DA64AD59EC09}" srcOrd="0" destOrd="0" presId="urn:microsoft.com/office/officeart/2005/8/layout/orgChart1"/>
    <dgm:cxn modelId="{9E38940E-3812-44AD-A323-B52DBCF56EA5}" type="presParOf" srcId="{6E5BC384-E0FE-4731-8D22-895259D1AC8E}" destId="{0DDD7E7B-0418-4AC1-9CBE-0EF2F2459BF4}" srcOrd="1" destOrd="0" presId="urn:microsoft.com/office/officeart/2005/8/layout/orgChart1"/>
    <dgm:cxn modelId="{23895AE5-6E2D-4563-896A-DC3CB33F452E}" type="presParOf" srcId="{418FB797-C0BA-4AE4-9EAF-8846A4085A07}" destId="{28002463-7DCD-4359-9770-C0DA0443E96C}" srcOrd="1" destOrd="0" presId="urn:microsoft.com/office/officeart/2005/8/layout/orgChart1"/>
    <dgm:cxn modelId="{653B2C80-DD4F-4EF9-86E2-A89C2F9B9456}" type="presParOf" srcId="{418FB797-C0BA-4AE4-9EAF-8846A4085A07}" destId="{23D67639-47D8-44C2-A828-5AC1F3865C19}" srcOrd="2" destOrd="0" presId="urn:microsoft.com/office/officeart/2005/8/layout/orgChart1"/>
    <dgm:cxn modelId="{52A693C1-9764-4D44-BCCB-F6C9E3A042E0}" type="presParOf" srcId="{23D67639-47D8-44C2-A828-5AC1F3865C19}" destId="{27217E44-4219-47EC-9498-145D592962B6}" srcOrd="0" destOrd="0" presId="urn:microsoft.com/office/officeart/2005/8/layout/orgChart1"/>
    <dgm:cxn modelId="{DBD31F59-9BFE-48CE-B351-B08245A690BF}" type="presParOf" srcId="{23D67639-47D8-44C2-A828-5AC1F3865C19}" destId="{0BA4D311-2046-42E2-A384-B723586D0C7A}" srcOrd="1" destOrd="0" presId="urn:microsoft.com/office/officeart/2005/8/layout/orgChart1"/>
    <dgm:cxn modelId="{881AA1F3-3F5A-439B-8230-636C3E2EB487}" type="presParOf" srcId="{0BA4D311-2046-42E2-A384-B723586D0C7A}" destId="{8E2B7696-F1BB-4F62-B1D5-EA40F47EF779}" srcOrd="0" destOrd="0" presId="urn:microsoft.com/office/officeart/2005/8/layout/orgChart1"/>
    <dgm:cxn modelId="{F12D0C31-4348-4B7B-8169-0B739FCA4519}" type="presParOf" srcId="{8E2B7696-F1BB-4F62-B1D5-EA40F47EF779}" destId="{1BB7DDC8-EF66-4D22-BDB0-E0B19802035D}" srcOrd="0" destOrd="0" presId="urn:microsoft.com/office/officeart/2005/8/layout/orgChart1"/>
    <dgm:cxn modelId="{9A428B51-5CB2-4639-B63F-AE35A421F9AF}" type="presParOf" srcId="{8E2B7696-F1BB-4F62-B1D5-EA40F47EF779}" destId="{6AC5DF71-2093-4A1C-B40A-087435FC1FCA}" srcOrd="1" destOrd="0" presId="urn:microsoft.com/office/officeart/2005/8/layout/orgChart1"/>
    <dgm:cxn modelId="{2EF83076-2657-48E7-8185-11C4F1DE5E32}" type="presParOf" srcId="{0BA4D311-2046-42E2-A384-B723586D0C7A}" destId="{FC81B739-5108-4E8D-846D-170C8F68E6B1}" srcOrd="1" destOrd="0" presId="urn:microsoft.com/office/officeart/2005/8/layout/orgChart1"/>
    <dgm:cxn modelId="{82E39A64-C076-4FE2-88AB-6908054D6E1E}" type="presParOf" srcId="{0BA4D311-2046-42E2-A384-B723586D0C7A}" destId="{C9E5F84D-A048-43F0-819A-EE399AD4F67F}" srcOrd="2" destOrd="0" presId="urn:microsoft.com/office/officeart/2005/8/layout/orgChart1"/>
    <dgm:cxn modelId="{7A7F2E0B-3744-4942-A55D-43D753C815D6}" type="presParOf" srcId="{C9E5F84D-A048-43F0-819A-EE399AD4F67F}" destId="{36337CD3-0044-4708-9497-306ABECFB923}" srcOrd="0" destOrd="0" presId="urn:microsoft.com/office/officeart/2005/8/layout/orgChart1"/>
    <dgm:cxn modelId="{54C9F719-DE96-4228-B29D-A05E0040E40A}" type="presParOf" srcId="{C9E5F84D-A048-43F0-819A-EE399AD4F67F}" destId="{300D7BA5-45A4-4055-85C6-A3A9109C1D5A}" srcOrd="1" destOrd="0" presId="urn:microsoft.com/office/officeart/2005/8/layout/orgChart1"/>
    <dgm:cxn modelId="{256AB93B-27DD-4991-8F5B-E66FBC90C346}" type="presParOf" srcId="{300D7BA5-45A4-4055-85C6-A3A9109C1D5A}" destId="{CA85A656-CC40-4867-A59F-8CB026B61226}" srcOrd="0" destOrd="0" presId="urn:microsoft.com/office/officeart/2005/8/layout/orgChart1"/>
    <dgm:cxn modelId="{111E4E9F-332C-4412-A011-8D7D4829CC8E}" type="presParOf" srcId="{CA85A656-CC40-4867-A59F-8CB026B61226}" destId="{E730F0D9-288F-4FC3-A564-3FF88D98B57A}" srcOrd="0" destOrd="0" presId="urn:microsoft.com/office/officeart/2005/8/layout/orgChart1"/>
    <dgm:cxn modelId="{0E7669AA-32DE-45F3-8FFA-2703A06E2179}" type="presParOf" srcId="{CA85A656-CC40-4867-A59F-8CB026B61226}" destId="{43EF0916-21D3-48E4-B875-8D8F400F0073}" srcOrd="1" destOrd="0" presId="urn:microsoft.com/office/officeart/2005/8/layout/orgChart1"/>
    <dgm:cxn modelId="{14A626C2-4C94-47AC-AC44-332C775D3481}" type="presParOf" srcId="{300D7BA5-45A4-4055-85C6-A3A9109C1D5A}" destId="{A9784AD9-D02C-4115-BDCC-CB4678C554F2}" srcOrd="1" destOrd="0" presId="urn:microsoft.com/office/officeart/2005/8/layout/orgChart1"/>
    <dgm:cxn modelId="{D9327466-3CA2-4796-AD0B-12B31342E41C}" type="presParOf" srcId="{300D7BA5-45A4-4055-85C6-A3A9109C1D5A}" destId="{EE57047C-F48C-48D0-AC02-4A60D5354827}" srcOrd="2" destOrd="0" presId="urn:microsoft.com/office/officeart/2005/8/layout/orgChart1"/>
    <dgm:cxn modelId="{C1481F06-5C31-4C45-9012-65A0AB3FE351}" type="presParOf" srcId="{EE57047C-F48C-48D0-AC02-4A60D5354827}" destId="{6FC52651-05CA-4355-B833-92FDF171EBEF}" srcOrd="0" destOrd="0" presId="urn:microsoft.com/office/officeart/2005/8/layout/orgChart1"/>
    <dgm:cxn modelId="{205DBD60-A3F7-4DB1-926B-5233DD3BDC7C}" type="presParOf" srcId="{EE57047C-F48C-48D0-AC02-4A60D5354827}" destId="{A95852E4-A6A0-4C07-83B9-4EF2557D780C}" srcOrd="1" destOrd="0" presId="urn:microsoft.com/office/officeart/2005/8/layout/orgChart1"/>
    <dgm:cxn modelId="{0FECEF8F-A33A-4D55-BFD9-8160217AF9DB}" type="presParOf" srcId="{A95852E4-A6A0-4C07-83B9-4EF2557D780C}" destId="{ADCC49D8-D9A1-4615-9008-1C282B9F7751}" srcOrd="0" destOrd="0" presId="urn:microsoft.com/office/officeart/2005/8/layout/orgChart1"/>
    <dgm:cxn modelId="{646C66DC-7D72-4088-8E8F-DE56D440B34D}" type="presParOf" srcId="{ADCC49D8-D9A1-4615-9008-1C282B9F7751}" destId="{3AB49A2B-6BC6-4D04-A84B-B3A926DC2622}" srcOrd="0" destOrd="0" presId="urn:microsoft.com/office/officeart/2005/8/layout/orgChart1"/>
    <dgm:cxn modelId="{1E4739D9-A89E-42D4-9069-F8344CAEAA8C}" type="presParOf" srcId="{ADCC49D8-D9A1-4615-9008-1C282B9F7751}" destId="{5F86036D-B144-481B-8F36-C70420E886C9}" srcOrd="1" destOrd="0" presId="urn:microsoft.com/office/officeart/2005/8/layout/orgChart1"/>
    <dgm:cxn modelId="{D916E0B2-F752-4648-97C2-9EE0B178516D}" type="presParOf" srcId="{A95852E4-A6A0-4C07-83B9-4EF2557D780C}" destId="{0B300F46-4B52-46F4-B66D-CAC41BBE3952}" srcOrd="1" destOrd="0" presId="urn:microsoft.com/office/officeart/2005/8/layout/orgChart1"/>
    <dgm:cxn modelId="{D071D2BA-0979-4088-8843-164AD674C5A4}" type="presParOf" srcId="{A95852E4-A6A0-4C07-83B9-4EF2557D780C}" destId="{97A46F73-C0D2-4022-B48C-B117747EB85E}" srcOrd="2" destOrd="0" presId="urn:microsoft.com/office/officeart/2005/8/layout/orgChart1"/>
    <dgm:cxn modelId="{0E31A906-3FD3-440D-B1CB-CA92C0F04B8F}" type="presParOf" srcId="{EE57047C-F48C-48D0-AC02-4A60D5354827}" destId="{C1022AFC-7D81-4F42-A5FB-A266DB577358}" srcOrd="2" destOrd="0" presId="urn:microsoft.com/office/officeart/2005/8/layout/orgChart1"/>
    <dgm:cxn modelId="{265D5229-057F-46EC-B0A0-58A06131EB90}" type="presParOf" srcId="{EE57047C-F48C-48D0-AC02-4A60D5354827}" destId="{713BEB3A-9889-4575-9F02-996B755C0348}" srcOrd="3" destOrd="0" presId="urn:microsoft.com/office/officeart/2005/8/layout/orgChart1"/>
    <dgm:cxn modelId="{05EA4722-36DC-4DE0-8989-A557AC2FBAD9}" type="presParOf" srcId="{713BEB3A-9889-4575-9F02-996B755C0348}" destId="{8F8D3CB5-9296-4C8B-AED0-9A33160D0A1B}" srcOrd="0" destOrd="0" presId="urn:microsoft.com/office/officeart/2005/8/layout/orgChart1"/>
    <dgm:cxn modelId="{0A520755-42A3-4103-97B8-59958C5453D1}" type="presParOf" srcId="{8F8D3CB5-9296-4C8B-AED0-9A33160D0A1B}" destId="{72E81D15-9824-4974-9E30-CBFC28FEF2D7}" srcOrd="0" destOrd="0" presId="urn:microsoft.com/office/officeart/2005/8/layout/orgChart1"/>
    <dgm:cxn modelId="{AB34A942-3F8D-49C4-8239-38DEBDA37FB8}" type="presParOf" srcId="{8F8D3CB5-9296-4C8B-AED0-9A33160D0A1B}" destId="{03D57E5C-087D-4795-BF91-B0D589366BBF}" srcOrd="1" destOrd="0" presId="urn:microsoft.com/office/officeart/2005/8/layout/orgChart1"/>
    <dgm:cxn modelId="{86D60B72-18F8-48DB-96C9-6DBE184537FB}" type="presParOf" srcId="{713BEB3A-9889-4575-9F02-996B755C0348}" destId="{D7489976-97D5-4393-AA90-F0BC6D975197}" srcOrd="1" destOrd="0" presId="urn:microsoft.com/office/officeart/2005/8/layout/orgChart1"/>
    <dgm:cxn modelId="{58FC56FE-AB6B-4B32-80C8-0B7565E50280}" type="presParOf" srcId="{713BEB3A-9889-4575-9F02-996B755C0348}" destId="{B8F8AD13-797B-44E2-A0B9-D5F8D5B1DC3F}" srcOrd="2" destOrd="0" presId="urn:microsoft.com/office/officeart/2005/8/layout/orgChart1"/>
    <dgm:cxn modelId="{844CBAA1-48DD-400B-AC59-23F78D16023A}" type="presParOf" srcId="{B8F8AD13-797B-44E2-A0B9-D5F8D5B1DC3F}" destId="{1679C7A9-37A8-4C53-9B40-5B7ADC9A3D54}" srcOrd="0" destOrd="0" presId="urn:microsoft.com/office/officeart/2005/8/layout/orgChart1"/>
    <dgm:cxn modelId="{960BF6F8-18F8-457E-9ECD-D60CF1F05411}" type="presParOf" srcId="{B8F8AD13-797B-44E2-A0B9-D5F8D5B1DC3F}" destId="{9D767867-DCDA-4F0F-AAE7-1A3CDFAC8353}" srcOrd="1" destOrd="0" presId="urn:microsoft.com/office/officeart/2005/8/layout/orgChart1"/>
    <dgm:cxn modelId="{A92D3572-99EF-41D6-83B5-C0118B7CD92C}" type="presParOf" srcId="{9D767867-DCDA-4F0F-AAE7-1A3CDFAC8353}" destId="{99C6151A-08A7-4AC9-A9AD-336D48B7FE0D}" srcOrd="0" destOrd="0" presId="urn:microsoft.com/office/officeart/2005/8/layout/orgChart1"/>
    <dgm:cxn modelId="{E1701BEB-F0FA-478E-8751-84CD5BF37821}" type="presParOf" srcId="{99C6151A-08A7-4AC9-A9AD-336D48B7FE0D}" destId="{E89F4909-FE1C-443F-8344-1D523811B5C7}" srcOrd="0" destOrd="0" presId="urn:microsoft.com/office/officeart/2005/8/layout/orgChart1"/>
    <dgm:cxn modelId="{768B11AD-EB90-48FA-B4B8-7A31199C441A}" type="presParOf" srcId="{99C6151A-08A7-4AC9-A9AD-336D48B7FE0D}" destId="{C344437F-7546-48F0-93F0-66D8E3E1524C}" srcOrd="1" destOrd="0" presId="urn:microsoft.com/office/officeart/2005/8/layout/orgChart1"/>
    <dgm:cxn modelId="{70F7304B-90A6-447C-A3C8-56CE7C58849E}" type="presParOf" srcId="{9D767867-DCDA-4F0F-AAE7-1A3CDFAC8353}" destId="{B84FD289-EC3E-4D57-BE96-FC051DA24012}" srcOrd="1" destOrd="0" presId="urn:microsoft.com/office/officeart/2005/8/layout/orgChart1"/>
    <dgm:cxn modelId="{B4E91C84-5726-4FE1-9B44-C9745BE0BD39}" type="presParOf" srcId="{9D767867-DCDA-4F0F-AAE7-1A3CDFAC8353}" destId="{E22BEC96-4360-4F99-8B0F-2C6CC13371AB}" srcOrd="2" destOrd="0" presId="urn:microsoft.com/office/officeart/2005/8/layout/orgChart1"/>
    <dgm:cxn modelId="{C9DAB430-1394-49CA-A3F1-8938602BED5E}" type="presParOf" srcId="{C9E5F84D-A048-43F0-819A-EE399AD4F67F}" destId="{C8FED99D-E3E4-4EDB-8D15-A9634043370B}" srcOrd="2" destOrd="0" presId="urn:microsoft.com/office/officeart/2005/8/layout/orgChart1"/>
    <dgm:cxn modelId="{A6DFB3B2-728F-4041-8629-E410916D3962}" type="presParOf" srcId="{C9E5F84D-A048-43F0-819A-EE399AD4F67F}" destId="{50E33169-D16E-420D-9ECC-0A04B91CDD85}" srcOrd="3" destOrd="0" presId="urn:microsoft.com/office/officeart/2005/8/layout/orgChart1"/>
    <dgm:cxn modelId="{E8561FBB-1316-40B7-B9F1-9E30F31D68EC}" type="presParOf" srcId="{50E33169-D16E-420D-9ECC-0A04B91CDD85}" destId="{6D30B6F1-1178-4710-A2A6-4C88C58B7AC2}" srcOrd="0" destOrd="0" presId="urn:microsoft.com/office/officeart/2005/8/layout/orgChart1"/>
    <dgm:cxn modelId="{1CB88E21-0B80-494C-A8A9-E6DBD2D7C7D5}" type="presParOf" srcId="{6D30B6F1-1178-4710-A2A6-4C88C58B7AC2}" destId="{15E681CE-76FE-4F1D-8906-35701364ACD5}" srcOrd="0" destOrd="0" presId="urn:microsoft.com/office/officeart/2005/8/layout/orgChart1"/>
    <dgm:cxn modelId="{B9D1A73D-8395-4360-896F-C3B06A0B7540}" type="presParOf" srcId="{6D30B6F1-1178-4710-A2A6-4C88C58B7AC2}" destId="{0B75A6EA-8D69-48F0-BD9D-C8FA29E913E2}" srcOrd="1" destOrd="0" presId="urn:microsoft.com/office/officeart/2005/8/layout/orgChart1"/>
    <dgm:cxn modelId="{FFD1E248-2B7E-489C-8443-A6EA1CB9B2B7}" type="presParOf" srcId="{50E33169-D16E-420D-9ECC-0A04B91CDD85}" destId="{D409E109-7B94-47A3-8690-C32B03A4509F}" srcOrd="1" destOrd="0" presId="urn:microsoft.com/office/officeart/2005/8/layout/orgChart1"/>
    <dgm:cxn modelId="{CCB88356-3F65-465A-BD1C-A21AD8E78CD7}" type="presParOf" srcId="{50E33169-D16E-420D-9ECC-0A04B91CDD85}" destId="{7DF2D2F1-C306-4784-BEEC-295571166A01}" srcOrd="2" destOrd="0" presId="urn:microsoft.com/office/officeart/2005/8/layout/orgChart1"/>
    <dgm:cxn modelId="{93A3A930-C87F-4BA0-B87F-63FF23F34EC1}" type="presParOf" srcId="{23D67639-47D8-44C2-A828-5AC1F3865C19}" destId="{7E9036D4-A6C5-4C87-A68B-A47AE0F6CCFA}" srcOrd="2" destOrd="0" presId="urn:microsoft.com/office/officeart/2005/8/layout/orgChart1"/>
    <dgm:cxn modelId="{58D6348D-F0B1-4878-975C-B86F5F37375B}" type="presParOf" srcId="{23D67639-47D8-44C2-A828-5AC1F3865C19}" destId="{A9AACBD7-533F-448E-AA75-470B7CE6E183}" srcOrd="3" destOrd="0" presId="urn:microsoft.com/office/officeart/2005/8/layout/orgChart1"/>
    <dgm:cxn modelId="{192DBBEE-8AEA-4BCB-8B60-4F33FAD16437}" type="presParOf" srcId="{A9AACBD7-533F-448E-AA75-470B7CE6E183}" destId="{58856417-416F-46D8-A8DF-8DF5C5F7E7A8}" srcOrd="0" destOrd="0" presId="urn:microsoft.com/office/officeart/2005/8/layout/orgChart1"/>
    <dgm:cxn modelId="{C055B0C8-17D2-4FAF-BAC0-EC3D2FE1F376}" type="presParOf" srcId="{58856417-416F-46D8-A8DF-8DF5C5F7E7A8}" destId="{7DDEACFD-9907-4127-A5FB-8F4B6D6ADEC0}" srcOrd="0" destOrd="0" presId="urn:microsoft.com/office/officeart/2005/8/layout/orgChart1"/>
    <dgm:cxn modelId="{669E1631-0DC2-4E85-9ECB-776EBED0A4E7}" type="presParOf" srcId="{58856417-416F-46D8-A8DF-8DF5C5F7E7A8}" destId="{FBB93A22-CFE6-49E3-88F9-49AFE8D8816C}" srcOrd="1" destOrd="0" presId="urn:microsoft.com/office/officeart/2005/8/layout/orgChart1"/>
    <dgm:cxn modelId="{81D5B5B5-7439-4FE1-8BBC-9EE315540364}" type="presParOf" srcId="{A9AACBD7-533F-448E-AA75-470B7CE6E183}" destId="{7870ACAF-4DD0-411D-8F72-BC9382802665}" srcOrd="1" destOrd="0" presId="urn:microsoft.com/office/officeart/2005/8/layout/orgChart1"/>
    <dgm:cxn modelId="{2D431146-18C0-4C36-BC8C-6BDB2D8C945D}" type="presParOf" srcId="{A9AACBD7-533F-448E-AA75-470B7CE6E183}" destId="{1B9605BF-35B3-4FA1-B576-3EA11B3DC147}" srcOrd="2" destOrd="0" presId="urn:microsoft.com/office/officeart/2005/8/layout/orgChart1"/>
    <dgm:cxn modelId="{24EF0AF7-476A-407D-A754-3928A843E841}" type="presParOf" srcId="{1B9605BF-35B3-4FA1-B576-3EA11B3DC147}" destId="{70C9077C-82CC-4064-B8AC-3BFD84DB2EFA}" srcOrd="0" destOrd="0" presId="urn:microsoft.com/office/officeart/2005/8/layout/orgChart1"/>
    <dgm:cxn modelId="{8BBF782F-9B93-4104-BD17-C7D39F3AC166}" type="presParOf" srcId="{1B9605BF-35B3-4FA1-B576-3EA11B3DC147}" destId="{0461C58D-7F3E-4B86-8F24-517DC164A7B0}" srcOrd="1" destOrd="0" presId="urn:microsoft.com/office/officeart/2005/8/layout/orgChart1"/>
    <dgm:cxn modelId="{D14BB4CD-C0C9-483F-BD60-744CF3BA5F33}" type="presParOf" srcId="{0461C58D-7F3E-4B86-8F24-517DC164A7B0}" destId="{DC863BCB-E2E0-4798-8600-ACC7ECAF33E6}" srcOrd="0" destOrd="0" presId="urn:microsoft.com/office/officeart/2005/8/layout/orgChart1"/>
    <dgm:cxn modelId="{7FE7E4C2-E17D-422B-9399-DB4A846C2BD8}" type="presParOf" srcId="{DC863BCB-E2E0-4798-8600-ACC7ECAF33E6}" destId="{99EACDF6-99FC-4A75-B944-DD3B8E4CEE35}" srcOrd="0" destOrd="0" presId="urn:microsoft.com/office/officeart/2005/8/layout/orgChart1"/>
    <dgm:cxn modelId="{21C5D874-128C-4F7C-BC0B-E08584422D28}" type="presParOf" srcId="{DC863BCB-E2E0-4798-8600-ACC7ECAF33E6}" destId="{AB569B33-F6B2-427E-B549-0016B97B89E4}" srcOrd="1" destOrd="0" presId="urn:microsoft.com/office/officeart/2005/8/layout/orgChart1"/>
    <dgm:cxn modelId="{0A9832D5-4CF9-430B-B526-E6081C36719E}" type="presParOf" srcId="{0461C58D-7F3E-4B86-8F24-517DC164A7B0}" destId="{78750EF1-AEFF-49B4-998A-011133B486A4}" srcOrd="1" destOrd="0" presId="urn:microsoft.com/office/officeart/2005/8/layout/orgChart1"/>
    <dgm:cxn modelId="{2402F462-08A1-45CA-AB7F-9A18202826B6}" type="presParOf" srcId="{0461C58D-7F3E-4B86-8F24-517DC164A7B0}" destId="{07099AAE-2E6B-4777-A1D1-2EEDC2EB1CD0}" srcOrd="2" destOrd="0" presId="urn:microsoft.com/office/officeart/2005/8/layout/orgChart1"/>
    <dgm:cxn modelId="{A2AAA649-DE9C-4999-AB73-25087956F5EE}" type="presParOf" srcId="{1B9605BF-35B3-4FA1-B576-3EA11B3DC147}" destId="{E54CCE39-C158-4445-AE55-E9204AA71FD1}" srcOrd="2" destOrd="0" presId="urn:microsoft.com/office/officeart/2005/8/layout/orgChart1"/>
    <dgm:cxn modelId="{36B37A19-9F5A-46F0-8339-70C3DA8EFBEB}" type="presParOf" srcId="{1B9605BF-35B3-4FA1-B576-3EA11B3DC147}" destId="{64B12471-4166-4E8E-B310-133B2A22E718}" srcOrd="3" destOrd="0" presId="urn:microsoft.com/office/officeart/2005/8/layout/orgChart1"/>
    <dgm:cxn modelId="{E2C28A07-3455-49D9-B3A7-21B6068FDCDD}" type="presParOf" srcId="{64B12471-4166-4E8E-B310-133B2A22E718}" destId="{D2720814-8C10-44A6-8E33-5B3D616B632D}" srcOrd="0" destOrd="0" presId="urn:microsoft.com/office/officeart/2005/8/layout/orgChart1"/>
    <dgm:cxn modelId="{B101ACC0-AC80-45E1-B810-89811C46140F}" type="presParOf" srcId="{D2720814-8C10-44A6-8E33-5B3D616B632D}" destId="{B57A22CC-0216-4B6B-B986-C8AAC030463D}" srcOrd="0" destOrd="0" presId="urn:microsoft.com/office/officeart/2005/8/layout/orgChart1"/>
    <dgm:cxn modelId="{9BCF4499-CAD3-4764-B305-F252F0DD5254}" type="presParOf" srcId="{D2720814-8C10-44A6-8E33-5B3D616B632D}" destId="{E796C7BF-C22F-4C7F-9507-719E63FA01AD}" srcOrd="1" destOrd="0" presId="urn:microsoft.com/office/officeart/2005/8/layout/orgChart1"/>
    <dgm:cxn modelId="{8661E534-4D86-4824-A6D0-D0C1FBC7E1E8}" type="presParOf" srcId="{64B12471-4166-4E8E-B310-133B2A22E718}" destId="{B4C231C4-83C0-4099-93D2-73FA38A1F0BA}" srcOrd="1" destOrd="0" presId="urn:microsoft.com/office/officeart/2005/8/layout/orgChart1"/>
    <dgm:cxn modelId="{5CCCA5DF-D219-447E-915A-C4F3F31CF956}" type="presParOf" srcId="{64B12471-4166-4E8E-B310-133B2A22E718}" destId="{01521E51-6826-4B3F-8F50-08E6AA8A63B3}" srcOrd="2" destOrd="0" presId="urn:microsoft.com/office/officeart/2005/8/layout/orgChart1"/>
    <dgm:cxn modelId="{FC8D28F2-81A8-4026-82C4-0739B145CF2E}" type="presParOf" srcId="{01521E51-6826-4B3F-8F50-08E6AA8A63B3}" destId="{DC717EB4-FE58-46EF-ACD2-CA05E8C3B691}" srcOrd="0" destOrd="0" presId="urn:microsoft.com/office/officeart/2005/8/layout/orgChart1"/>
    <dgm:cxn modelId="{99444475-06FB-45C9-8668-01095ADED8C4}" type="presParOf" srcId="{01521E51-6826-4B3F-8F50-08E6AA8A63B3}" destId="{25B412C7-B174-4BCF-A4A0-FA41AC07593E}" srcOrd="1" destOrd="0" presId="urn:microsoft.com/office/officeart/2005/8/layout/orgChart1"/>
    <dgm:cxn modelId="{AE7E8456-26D6-4EFB-9507-67E4243127A6}" type="presParOf" srcId="{25B412C7-B174-4BCF-A4A0-FA41AC07593E}" destId="{2C2BADE2-CE85-4594-A42D-A749B6DD1B3D}" srcOrd="0" destOrd="0" presId="urn:microsoft.com/office/officeart/2005/8/layout/orgChart1"/>
    <dgm:cxn modelId="{7473E319-B150-4C45-8959-8957E89457E0}" type="presParOf" srcId="{2C2BADE2-CE85-4594-A42D-A749B6DD1B3D}" destId="{699D4282-A4C9-4AB5-B67D-460EBDA9D404}" srcOrd="0" destOrd="0" presId="urn:microsoft.com/office/officeart/2005/8/layout/orgChart1"/>
    <dgm:cxn modelId="{7A25FFDA-F40A-4D2B-81B7-ED71468EDC7A}" type="presParOf" srcId="{2C2BADE2-CE85-4594-A42D-A749B6DD1B3D}" destId="{51E7009C-1DAE-4162-B7E4-BE7AFB1DA53A}" srcOrd="1" destOrd="0" presId="urn:microsoft.com/office/officeart/2005/8/layout/orgChart1"/>
    <dgm:cxn modelId="{C71C0560-5CC1-4D11-840D-E2F2F60F6742}" type="presParOf" srcId="{25B412C7-B174-4BCF-A4A0-FA41AC07593E}" destId="{2AE4F84D-0FEE-4CA7-B8C3-4F12D23A146F}" srcOrd="1" destOrd="0" presId="urn:microsoft.com/office/officeart/2005/8/layout/orgChart1"/>
    <dgm:cxn modelId="{1A235540-E87F-41C0-8137-D200666AFD11}" type="presParOf" srcId="{25B412C7-B174-4BCF-A4A0-FA41AC07593E}" destId="{AFB030AF-496F-4711-9AB2-7EFB7CADFBB7}" srcOrd="2" destOrd="0" presId="urn:microsoft.com/office/officeart/2005/8/layout/orgChart1"/>
    <dgm:cxn modelId="{F6623CC7-9E27-45C2-AB00-CCD247C65797}" type="presParOf" srcId="{23D67639-47D8-44C2-A828-5AC1F3865C19}" destId="{5941C0EE-097C-4032-B6A3-F6FE3B6FED7B}" srcOrd="4" destOrd="0" presId="urn:microsoft.com/office/officeart/2005/8/layout/orgChart1"/>
    <dgm:cxn modelId="{8BD0D965-2D99-4425-BE1E-470B588F0B79}" type="presParOf" srcId="{23D67639-47D8-44C2-A828-5AC1F3865C19}" destId="{58A45728-2A04-4E79-9F0E-367A22257680}" srcOrd="5" destOrd="0" presId="urn:microsoft.com/office/officeart/2005/8/layout/orgChart1"/>
    <dgm:cxn modelId="{A2581C68-E3EC-4408-8786-B01EDD81283C}" type="presParOf" srcId="{58A45728-2A04-4E79-9F0E-367A22257680}" destId="{5DB049F2-63CE-41F8-8ACA-5F37E5C9637D}" srcOrd="0" destOrd="0" presId="urn:microsoft.com/office/officeart/2005/8/layout/orgChart1"/>
    <dgm:cxn modelId="{710097F6-6591-4F0B-80DD-FC7ACA1725CC}" type="presParOf" srcId="{5DB049F2-63CE-41F8-8ACA-5F37E5C9637D}" destId="{CCA06F98-272D-42E7-9BCA-AB22DB9D4CE1}" srcOrd="0" destOrd="0" presId="urn:microsoft.com/office/officeart/2005/8/layout/orgChart1"/>
    <dgm:cxn modelId="{0953F558-70E4-4E0A-A816-091BA81BAE78}" type="presParOf" srcId="{5DB049F2-63CE-41F8-8ACA-5F37E5C9637D}" destId="{3FD683B6-C68B-46B0-B707-3737198A70D6}" srcOrd="1" destOrd="0" presId="urn:microsoft.com/office/officeart/2005/8/layout/orgChart1"/>
    <dgm:cxn modelId="{21B28A74-9326-46AF-9A04-9C88055084C9}" type="presParOf" srcId="{58A45728-2A04-4E79-9F0E-367A22257680}" destId="{317B688B-81A0-4944-BA53-63CC8113A9B4}" srcOrd="1" destOrd="0" presId="urn:microsoft.com/office/officeart/2005/8/layout/orgChart1"/>
    <dgm:cxn modelId="{CF172FBD-0E8C-48C4-AEE5-E7A806E6CB2A}" type="presParOf" srcId="{58A45728-2A04-4E79-9F0E-367A22257680}" destId="{F8A12C8D-6000-42BC-865D-1BDFBFD2F383}" srcOrd="2" destOrd="0" presId="urn:microsoft.com/office/officeart/2005/8/layout/orgChart1"/>
    <dgm:cxn modelId="{E6D02B74-2900-4B23-838A-2BC6A21F06F8}" type="presParOf" srcId="{23D67639-47D8-44C2-A828-5AC1F3865C19}" destId="{A72387A1-B468-401C-A475-4DE506041DB8}" srcOrd="6" destOrd="0" presId="urn:microsoft.com/office/officeart/2005/8/layout/orgChart1"/>
    <dgm:cxn modelId="{D4B9E118-2DF9-444A-8A12-45B0A1D66B76}" type="presParOf" srcId="{23D67639-47D8-44C2-A828-5AC1F3865C19}" destId="{B94FB8AB-72CF-4AF8-AF45-6DA67D8B7280}" srcOrd="7" destOrd="0" presId="urn:microsoft.com/office/officeart/2005/8/layout/orgChart1"/>
    <dgm:cxn modelId="{1DA60302-BA4D-40FD-8DC5-A773212AEEEC}" type="presParOf" srcId="{B94FB8AB-72CF-4AF8-AF45-6DA67D8B7280}" destId="{579A77A5-5EE1-46CC-8841-749C4E281112}" srcOrd="0" destOrd="0" presId="urn:microsoft.com/office/officeart/2005/8/layout/orgChart1"/>
    <dgm:cxn modelId="{1417DBA6-AAAC-43B0-AEB6-259304F5AD78}" type="presParOf" srcId="{579A77A5-5EE1-46CC-8841-749C4E281112}" destId="{453E6ABC-52AB-4CC0-B566-1E97D231C16E}" srcOrd="0" destOrd="0" presId="urn:microsoft.com/office/officeart/2005/8/layout/orgChart1"/>
    <dgm:cxn modelId="{0304142B-2AD9-435E-8052-57C377FE2E6A}" type="presParOf" srcId="{579A77A5-5EE1-46CC-8841-749C4E281112}" destId="{96BB40E7-6750-428C-98AD-10EAC71CD0A7}" srcOrd="1" destOrd="0" presId="urn:microsoft.com/office/officeart/2005/8/layout/orgChart1"/>
    <dgm:cxn modelId="{5D1BD730-D6F0-44A2-A9F7-4175C8FAAFB4}" type="presParOf" srcId="{B94FB8AB-72CF-4AF8-AF45-6DA67D8B7280}" destId="{B31B3B1D-4DDF-4117-8181-1F16A6A0B49F}" srcOrd="1" destOrd="0" presId="urn:microsoft.com/office/officeart/2005/8/layout/orgChart1"/>
    <dgm:cxn modelId="{DCAC3B56-D73F-40F3-8D8D-DB107FB4DD2E}" type="presParOf" srcId="{B94FB8AB-72CF-4AF8-AF45-6DA67D8B7280}" destId="{1FE261C1-C83D-4F94-B6E5-CE00838129D6}"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DC7501-6423-9243-B90E-8AD56BEF35F8}">
      <dsp:nvSpPr>
        <dsp:cNvPr id="0" name=""/>
        <dsp:cNvSpPr/>
      </dsp:nvSpPr>
      <dsp:spPr>
        <a:xfrm>
          <a:off x="7422" y="108775"/>
          <a:ext cx="1629553" cy="581941"/>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IN" sz="1600" b="1" u="none" kern="1200" dirty="0">
              <a:latin typeface="+mn-lt"/>
            </a:rPr>
            <a:t>Oxygen Source </a:t>
          </a:r>
          <a:endParaRPr lang="en-GB" sz="1600" b="1" u="none" kern="1200" dirty="0">
            <a:latin typeface="+mn-lt"/>
          </a:endParaRPr>
        </a:p>
      </dsp:txBody>
      <dsp:txXfrm>
        <a:off x="7422" y="108775"/>
        <a:ext cx="1629553" cy="581941"/>
      </dsp:txXfrm>
    </dsp:sp>
    <dsp:sp modelId="{A21D5157-D519-934D-A7FA-4B628D7867CB}">
      <dsp:nvSpPr>
        <dsp:cNvPr id="0" name=""/>
        <dsp:cNvSpPr/>
      </dsp:nvSpPr>
      <dsp:spPr>
        <a:xfrm>
          <a:off x="45977" y="713881"/>
          <a:ext cx="1552443" cy="3467707"/>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endParaRPr lang="en-GB" sz="1600" u="none" kern="1200" dirty="0">
            <a:latin typeface="+mn-lt"/>
          </a:endParaRPr>
        </a:p>
        <a:p>
          <a:pPr marL="171450" lvl="1" indent="-171450" algn="l" defTabSz="711200">
            <a:lnSpc>
              <a:spcPct val="90000"/>
            </a:lnSpc>
            <a:spcBef>
              <a:spcPct val="0"/>
            </a:spcBef>
            <a:spcAft>
              <a:spcPct val="15000"/>
            </a:spcAft>
            <a:buChar char="•"/>
          </a:pPr>
          <a:r>
            <a:rPr lang="en-IN" sz="1600" u="none" kern="1200" dirty="0">
              <a:latin typeface="+mn-lt"/>
            </a:rPr>
            <a:t>Concentrator</a:t>
          </a:r>
          <a:endParaRPr lang="en-GB" sz="1600" u="none" kern="1200" dirty="0">
            <a:latin typeface="+mn-lt"/>
          </a:endParaRPr>
        </a:p>
        <a:p>
          <a:pPr marL="171450" lvl="1" indent="-171450" algn="l" defTabSz="711200">
            <a:lnSpc>
              <a:spcPct val="90000"/>
            </a:lnSpc>
            <a:spcBef>
              <a:spcPct val="0"/>
            </a:spcBef>
            <a:spcAft>
              <a:spcPct val="15000"/>
            </a:spcAft>
            <a:buChar char="•"/>
          </a:pPr>
          <a:r>
            <a:rPr lang="en-IN" sz="1600" u="none" kern="1200" dirty="0">
              <a:latin typeface="+mn-lt"/>
            </a:rPr>
            <a:t>Cylinder</a:t>
          </a:r>
        </a:p>
        <a:p>
          <a:pPr marL="171450" lvl="1" indent="-171450" algn="l" defTabSz="711200">
            <a:lnSpc>
              <a:spcPct val="90000"/>
            </a:lnSpc>
            <a:spcBef>
              <a:spcPct val="0"/>
            </a:spcBef>
            <a:spcAft>
              <a:spcPct val="15000"/>
            </a:spcAft>
            <a:buChar char="•"/>
          </a:pPr>
          <a:r>
            <a:rPr lang="en-IN" sz="1600" u="none" kern="1200" dirty="0">
              <a:latin typeface="+mn-lt"/>
            </a:rPr>
            <a:t>PSA/VSA/VPSA Plant</a:t>
          </a:r>
        </a:p>
        <a:p>
          <a:pPr marL="171450" lvl="1" indent="-171450" algn="l" defTabSz="711200">
            <a:lnSpc>
              <a:spcPct val="90000"/>
            </a:lnSpc>
            <a:spcBef>
              <a:spcPct val="0"/>
            </a:spcBef>
            <a:spcAft>
              <a:spcPct val="15000"/>
            </a:spcAft>
            <a:buChar char="•"/>
          </a:pPr>
          <a:r>
            <a:rPr lang="en-IN" sz="1600" u="none" kern="1200">
              <a:latin typeface="+mn-lt"/>
            </a:rPr>
            <a:t>Liquid Medical Oxygen (ASU Plant)</a:t>
          </a:r>
          <a:endParaRPr lang="en-IN" sz="1600" u="none" kern="1200" dirty="0">
            <a:latin typeface="+mn-lt"/>
          </a:endParaRPr>
        </a:p>
      </dsp:txBody>
      <dsp:txXfrm>
        <a:off x="45977" y="713881"/>
        <a:ext cx="1552443" cy="3467707"/>
      </dsp:txXfrm>
    </dsp:sp>
    <dsp:sp modelId="{38C3B912-6573-8643-8222-6D23A6C570F9}">
      <dsp:nvSpPr>
        <dsp:cNvPr id="0" name=""/>
        <dsp:cNvSpPr/>
      </dsp:nvSpPr>
      <dsp:spPr>
        <a:xfrm>
          <a:off x="1854105" y="108775"/>
          <a:ext cx="1550927" cy="581941"/>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IN" sz="1600" b="1" u="none" kern="1200" dirty="0">
              <a:latin typeface="+mn-lt"/>
            </a:rPr>
            <a:t>Distribution</a:t>
          </a:r>
          <a:endParaRPr lang="en-GB" sz="1600" b="1" u="none" kern="1200" dirty="0">
            <a:latin typeface="+mn-lt"/>
          </a:endParaRPr>
        </a:p>
      </dsp:txBody>
      <dsp:txXfrm>
        <a:off x="1854105" y="108775"/>
        <a:ext cx="1550927" cy="581941"/>
      </dsp:txXfrm>
    </dsp:sp>
    <dsp:sp modelId="{9050EE71-E1E4-E74C-8EF6-AE04A2A8853A}">
      <dsp:nvSpPr>
        <dsp:cNvPr id="0" name=""/>
        <dsp:cNvSpPr/>
      </dsp:nvSpPr>
      <dsp:spPr>
        <a:xfrm>
          <a:off x="1854105" y="690717"/>
          <a:ext cx="1550927" cy="3467707"/>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endParaRPr lang="en-GB" sz="1600" u="none" kern="1200" dirty="0">
            <a:latin typeface="+mn-lt"/>
          </a:endParaRPr>
        </a:p>
        <a:p>
          <a:pPr marL="171450" lvl="1" indent="-171450" algn="l" defTabSz="711200">
            <a:lnSpc>
              <a:spcPct val="90000"/>
            </a:lnSpc>
            <a:spcBef>
              <a:spcPct val="0"/>
            </a:spcBef>
            <a:spcAft>
              <a:spcPct val="15000"/>
            </a:spcAft>
            <a:buChar char="•"/>
          </a:pPr>
          <a:r>
            <a:rPr lang="en-IN" sz="1600" u="none" kern="1200" dirty="0">
              <a:latin typeface="+mn-lt"/>
            </a:rPr>
            <a:t>Central or sub-central piping</a:t>
          </a:r>
          <a:endParaRPr lang="en-GB"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Tubing</a:t>
          </a:r>
          <a:endParaRPr lang="en-IN"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Transport (for cylinders)</a:t>
          </a:r>
          <a:endParaRPr lang="en-IN"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Transport (for Liquid Oxygen)</a:t>
          </a:r>
          <a:endParaRPr lang="en-IN" sz="1600" u="none" kern="1200" dirty="0">
            <a:latin typeface="+mn-lt"/>
          </a:endParaRPr>
        </a:p>
      </dsp:txBody>
      <dsp:txXfrm>
        <a:off x="1854105" y="690717"/>
        <a:ext cx="1550927" cy="3467707"/>
      </dsp:txXfrm>
    </dsp:sp>
    <dsp:sp modelId="{658BCEFA-31DB-6344-99B2-81755ADD94AE}">
      <dsp:nvSpPr>
        <dsp:cNvPr id="0" name=""/>
        <dsp:cNvSpPr/>
      </dsp:nvSpPr>
      <dsp:spPr>
        <a:xfrm>
          <a:off x="3622162" y="108775"/>
          <a:ext cx="1711599" cy="581941"/>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IN" sz="1600" b="1" u="none" kern="1200" dirty="0">
              <a:latin typeface="+mn-lt"/>
            </a:rPr>
            <a:t>Regulation &amp; Conditioning</a:t>
          </a:r>
          <a:endParaRPr lang="en-GB" sz="1600" b="1" u="none" kern="1200" dirty="0">
            <a:latin typeface="+mn-lt"/>
          </a:endParaRPr>
        </a:p>
      </dsp:txBody>
      <dsp:txXfrm>
        <a:off x="3622162" y="108775"/>
        <a:ext cx="1711599" cy="581941"/>
      </dsp:txXfrm>
    </dsp:sp>
    <dsp:sp modelId="{5EB5E48D-A7FF-5B40-8296-D6733EC1F50C}">
      <dsp:nvSpPr>
        <dsp:cNvPr id="0" name=""/>
        <dsp:cNvSpPr/>
      </dsp:nvSpPr>
      <dsp:spPr>
        <a:xfrm>
          <a:off x="3701740" y="690717"/>
          <a:ext cx="1552443" cy="3467707"/>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endParaRPr lang="en-GB" sz="1600" u="none" kern="1200" dirty="0">
            <a:latin typeface="+mn-lt"/>
          </a:endParaRPr>
        </a:p>
        <a:p>
          <a:pPr marL="171450" lvl="1" indent="-171450" algn="l" defTabSz="711200">
            <a:lnSpc>
              <a:spcPct val="90000"/>
            </a:lnSpc>
            <a:spcBef>
              <a:spcPct val="0"/>
            </a:spcBef>
            <a:spcAft>
              <a:spcPct val="15000"/>
            </a:spcAft>
            <a:buChar char="•"/>
          </a:pPr>
          <a:r>
            <a:rPr lang="en-IN" sz="1600" u="none" kern="1200" dirty="0">
              <a:latin typeface="+mn-lt"/>
            </a:rPr>
            <a:t>Regulator</a:t>
          </a:r>
          <a:endParaRPr lang="en-GB"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Flowmeter</a:t>
          </a:r>
          <a:endParaRPr lang="en-IN"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Flowmeter stand (flow splitter)</a:t>
          </a:r>
          <a:endParaRPr lang="en-IN"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Humidifier (heated and non-heated)</a:t>
          </a:r>
          <a:endParaRPr lang="en-IN"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Blender</a:t>
          </a:r>
          <a:endParaRPr lang="en-IN"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CPAP</a:t>
          </a:r>
          <a:endParaRPr lang="en-IN"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BiPAP</a:t>
          </a:r>
          <a:endParaRPr lang="en-IN"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Ventilator</a:t>
          </a:r>
          <a:endParaRPr lang="en-IN" sz="1600" u="none" kern="1200" dirty="0">
            <a:latin typeface="+mn-lt"/>
          </a:endParaRPr>
        </a:p>
      </dsp:txBody>
      <dsp:txXfrm>
        <a:off x="3701740" y="690717"/>
        <a:ext cx="1552443" cy="3467707"/>
      </dsp:txXfrm>
    </dsp:sp>
    <dsp:sp modelId="{C088307D-1CC1-9943-BC7B-135AF2AB152A}">
      <dsp:nvSpPr>
        <dsp:cNvPr id="0" name=""/>
        <dsp:cNvSpPr/>
      </dsp:nvSpPr>
      <dsp:spPr>
        <a:xfrm>
          <a:off x="5550892" y="108775"/>
          <a:ext cx="1550927" cy="581941"/>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IN" sz="1600" b="1" u="none" kern="1200" dirty="0">
              <a:latin typeface="+mn-lt"/>
            </a:rPr>
            <a:t>Delivery </a:t>
          </a:r>
          <a:endParaRPr lang="en-GB" sz="1600" b="1" u="none" kern="1200" dirty="0">
            <a:latin typeface="+mn-lt"/>
          </a:endParaRPr>
        </a:p>
      </dsp:txBody>
      <dsp:txXfrm>
        <a:off x="5550892" y="108775"/>
        <a:ext cx="1550927" cy="581941"/>
      </dsp:txXfrm>
    </dsp:sp>
    <dsp:sp modelId="{7261BD65-8AE5-C64A-9D1C-C130649DFD54}">
      <dsp:nvSpPr>
        <dsp:cNvPr id="0" name=""/>
        <dsp:cNvSpPr/>
      </dsp:nvSpPr>
      <dsp:spPr>
        <a:xfrm>
          <a:off x="5550892" y="690717"/>
          <a:ext cx="1550927" cy="3467707"/>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endParaRPr lang="en-GB" sz="1600" u="none" kern="1200" dirty="0">
            <a:latin typeface="+mn-lt"/>
          </a:endParaRPr>
        </a:p>
        <a:p>
          <a:pPr marL="171450" lvl="1" indent="-171450" algn="l" defTabSz="711200">
            <a:lnSpc>
              <a:spcPct val="90000"/>
            </a:lnSpc>
            <a:spcBef>
              <a:spcPct val="0"/>
            </a:spcBef>
            <a:spcAft>
              <a:spcPct val="15000"/>
            </a:spcAft>
            <a:buChar char="•"/>
          </a:pPr>
          <a:r>
            <a:rPr lang="en-IN" sz="1600" u="none" kern="1200" dirty="0">
              <a:latin typeface="+mn-lt"/>
            </a:rPr>
            <a:t>Nasal cannula</a:t>
          </a:r>
          <a:endParaRPr lang="en-GB"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Nasal catheter</a:t>
          </a:r>
          <a:endParaRPr lang="en-IN"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Masks</a:t>
          </a:r>
          <a:endParaRPr lang="en-IN"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Tubing</a:t>
          </a:r>
          <a:endParaRPr lang="en-IN" sz="1600" u="none" kern="1200" dirty="0">
            <a:latin typeface="+mn-lt"/>
          </a:endParaRPr>
        </a:p>
        <a:p>
          <a:pPr marL="171450" lvl="1" indent="-171450" algn="l" defTabSz="711200">
            <a:lnSpc>
              <a:spcPct val="90000"/>
            </a:lnSpc>
            <a:spcBef>
              <a:spcPct val="0"/>
            </a:spcBef>
            <a:spcAft>
              <a:spcPct val="15000"/>
            </a:spcAft>
            <a:buChar char="•"/>
          </a:pPr>
          <a:r>
            <a:rPr lang="en-IN" sz="1600" u="none" kern="1200">
              <a:latin typeface="+mn-lt"/>
            </a:rPr>
            <a:t>Non ReBreather Mask</a:t>
          </a:r>
          <a:endParaRPr lang="en-IN" sz="1600" u="none" kern="1200" dirty="0">
            <a:latin typeface="+mn-lt"/>
          </a:endParaRPr>
        </a:p>
      </dsp:txBody>
      <dsp:txXfrm>
        <a:off x="5550892" y="690717"/>
        <a:ext cx="1550927" cy="3467707"/>
      </dsp:txXfrm>
    </dsp:sp>
    <dsp:sp modelId="{F5A4A149-D24F-C146-9F0B-71629C0957D9}">
      <dsp:nvSpPr>
        <dsp:cNvPr id="0" name=""/>
        <dsp:cNvSpPr/>
      </dsp:nvSpPr>
      <dsp:spPr>
        <a:xfrm>
          <a:off x="7318949" y="108775"/>
          <a:ext cx="1550927" cy="581941"/>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IN" sz="1600" b="1" u="none" kern="1200" dirty="0">
              <a:latin typeface="+mn-lt"/>
            </a:rPr>
            <a:t>Patient Monitoring</a:t>
          </a:r>
          <a:endParaRPr lang="en-GB" sz="1600" b="1" u="none" kern="1200" dirty="0">
            <a:latin typeface="+mn-lt"/>
          </a:endParaRPr>
        </a:p>
      </dsp:txBody>
      <dsp:txXfrm>
        <a:off x="7318949" y="108775"/>
        <a:ext cx="1550927" cy="581941"/>
      </dsp:txXfrm>
    </dsp:sp>
    <dsp:sp modelId="{3EA14D89-47EA-1947-81E1-D3C623757F10}">
      <dsp:nvSpPr>
        <dsp:cNvPr id="0" name=""/>
        <dsp:cNvSpPr/>
      </dsp:nvSpPr>
      <dsp:spPr>
        <a:xfrm>
          <a:off x="7318949" y="690717"/>
          <a:ext cx="1550927" cy="3467707"/>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endParaRPr lang="en-GB" sz="1600" u="none" kern="1200" dirty="0">
            <a:latin typeface="+mn-lt"/>
          </a:endParaRPr>
        </a:p>
        <a:p>
          <a:pPr marL="171450" lvl="1" indent="-171450" algn="l" defTabSz="711200">
            <a:lnSpc>
              <a:spcPct val="90000"/>
            </a:lnSpc>
            <a:spcBef>
              <a:spcPct val="0"/>
            </a:spcBef>
            <a:spcAft>
              <a:spcPct val="15000"/>
            </a:spcAft>
            <a:buChar char="•"/>
          </a:pPr>
          <a:r>
            <a:rPr lang="en-IN" sz="1600" u="none" kern="1200" dirty="0">
              <a:latin typeface="+mn-lt"/>
            </a:rPr>
            <a:t>Pulse oximeter</a:t>
          </a:r>
          <a:endParaRPr lang="en-GB" sz="1600" u="none" kern="1200" dirty="0">
            <a:latin typeface="+mn-lt"/>
          </a:endParaRPr>
        </a:p>
        <a:p>
          <a:pPr marL="171450" lvl="1" indent="-171450" algn="l" defTabSz="711200">
            <a:lnSpc>
              <a:spcPct val="90000"/>
            </a:lnSpc>
            <a:spcBef>
              <a:spcPct val="0"/>
            </a:spcBef>
            <a:spcAft>
              <a:spcPct val="15000"/>
            </a:spcAft>
            <a:buChar char="•"/>
          </a:pPr>
          <a:r>
            <a:rPr lang="en-IN" sz="1600" u="none" kern="1200" dirty="0">
              <a:latin typeface="+mn-lt"/>
            </a:rPr>
            <a:t>Multi-parameter monitor</a:t>
          </a:r>
        </a:p>
      </dsp:txBody>
      <dsp:txXfrm>
        <a:off x="7318949" y="690717"/>
        <a:ext cx="1550927" cy="346770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184D98-F766-43AC-A52C-83A8442E076E}">
      <dsp:nvSpPr>
        <dsp:cNvPr id="0" name=""/>
        <dsp:cNvSpPr/>
      </dsp:nvSpPr>
      <dsp:spPr>
        <a:xfrm>
          <a:off x="1621903" y="985793"/>
          <a:ext cx="4263565" cy="91440"/>
        </a:xfrm>
        <a:custGeom>
          <a:avLst/>
          <a:gdLst/>
          <a:ahLst/>
          <a:cxnLst/>
          <a:rect l="0" t="0" r="0" b="0"/>
          <a:pathLst>
            <a:path>
              <a:moveTo>
                <a:pt x="0" y="45720"/>
              </a:moveTo>
              <a:lnTo>
                <a:pt x="4263565" y="45720"/>
              </a:lnTo>
              <a:lnTo>
                <a:pt x="4263565" y="123003"/>
              </a:lnTo>
            </a:path>
          </a:pathLst>
        </a:custGeom>
        <a:noFill/>
        <a:ln w="1587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25E44F-00BB-49DA-8E55-2B5AB8866DD8}">
      <dsp:nvSpPr>
        <dsp:cNvPr id="0" name=""/>
        <dsp:cNvSpPr/>
      </dsp:nvSpPr>
      <dsp:spPr>
        <a:xfrm>
          <a:off x="1621903" y="931862"/>
          <a:ext cx="4263565" cy="91440"/>
        </a:xfrm>
        <a:custGeom>
          <a:avLst/>
          <a:gdLst/>
          <a:ahLst/>
          <a:cxnLst/>
          <a:rect l="0" t="0" r="0" b="0"/>
          <a:pathLst>
            <a:path>
              <a:moveTo>
                <a:pt x="0" y="99650"/>
              </a:moveTo>
              <a:lnTo>
                <a:pt x="4263565" y="99650"/>
              </a:lnTo>
              <a:lnTo>
                <a:pt x="4263565" y="45720"/>
              </a:lnTo>
            </a:path>
          </a:pathLst>
        </a:custGeom>
        <a:noFill/>
        <a:ln w="1587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2986E73-E28D-4B70-8A10-AA0E4BFF85F5}">
      <dsp:nvSpPr>
        <dsp:cNvPr id="0" name=""/>
        <dsp:cNvSpPr/>
      </dsp:nvSpPr>
      <dsp:spPr>
        <a:xfrm>
          <a:off x="1621903" y="985793"/>
          <a:ext cx="3082633" cy="91440"/>
        </a:xfrm>
        <a:custGeom>
          <a:avLst/>
          <a:gdLst/>
          <a:ahLst/>
          <a:cxnLst/>
          <a:rect l="0" t="0" r="0" b="0"/>
          <a:pathLst>
            <a:path>
              <a:moveTo>
                <a:pt x="0" y="45720"/>
              </a:moveTo>
              <a:lnTo>
                <a:pt x="3082633" y="45720"/>
              </a:lnTo>
              <a:lnTo>
                <a:pt x="3082633" y="123003"/>
              </a:lnTo>
            </a:path>
          </a:pathLst>
        </a:custGeom>
        <a:noFill/>
        <a:ln w="1587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01C5B77-DA38-43E3-B522-C47F40CAE717}">
      <dsp:nvSpPr>
        <dsp:cNvPr id="0" name=""/>
        <dsp:cNvSpPr/>
      </dsp:nvSpPr>
      <dsp:spPr>
        <a:xfrm>
          <a:off x="1621903" y="931862"/>
          <a:ext cx="3082633" cy="91440"/>
        </a:xfrm>
        <a:custGeom>
          <a:avLst/>
          <a:gdLst/>
          <a:ahLst/>
          <a:cxnLst/>
          <a:rect l="0" t="0" r="0" b="0"/>
          <a:pathLst>
            <a:path>
              <a:moveTo>
                <a:pt x="0" y="99650"/>
              </a:moveTo>
              <a:lnTo>
                <a:pt x="3082633" y="99650"/>
              </a:lnTo>
              <a:lnTo>
                <a:pt x="3082633" y="45720"/>
              </a:lnTo>
            </a:path>
          </a:pathLst>
        </a:custGeom>
        <a:noFill/>
        <a:ln w="1587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D131662-7556-4F74-93A0-9AD5D9B92A84}">
      <dsp:nvSpPr>
        <dsp:cNvPr id="0" name=""/>
        <dsp:cNvSpPr/>
      </dsp:nvSpPr>
      <dsp:spPr>
        <a:xfrm>
          <a:off x="1621903" y="985793"/>
          <a:ext cx="1901700" cy="91440"/>
        </a:xfrm>
        <a:custGeom>
          <a:avLst/>
          <a:gdLst/>
          <a:ahLst/>
          <a:cxnLst/>
          <a:rect l="0" t="0" r="0" b="0"/>
          <a:pathLst>
            <a:path>
              <a:moveTo>
                <a:pt x="0" y="45720"/>
              </a:moveTo>
              <a:lnTo>
                <a:pt x="1901700" y="45720"/>
              </a:lnTo>
              <a:lnTo>
                <a:pt x="1901700" y="123003"/>
              </a:lnTo>
            </a:path>
          </a:pathLst>
        </a:custGeom>
        <a:noFill/>
        <a:ln w="1587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94BA221-2B1E-4A9C-B6D1-E39E2BBF9123}">
      <dsp:nvSpPr>
        <dsp:cNvPr id="0" name=""/>
        <dsp:cNvSpPr/>
      </dsp:nvSpPr>
      <dsp:spPr>
        <a:xfrm>
          <a:off x="1621903" y="931862"/>
          <a:ext cx="1901700" cy="91440"/>
        </a:xfrm>
        <a:custGeom>
          <a:avLst/>
          <a:gdLst/>
          <a:ahLst/>
          <a:cxnLst/>
          <a:rect l="0" t="0" r="0" b="0"/>
          <a:pathLst>
            <a:path>
              <a:moveTo>
                <a:pt x="0" y="99650"/>
              </a:moveTo>
              <a:lnTo>
                <a:pt x="1901700" y="99650"/>
              </a:lnTo>
              <a:lnTo>
                <a:pt x="1901700" y="45720"/>
              </a:lnTo>
            </a:path>
          </a:pathLst>
        </a:custGeom>
        <a:noFill/>
        <a:ln w="1587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6449E1-F68E-4B2C-BDB4-2F260DD05F98}">
      <dsp:nvSpPr>
        <dsp:cNvPr id="0" name=""/>
        <dsp:cNvSpPr/>
      </dsp:nvSpPr>
      <dsp:spPr>
        <a:xfrm>
          <a:off x="1621903" y="985793"/>
          <a:ext cx="720767" cy="91440"/>
        </a:xfrm>
        <a:custGeom>
          <a:avLst/>
          <a:gdLst/>
          <a:ahLst/>
          <a:cxnLst/>
          <a:rect l="0" t="0" r="0" b="0"/>
          <a:pathLst>
            <a:path>
              <a:moveTo>
                <a:pt x="0" y="45720"/>
              </a:moveTo>
              <a:lnTo>
                <a:pt x="720767" y="45720"/>
              </a:lnTo>
              <a:lnTo>
                <a:pt x="720767" y="123003"/>
              </a:lnTo>
            </a:path>
          </a:pathLst>
        </a:custGeom>
        <a:noFill/>
        <a:ln w="1587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BC3CDD-470E-4336-91D7-2760F56365FD}">
      <dsp:nvSpPr>
        <dsp:cNvPr id="0" name=""/>
        <dsp:cNvSpPr/>
      </dsp:nvSpPr>
      <dsp:spPr>
        <a:xfrm>
          <a:off x="1621903" y="931862"/>
          <a:ext cx="720767" cy="91440"/>
        </a:xfrm>
        <a:custGeom>
          <a:avLst/>
          <a:gdLst/>
          <a:ahLst/>
          <a:cxnLst/>
          <a:rect l="0" t="0" r="0" b="0"/>
          <a:pathLst>
            <a:path>
              <a:moveTo>
                <a:pt x="0" y="99650"/>
              </a:moveTo>
              <a:lnTo>
                <a:pt x="720767" y="99650"/>
              </a:lnTo>
              <a:lnTo>
                <a:pt x="720767" y="45720"/>
              </a:lnTo>
            </a:path>
          </a:pathLst>
        </a:custGeom>
        <a:noFill/>
        <a:ln w="1587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145782-C3A3-41DB-AFB6-9455BE8B574C}">
      <dsp:nvSpPr>
        <dsp:cNvPr id="0" name=""/>
        <dsp:cNvSpPr/>
      </dsp:nvSpPr>
      <dsp:spPr>
        <a:xfrm>
          <a:off x="5012" y="614367"/>
          <a:ext cx="1616890" cy="834292"/>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IN" sz="1800" kern="1200" dirty="0">
              <a:latin typeface="Calibri" panose="020F0502020204030204" pitchFamily="34" charset="0"/>
            </a:rPr>
            <a:t>LMO manufacturers</a:t>
          </a:r>
        </a:p>
      </dsp:txBody>
      <dsp:txXfrm>
        <a:off x="5012" y="614367"/>
        <a:ext cx="1616890" cy="834292"/>
      </dsp:txXfrm>
    </dsp:sp>
    <dsp:sp modelId="{B642EC9B-21DD-498A-9447-EF3CC1651F6A}">
      <dsp:nvSpPr>
        <dsp:cNvPr id="0" name=""/>
        <dsp:cNvSpPr/>
      </dsp:nvSpPr>
      <dsp:spPr>
        <a:xfrm>
          <a:off x="1817812" y="295668"/>
          <a:ext cx="1049717" cy="68191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latin typeface="Calibri" panose="020F0502020204030204" pitchFamily="34" charset="0"/>
            </a:rPr>
            <a:t>Inox Air Products</a:t>
          </a:r>
        </a:p>
      </dsp:txBody>
      <dsp:txXfrm>
        <a:off x="1817812" y="295668"/>
        <a:ext cx="1049717" cy="681914"/>
      </dsp:txXfrm>
    </dsp:sp>
    <dsp:sp modelId="{F2EBBBDE-DD3C-4D07-82FF-B5BEC553EDF8}">
      <dsp:nvSpPr>
        <dsp:cNvPr id="0" name=""/>
        <dsp:cNvSpPr/>
      </dsp:nvSpPr>
      <dsp:spPr>
        <a:xfrm>
          <a:off x="1817812" y="1108797"/>
          <a:ext cx="1049717" cy="68191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latin typeface="Calibri" panose="020F0502020204030204" pitchFamily="34" charset="0"/>
            </a:rPr>
            <a:t>Linde India</a:t>
          </a:r>
        </a:p>
      </dsp:txBody>
      <dsp:txXfrm>
        <a:off x="1817812" y="1108797"/>
        <a:ext cx="1049717" cy="681914"/>
      </dsp:txXfrm>
    </dsp:sp>
    <dsp:sp modelId="{EB77B50A-A143-4571-8B13-E62E1EAC3F88}">
      <dsp:nvSpPr>
        <dsp:cNvPr id="0" name=""/>
        <dsp:cNvSpPr/>
      </dsp:nvSpPr>
      <dsp:spPr>
        <a:xfrm>
          <a:off x="2998744" y="295668"/>
          <a:ext cx="1049717" cy="68191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latin typeface="Calibri" panose="020F0502020204030204" pitchFamily="34" charset="0"/>
            </a:rPr>
            <a:t>Goyal MG Gases</a:t>
          </a:r>
        </a:p>
      </dsp:txBody>
      <dsp:txXfrm>
        <a:off x="2998744" y="295668"/>
        <a:ext cx="1049717" cy="681914"/>
      </dsp:txXfrm>
    </dsp:sp>
    <dsp:sp modelId="{D0C62D36-537E-4076-B7F3-DC1FD4C6EC67}">
      <dsp:nvSpPr>
        <dsp:cNvPr id="0" name=""/>
        <dsp:cNvSpPr/>
      </dsp:nvSpPr>
      <dsp:spPr>
        <a:xfrm>
          <a:off x="2998744" y="1108797"/>
          <a:ext cx="1049717" cy="68191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latin typeface="Calibri" panose="020F0502020204030204" pitchFamily="34" charset="0"/>
            </a:rPr>
            <a:t>National Oxygen Ltd.</a:t>
          </a:r>
        </a:p>
      </dsp:txBody>
      <dsp:txXfrm>
        <a:off x="2998744" y="1108797"/>
        <a:ext cx="1049717" cy="681914"/>
      </dsp:txXfrm>
    </dsp:sp>
    <dsp:sp modelId="{9C2CBD33-B28B-4E34-AA1D-B1B39A4B6177}">
      <dsp:nvSpPr>
        <dsp:cNvPr id="0" name=""/>
        <dsp:cNvSpPr/>
      </dsp:nvSpPr>
      <dsp:spPr>
        <a:xfrm>
          <a:off x="4179677" y="295668"/>
          <a:ext cx="1049717" cy="68191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latin typeface="Calibri" panose="020F0502020204030204" pitchFamily="34" charset="0"/>
            </a:rPr>
            <a:t>Taiyo Nippon Sanso Corp.</a:t>
          </a:r>
        </a:p>
      </dsp:txBody>
      <dsp:txXfrm>
        <a:off x="4179677" y="295668"/>
        <a:ext cx="1049717" cy="681914"/>
      </dsp:txXfrm>
    </dsp:sp>
    <dsp:sp modelId="{DB2AA0E5-87CB-4EA7-8FD8-8A8D9AD5FC09}">
      <dsp:nvSpPr>
        <dsp:cNvPr id="0" name=""/>
        <dsp:cNvSpPr/>
      </dsp:nvSpPr>
      <dsp:spPr>
        <a:xfrm>
          <a:off x="4179677" y="1108797"/>
          <a:ext cx="1049717" cy="68191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latin typeface="Calibri" panose="020F0502020204030204" pitchFamily="34" charset="0"/>
            </a:rPr>
            <a:t>Reliance</a:t>
          </a:r>
        </a:p>
      </dsp:txBody>
      <dsp:txXfrm>
        <a:off x="4179677" y="1108797"/>
        <a:ext cx="1049717" cy="681914"/>
      </dsp:txXfrm>
    </dsp:sp>
    <dsp:sp modelId="{56E2CA82-4F44-462C-93DE-130B345E7840}">
      <dsp:nvSpPr>
        <dsp:cNvPr id="0" name=""/>
        <dsp:cNvSpPr/>
      </dsp:nvSpPr>
      <dsp:spPr>
        <a:xfrm>
          <a:off x="5360610" y="295668"/>
          <a:ext cx="1049717" cy="68191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latin typeface="Calibri" panose="020F0502020204030204" pitchFamily="34" charset="0"/>
            </a:rPr>
            <a:t>SAIL</a:t>
          </a:r>
        </a:p>
      </dsp:txBody>
      <dsp:txXfrm>
        <a:off x="5360610" y="295668"/>
        <a:ext cx="1049717" cy="681914"/>
      </dsp:txXfrm>
    </dsp:sp>
    <dsp:sp modelId="{4915B2BA-BBF3-452C-82AA-B80F831892EA}">
      <dsp:nvSpPr>
        <dsp:cNvPr id="0" name=""/>
        <dsp:cNvSpPr/>
      </dsp:nvSpPr>
      <dsp:spPr>
        <a:xfrm>
          <a:off x="5360610" y="1108797"/>
          <a:ext cx="1049717" cy="681914"/>
        </a:xfrm>
        <a:prstGeom prst="rect">
          <a:avLst/>
        </a:prstGeom>
        <a:solidFill>
          <a:schemeClr val="dk2">
            <a:hueOff val="0"/>
            <a:satOff val="0"/>
            <a:lumOff val="0"/>
            <a:alphaOff val="0"/>
          </a:schemeClr>
        </a:solidFill>
        <a:ln w="1587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IN" sz="1600" kern="1200" dirty="0">
              <a:latin typeface="Calibri" panose="020F0502020204030204" pitchFamily="34" charset="0"/>
            </a:rPr>
            <a:t>Jindal Steel Plant </a:t>
          </a:r>
        </a:p>
      </dsp:txBody>
      <dsp:txXfrm>
        <a:off x="5360610" y="1108797"/>
        <a:ext cx="1049717" cy="68191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AF6F67-91BE-432B-9551-B462DC5E003B}">
      <dsp:nvSpPr>
        <dsp:cNvPr id="0" name=""/>
        <dsp:cNvSpPr/>
      </dsp:nvSpPr>
      <dsp:spPr>
        <a:xfrm>
          <a:off x="914338" y="587341"/>
          <a:ext cx="982795" cy="98279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3A325A1-7787-49AA-934D-5C67E5A14B97}">
      <dsp:nvSpPr>
        <dsp:cNvPr id="0" name=""/>
        <dsp:cNvSpPr/>
      </dsp:nvSpPr>
      <dsp:spPr>
        <a:xfrm>
          <a:off x="313740" y="1822107"/>
          <a:ext cx="2183990" cy="76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pPr>
          <a:r>
            <a:rPr lang="en-GB" sz="2400" kern="1200" dirty="0">
              <a:latin typeface="Calibri" panose="020F0502020204030204" pitchFamily="34" charset="0"/>
            </a:rPr>
            <a:t>What is an Audit</a:t>
          </a:r>
          <a:endParaRPr lang="en-US" sz="2400" kern="1200" dirty="0">
            <a:latin typeface="Calibri" panose="020F0502020204030204" pitchFamily="34" charset="0"/>
          </a:endParaRPr>
        </a:p>
      </dsp:txBody>
      <dsp:txXfrm>
        <a:off x="313740" y="1822107"/>
        <a:ext cx="2183990" cy="765000"/>
      </dsp:txXfrm>
    </dsp:sp>
    <dsp:sp modelId="{D2D35225-993E-44A0-9B42-F1999D9D8786}">
      <dsp:nvSpPr>
        <dsp:cNvPr id="0" name=""/>
        <dsp:cNvSpPr/>
      </dsp:nvSpPr>
      <dsp:spPr>
        <a:xfrm>
          <a:off x="3480527" y="530742"/>
          <a:ext cx="982795" cy="98279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4C14813-0918-42B3-B121-47388029434B}">
      <dsp:nvSpPr>
        <dsp:cNvPr id="0" name=""/>
        <dsp:cNvSpPr/>
      </dsp:nvSpPr>
      <dsp:spPr>
        <a:xfrm>
          <a:off x="2879929" y="1822107"/>
          <a:ext cx="2183990" cy="76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pPr>
          <a:r>
            <a:rPr lang="en-GB" sz="2400" kern="1200" dirty="0">
              <a:latin typeface="Calibri" panose="020F0502020204030204" pitchFamily="34" charset="0"/>
            </a:rPr>
            <a:t>Why to do an Audit</a:t>
          </a:r>
          <a:endParaRPr lang="en-US" sz="2400" kern="1200" dirty="0">
            <a:latin typeface="Calibri" panose="020F0502020204030204" pitchFamily="34" charset="0"/>
          </a:endParaRPr>
        </a:p>
      </dsp:txBody>
      <dsp:txXfrm>
        <a:off x="2879929" y="1822107"/>
        <a:ext cx="2183990" cy="765000"/>
      </dsp:txXfrm>
    </dsp:sp>
    <dsp:sp modelId="{A166A87E-4895-4B3E-8350-7BF9DDB5E097}">
      <dsp:nvSpPr>
        <dsp:cNvPr id="0" name=""/>
        <dsp:cNvSpPr/>
      </dsp:nvSpPr>
      <dsp:spPr>
        <a:xfrm>
          <a:off x="6046716" y="530742"/>
          <a:ext cx="982795" cy="98279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AE35A96-8C35-41E3-9595-00FFCAF18C57}">
      <dsp:nvSpPr>
        <dsp:cNvPr id="0" name=""/>
        <dsp:cNvSpPr/>
      </dsp:nvSpPr>
      <dsp:spPr>
        <a:xfrm>
          <a:off x="5446118" y="1822107"/>
          <a:ext cx="2183990" cy="76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66800">
            <a:lnSpc>
              <a:spcPct val="100000"/>
            </a:lnSpc>
            <a:spcBef>
              <a:spcPct val="0"/>
            </a:spcBef>
            <a:spcAft>
              <a:spcPct val="35000"/>
            </a:spcAft>
            <a:buNone/>
          </a:pPr>
          <a:r>
            <a:rPr lang="en-GB" sz="2400" kern="1200" dirty="0">
              <a:latin typeface="Calibri" panose="020F0502020204030204" pitchFamily="34" charset="0"/>
            </a:rPr>
            <a:t>How to do it</a:t>
          </a:r>
          <a:endParaRPr lang="en-US" sz="2400" kern="1200" dirty="0">
            <a:latin typeface="Calibri" panose="020F0502020204030204" pitchFamily="34" charset="0"/>
          </a:endParaRPr>
        </a:p>
      </dsp:txBody>
      <dsp:txXfrm>
        <a:off x="5446118" y="1822107"/>
        <a:ext cx="2183990" cy="7650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7C47F2-ABED-49CB-AD7F-2F7D1D58668B}">
      <dsp:nvSpPr>
        <dsp:cNvPr id="0" name=""/>
        <dsp:cNvSpPr/>
      </dsp:nvSpPr>
      <dsp:spPr>
        <a:xfrm>
          <a:off x="1777946" y="553414"/>
          <a:ext cx="3025157" cy="3025157"/>
        </a:xfrm>
        <a:prstGeom prst="blockArc">
          <a:avLst>
            <a:gd name="adj1" fmla="val 11032443"/>
            <a:gd name="adj2" fmla="val 16253775"/>
            <a:gd name="adj3" fmla="val 4635"/>
          </a:avLst>
        </a:prstGeom>
        <a:gradFill rotWithShape="0">
          <a:gsLst>
            <a:gs pos="0">
              <a:schemeClr val="accent1">
                <a:tint val="60000"/>
                <a:hueOff val="0"/>
                <a:satOff val="0"/>
                <a:lumOff val="0"/>
                <a:alphaOff val="0"/>
                <a:shade val="85000"/>
                <a:satMod val="130000"/>
              </a:schemeClr>
            </a:gs>
            <a:gs pos="34000">
              <a:schemeClr val="accent1">
                <a:tint val="60000"/>
                <a:hueOff val="0"/>
                <a:satOff val="0"/>
                <a:lumOff val="0"/>
                <a:alphaOff val="0"/>
                <a:shade val="87000"/>
                <a:satMod val="125000"/>
              </a:schemeClr>
            </a:gs>
            <a:gs pos="70000">
              <a:schemeClr val="accent1">
                <a:tint val="60000"/>
                <a:hueOff val="0"/>
                <a:satOff val="0"/>
                <a:lumOff val="0"/>
                <a:alphaOff val="0"/>
                <a:tint val="100000"/>
                <a:shade val="90000"/>
                <a:satMod val="130000"/>
              </a:schemeClr>
            </a:gs>
            <a:gs pos="100000">
              <a:schemeClr val="accent1">
                <a:tint val="60000"/>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5277CBB6-A4D1-40EC-B917-EED4CCA83094}">
      <dsp:nvSpPr>
        <dsp:cNvPr id="0" name=""/>
        <dsp:cNvSpPr/>
      </dsp:nvSpPr>
      <dsp:spPr>
        <a:xfrm>
          <a:off x="1779929" y="389447"/>
          <a:ext cx="3025157" cy="3025157"/>
        </a:xfrm>
        <a:prstGeom prst="blockArc">
          <a:avLst>
            <a:gd name="adj1" fmla="val 5350837"/>
            <a:gd name="adj2" fmla="val 10650717"/>
            <a:gd name="adj3" fmla="val 4635"/>
          </a:avLst>
        </a:prstGeom>
        <a:gradFill rotWithShape="0">
          <a:gsLst>
            <a:gs pos="0">
              <a:schemeClr val="accent1">
                <a:tint val="60000"/>
                <a:hueOff val="0"/>
                <a:satOff val="0"/>
                <a:lumOff val="0"/>
                <a:alphaOff val="0"/>
                <a:shade val="85000"/>
                <a:satMod val="130000"/>
              </a:schemeClr>
            </a:gs>
            <a:gs pos="34000">
              <a:schemeClr val="accent1">
                <a:tint val="60000"/>
                <a:hueOff val="0"/>
                <a:satOff val="0"/>
                <a:lumOff val="0"/>
                <a:alphaOff val="0"/>
                <a:shade val="87000"/>
                <a:satMod val="125000"/>
              </a:schemeClr>
            </a:gs>
            <a:gs pos="70000">
              <a:schemeClr val="accent1">
                <a:tint val="60000"/>
                <a:hueOff val="0"/>
                <a:satOff val="0"/>
                <a:lumOff val="0"/>
                <a:alphaOff val="0"/>
                <a:tint val="100000"/>
                <a:shade val="90000"/>
                <a:satMod val="130000"/>
              </a:schemeClr>
            </a:gs>
            <a:gs pos="100000">
              <a:schemeClr val="accent1">
                <a:tint val="60000"/>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B4AE4C71-B7BB-419E-B0A6-D4367FED7CB2}">
      <dsp:nvSpPr>
        <dsp:cNvPr id="0" name=""/>
        <dsp:cNvSpPr/>
      </dsp:nvSpPr>
      <dsp:spPr>
        <a:xfrm>
          <a:off x="1861937" y="390550"/>
          <a:ext cx="3025157" cy="3025157"/>
        </a:xfrm>
        <a:prstGeom prst="blockArc">
          <a:avLst>
            <a:gd name="adj1" fmla="val 138702"/>
            <a:gd name="adj2" fmla="val 5541688"/>
            <a:gd name="adj3" fmla="val 4635"/>
          </a:avLst>
        </a:prstGeom>
        <a:gradFill rotWithShape="0">
          <a:gsLst>
            <a:gs pos="0">
              <a:schemeClr val="accent1">
                <a:tint val="60000"/>
                <a:hueOff val="0"/>
                <a:satOff val="0"/>
                <a:lumOff val="0"/>
                <a:alphaOff val="0"/>
                <a:shade val="85000"/>
                <a:satMod val="130000"/>
              </a:schemeClr>
            </a:gs>
            <a:gs pos="34000">
              <a:schemeClr val="accent1">
                <a:tint val="60000"/>
                <a:hueOff val="0"/>
                <a:satOff val="0"/>
                <a:lumOff val="0"/>
                <a:alphaOff val="0"/>
                <a:shade val="87000"/>
                <a:satMod val="125000"/>
              </a:schemeClr>
            </a:gs>
            <a:gs pos="70000">
              <a:schemeClr val="accent1">
                <a:tint val="60000"/>
                <a:hueOff val="0"/>
                <a:satOff val="0"/>
                <a:lumOff val="0"/>
                <a:alphaOff val="0"/>
                <a:tint val="100000"/>
                <a:shade val="90000"/>
                <a:satMod val="130000"/>
              </a:schemeClr>
            </a:gs>
            <a:gs pos="100000">
              <a:schemeClr val="accent1">
                <a:tint val="60000"/>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8E3C2640-2484-4E26-B30E-D7F75357ED7E}">
      <dsp:nvSpPr>
        <dsp:cNvPr id="0" name=""/>
        <dsp:cNvSpPr/>
      </dsp:nvSpPr>
      <dsp:spPr>
        <a:xfrm>
          <a:off x="1864267" y="552242"/>
          <a:ext cx="3025157" cy="3025157"/>
        </a:xfrm>
        <a:prstGeom prst="blockArc">
          <a:avLst>
            <a:gd name="adj1" fmla="val 16052886"/>
            <a:gd name="adj2" fmla="val 21362267"/>
            <a:gd name="adj3" fmla="val 4635"/>
          </a:avLst>
        </a:prstGeom>
        <a:gradFill rotWithShape="0">
          <a:gsLst>
            <a:gs pos="0">
              <a:schemeClr val="accent1">
                <a:tint val="60000"/>
                <a:hueOff val="0"/>
                <a:satOff val="0"/>
                <a:lumOff val="0"/>
                <a:alphaOff val="0"/>
                <a:shade val="85000"/>
                <a:satMod val="130000"/>
              </a:schemeClr>
            </a:gs>
            <a:gs pos="34000">
              <a:schemeClr val="accent1">
                <a:tint val="60000"/>
                <a:hueOff val="0"/>
                <a:satOff val="0"/>
                <a:lumOff val="0"/>
                <a:alphaOff val="0"/>
                <a:shade val="87000"/>
                <a:satMod val="125000"/>
              </a:schemeClr>
            </a:gs>
            <a:gs pos="70000">
              <a:schemeClr val="accent1">
                <a:tint val="60000"/>
                <a:hueOff val="0"/>
                <a:satOff val="0"/>
                <a:lumOff val="0"/>
                <a:alphaOff val="0"/>
                <a:tint val="100000"/>
                <a:shade val="90000"/>
                <a:satMod val="130000"/>
              </a:schemeClr>
            </a:gs>
            <a:gs pos="100000">
              <a:schemeClr val="accent1">
                <a:tint val="60000"/>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sp>
    <dsp:sp modelId="{43CAECA3-24BC-4A7D-A4EF-790C6B7C33FD}">
      <dsp:nvSpPr>
        <dsp:cNvPr id="0" name=""/>
        <dsp:cNvSpPr/>
      </dsp:nvSpPr>
      <dsp:spPr>
        <a:xfrm>
          <a:off x="2045048" y="874829"/>
          <a:ext cx="2497706" cy="2182674"/>
        </a:xfrm>
        <a:prstGeom prst="ellipse">
          <a:avLst/>
        </a:prstGeom>
        <a:gradFill rotWithShape="0">
          <a:gsLst>
            <a:gs pos="0">
              <a:schemeClr val="lt1">
                <a:hueOff val="0"/>
                <a:satOff val="0"/>
                <a:lumOff val="0"/>
                <a:alphaOff val="0"/>
                <a:shade val="85000"/>
                <a:satMod val="130000"/>
              </a:schemeClr>
            </a:gs>
            <a:gs pos="34000">
              <a:schemeClr val="lt1">
                <a:hueOff val="0"/>
                <a:satOff val="0"/>
                <a:lumOff val="0"/>
                <a:alphaOff val="0"/>
                <a:shade val="87000"/>
                <a:satMod val="125000"/>
              </a:schemeClr>
            </a:gs>
            <a:gs pos="70000">
              <a:schemeClr val="lt1">
                <a:hueOff val="0"/>
                <a:satOff val="0"/>
                <a:lumOff val="0"/>
                <a:alphaOff val="0"/>
                <a:tint val="100000"/>
                <a:shade val="90000"/>
                <a:satMod val="130000"/>
              </a:schemeClr>
            </a:gs>
            <a:gs pos="100000">
              <a:schemeClr val="l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Calibri" panose="020F0502020204030204" pitchFamily="34" charset="0"/>
            </a:rPr>
            <a:t>Sustainable oxygen delivery system </a:t>
          </a:r>
        </a:p>
      </dsp:txBody>
      <dsp:txXfrm>
        <a:off x="2410829" y="1194474"/>
        <a:ext cx="1766144" cy="1543384"/>
      </dsp:txXfrm>
    </dsp:sp>
    <dsp:sp modelId="{B6ABF30D-EFD7-431A-A0A3-B6CB15F2DBF4}">
      <dsp:nvSpPr>
        <dsp:cNvPr id="0" name=""/>
        <dsp:cNvSpPr/>
      </dsp:nvSpPr>
      <dsp:spPr>
        <a:xfrm>
          <a:off x="2544597" y="101780"/>
          <a:ext cx="1538076" cy="973737"/>
        </a:xfrm>
        <a:prstGeom prst="ellipse">
          <a:avLst/>
        </a:prstGeom>
        <a:gradFill rotWithShape="0">
          <a:gsLst>
            <a:gs pos="0">
              <a:schemeClr val="lt1">
                <a:hueOff val="0"/>
                <a:satOff val="0"/>
                <a:lumOff val="0"/>
                <a:alphaOff val="0"/>
                <a:shade val="85000"/>
                <a:satMod val="130000"/>
              </a:schemeClr>
            </a:gs>
            <a:gs pos="34000">
              <a:schemeClr val="lt1">
                <a:hueOff val="0"/>
                <a:satOff val="0"/>
                <a:lumOff val="0"/>
                <a:alphaOff val="0"/>
                <a:shade val="87000"/>
                <a:satMod val="125000"/>
              </a:schemeClr>
            </a:gs>
            <a:gs pos="70000">
              <a:schemeClr val="lt1">
                <a:hueOff val="0"/>
                <a:satOff val="0"/>
                <a:lumOff val="0"/>
                <a:alphaOff val="0"/>
                <a:tint val="100000"/>
                <a:shade val="90000"/>
                <a:satMod val="130000"/>
              </a:schemeClr>
            </a:gs>
            <a:gs pos="100000">
              <a:schemeClr val="l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Calibri" panose="020F0502020204030204" pitchFamily="34" charset="0"/>
            </a:rPr>
            <a:t>Harmonized demand</a:t>
          </a:r>
        </a:p>
      </dsp:txBody>
      <dsp:txXfrm>
        <a:off x="2769843" y="244380"/>
        <a:ext cx="1087584" cy="688537"/>
      </dsp:txXfrm>
    </dsp:sp>
    <dsp:sp modelId="{F957A22E-98AB-49CC-87A7-FD49DF7B4D02}">
      <dsp:nvSpPr>
        <dsp:cNvPr id="0" name=""/>
        <dsp:cNvSpPr/>
      </dsp:nvSpPr>
      <dsp:spPr>
        <a:xfrm>
          <a:off x="4077544" y="1475857"/>
          <a:ext cx="1546587" cy="973737"/>
        </a:xfrm>
        <a:prstGeom prst="ellipse">
          <a:avLst/>
        </a:prstGeom>
        <a:gradFill rotWithShape="0">
          <a:gsLst>
            <a:gs pos="0">
              <a:schemeClr val="lt1">
                <a:hueOff val="0"/>
                <a:satOff val="0"/>
                <a:lumOff val="0"/>
                <a:alphaOff val="0"/>
                <a:shade val="85000"/>
                <a:satMod val="130000"/>
              </a:schemeClr>
            </a:gs>
            <a:gs pos="34000">
              <a:schemeClr val="lt1">
                <a:hueOff val="0"/>
                <a:satOff val="0"/>
                <a:lumOff val="0"/>
                <a:alphaOff val="0"/>
                <a:shade val="87000"/>
                <a:satMod val="125000"/>
              </a:schemeClr>
            </a:gs>
            <a:gs pos="70000">
              <a:schemeClr val="lt1">
                <a:hueOff val="0"/>
                <a:satOff val="0"/>
                <a:lumOff val="0"/>
                <a:alphaOff val="0"/>
                <a:tint val="100000"/>
                <a:shade val="90000"/>
                <a:satMod val="130000"/>
              </a:schemeClr>
            </a:gs>
            <a:gs pos="100000">
              <a:schemeClr val="l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latin typeface="Calibri" panose="020F0502020204030204" pitchFamily="34" charset="0"/>
            </a:rPr>
            <a:t>Asset management</a:t>
          </a:r>
        </a:p>
      </dsp:txBody>
      <dsp:txXfrm>
        <a:off x="4304036" y="1618457"/>
        <a:ext cx="1093603" cy="688537"/>
      </dsp:txXfrm>
    </dsp:sp>
    <dsp:sp modelId="{729502E1-87D5-425A-AA8D-21D47D7DED1F}">
      <dsp:nvSpPr>
        <dsp:cNvPr id="0" name=""/>
        <dsp:cNvSpPr/>
      </dsp:nvSpPr>
      <dsp:spPr>
        <a:xfrm>
          <a:off x="2480877" y="2892529"/>
          <a:ext cx="1665519" cy="973737"/>
        </a:xfrm>
        <a:prstGeom prst="ellipse">
          <a:avLst/>
        </a:prstGeom>
        <a:gradFill rotWithShape="0">
          <a:gsLst>
            <a:gs pos="0">
              <a:schemeClr val="lt1">
                <a:hueOff val="0"/>
                <a:satOff val="0"/>
                <a:lumOff val="0"/>
                <a:alphaOff val="0"/>
                <a:shade val="85000"/>
                <a:satMod val="130000"/>
              </a:schemeClr>
            </a:gs>
            <a:gs pos="34000">
              <a:schemeClr val="lt1">
                <a:hueOff val="0"/>
                <a:satOff val="0"/>
                <a:lumOff val="0"/>
                <a:alphaOff val="0"/>
                <a:shade val="87000"/>
                <a:satMod val="125000"/>
              </a:schemeClr>
            </a:gs>
            <a:gs pos="70000">
              <a:schemeClr val="lt1">
                <a:hueOff val="0"/>
                <a:satOff val="0"/>
                <a:lumOff val="0"/>
                <a:alphaOff val="0"/>
                <a:tint val="100000"/>
                <a:shade val="90000"/>
                <a:satMod val="130000"/>
              </a:schemeClr>
            </a:gs>
            <a:gs pos="100000">
              <a:schemeClr val="l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prstClr val="black">
                  <a:hueOff val="0"/>
                  <a:satOff val="0"/>
                  <a:lumOff val="0"/>
                  <a:alphaOff val="0"/>
                </a:prstClr>
              </a:solidFill>
              <a:latin typeface="Calibri" panose="020F0502020204030204" pitchFamily="34" charset="0"/>
              <a:ea typeface="+mn-ea"/>
              <a:cs typeface="+mn-cs"/>
            </a:rPr>
            <a:t>Maintenance</a:t>
          </a:r>
        </a:p>
      </dsp:txBody>
      <dsp:txXfrm>
        <a:off x="2724787" y="3035129"/>
        <a:ext cx="1177699" cy="688537"/>
      </dsp:txXfrm>
    </dsp:sp>
    <dsp:sp modelId="{4FBF659F-5EEE-448D-8B01-7902DFE4CB7D}">
      <dsp:nvSpPr>
        <dsp:cNvPr id="0" name=""/>
        <dsp:cNvSpPr/>
      </dsp:nvSpPr>
      <dsp:spPr>
        <a:xfrm>
          <a:off x="1034675" y="1479297"/>
          <a:ext cx="1563403" cy="973737"/>
        </a:xfrm>
        <a:prstGeom prst="ellipse">
          <a:avLst/>
        </a:prstGeom>
        <a:gradFill rotWithShape="0">
          <a:gsLst>
            <a:gs pos="0">
              <a:schemeClr val="lt1">
                <a:hueOff val="0"/>
                <a:satOff val="0"/>
                <a:lumOff val="0"/>
                <a:alphaOff val="0"/>
                <a:shade val="85000"/>
                <a:satMod val="130000"/>
              </a:schemeClr>
            </a:gs>
            <a:gs pos="34000">
              <a:schemeClr val="lt1">
                <a:hueOff val="0"/>
                <a:satOff val="0"/>
                <a:lumOff val="0"/>
                <a:alphaOff val="0"/>
                <a:shade val="87000"/>
                <a:satMod val="125000"/>
              </a:schemeClr>
            </a:gs>
            <a:gs pos="70000">
              <a:schemeClr val="lt1">
                <a:hueOff val="0"/>
                <a:satOff val="0"/>
                <a:lumOff val="0"/>
                <a:alphaOff val="0"/>
                <a:tint val="100000"/>
                <a:shade val="90000"/>
                <a:satMod val="130000"/>
              </a:schemeClr>
            </a:gs>
            <a:gs pos="100000">
              <a:schemeClr val="lt1">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prstClr val="black">
                  <a:hueOff val="0"/>
                  <a:satOff val="0"/>
                  <a:lumOff val="0"/>
                  <a:alphaOff val="0"/>
                </a:prstClr>
              </a:solidFill>
              <a:latin typeface="Calibri" panose="020F0502020204030204" pitchFamily="34" charset="0"/>
              <a:ea typeface="+mn-ea"/>
              <a:cs typeface="+mn-cs"/>
            </a:rPr>
            <a:t>Total cost of ownership</a:t>
          </a:r>
        </a:p>
      </dsp:txBody>
      <dsp:txXfrm>
        <a:off x="1263630" y="1621897"/>
        <a:ext cx="1105493" cy="68853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621133-EB7C-F64E-8EB0-2EB2502C916F}">
      <dsp:nvSpPr>
        <dsp:cNvPr id="0" name=""/>
        <dsp:cNvSpPr/>
      </dsp:nvSpPr>
      <dsp:spPr>
        <a:xfrm>
          <a:off x="3513924" y="31973"/>
          <a:ext cx="1095241" cy="1095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Calibri" panose="020F0502020204030204" pitchFamily="34" charset="0"/>
            </a:rPr>
            <a:t>Planning</a:t>
          </a:r>
          <a:endParaRPr lang="en-IN" sz="2000" kern="1200" dirty="0">
            <a:latin typeface="Calibri" panose="020F0502020204030204" pitchFamily="34" charset="0"/>
          </a:endParaRPr>
        </a:p>
      </dsp:txBody>
      <dsp:txXfrm>
        <a:off x="3513924" y="31973"/>
        <a:ext cx="1095241" cy="1095241"/>
      </dsp:txXfrm>
    </dsp:sp>
    <dsp:sp modelId="{052B67A0-83FD-7145-8A0E-C10D95A09875}">
      <dsp:nvSpPr>
        <dsp:cNvPr id="0" name=""/>
        <dsp:cNvSpPr/>
      </dsp:nvSpPr>
      <dsp:spPr>
        <a:xfrm>
          <a:off x="937606" y="298"/>
          <a:ext cx="4106266" cy="4106266"/>
        </a:xfrm>
        <a:prstGeom prst="circularArrow">
          <a:avLst>
            <a:gd name="adj1" fmla="val 5201"/>
            <a:gd name="adj2" fmla="val 335984"/>
            <a:gd name="adj3" fmla="val 21292955"/>
            <a:gd name="adj4" fmla="val 19766490"/>
            <a:gd name="adj5" fmla="val 6068"/>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24F6C0-91D4-0A4C-9885-D0C86C5506C8}">
      <dsp:nvSpPr>
        <dsp:cNvPr id="0" name=""/>
        <dsp:cNvSpPr/>
      </dsp:nvSpPr>
      <dsp:spPr>
        <a:xfrm>
          <a:off x="4175718" y="2068766"/>
          <a:ext cx="1095241" cy="1095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Calibri" panose="020F0502020204030204" pitchFamily="34" charset="0"/>
            </a:rPr>
            <a:t>Fieldwork</a:t>
          </a:r>
          <a:endParaRPr lang="en-IN" sz="2000" kern="1200" dirty="0">
            <a:latin typeface="Calibri" panose="020F0502020204030204" pitchFamily="34" charset="0"/>
          </a:endParaRPr>
        </a:p>
      </dsp:txBody>
      <dsp:txXfrm>
        <a:off x="4175718" y="2068766"/>
        <a:ext cx="1095241" cy="1095241"/>
      </dsp:txXfrm>
    </dsp:sp>
    <dsp:sp modelId="{4D4F6B2E-9DBF-D544-B5B5-435DF57E9DBA}">
      <dsp:nvSpPr>
        <dsp:cNvPr id="0" name=""/>
        <dsp:cNvSpPr/>
      </dsp:nvSpPr>
      <dsp:spPr>
        <a:xfrm>
          <a:off x="937606" y="298"/>
          <a:ext cx="4106266" cy="4106266"/>
        </a:xfrm>
        <a:prstGeom prst="circularArrow">
          <a:avLst>
            <a:gd name="adj1" fmla="val 5201"/>
            <a:gd name="adj2" fmla="val 335984"/>
            <a:gd name="adj3" fmla="val 4014401"/>
            <a:gd name="adj4" fmla="val 2253706"/>
            <a:gd name="adj5" fmla="val 6068"/>
          </a:avLst>
        </a:prstGeom>
        <a:solidFill>
          <a:schemeClr val="accent3">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AF4968-13A0-6A41-B2EC-3E99ABF02EBA}">
      <dsp:nvSpPr>
        <dsp:cNvPr id="0" name=""/>
        <dsp:cNvSpPr/>
      </dsp:nvSpPr>
      <dsp:spPr>
        <a:xfrm>
          <a:off x="2443118" y="3327574"/>
          <a:ext cx="1095241" cy="1095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Calibri" panose="020F0502020204030204" pitchFamily="34" charset="0"/>
            </a:rPr>
            <a:t>Reporting</a:t>
          </a:r>
          <a:endParaRPr lang="en-IN" sz="2000" kern="1200" dirty="0">
            <a:latin typeface="Calibri" panose="020F0502020204030204" pitchFamily="34" charset="0"/>
          </a:endParaRPr>
        </a:p>
      </dsp:txBody>
      <dsp:txXfrm>
        <a:off x="2443118" y="3327574"/>
        <a:ext cx="1095241" cy="1095241"/>
      </dsp:txXfrm>
    </dsp:sp>
    <dsp:sp modelId="{4B9BAE64-8739-364E-9202-68C1A5DEC598}">
      <dsp:nvSpPr>
        <dsp:cNvPr id="0" name=""/>
        <dsp:cNvSpPr/>
      </dsp:nvSpPr>
      <dsp:spPr>
        <a:xfrm>
          <a:off x="937606" y="298"/>
          <a:ext cx="4106266" cy="4106266"/>
        </a:xfrm>
        <a:prstGeom prst="circularArrow">
          <a:avLst>
            <a:gd name="adj1" fmla="val 5201"/>
            <a:gd name="adj2" fmla="val 335984"/>
            <a:gd name="adj3" fmla="val 8210311"/>
            <a:gd name="adj4" fmla="val 6449616"/>
            <a:gd name="adj5" fmla="val 6068"/>
          </a:avLst>
        </a:prstGeom>
        <a:solidFill>
          <a:schemeClr val="accent4">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0D46F5-E600-CA4D-B29C-43439E26F7BD}">
      <dsp:nvSpPr>
        <dsp:cNvPr id="0" name=""/>
        <dsp:cNvSpPr/>
      </dsp:nvSpPr>
      <dsp:spPr>
        <a:xfrm>
          <a:off x="710518" y="2068766"/>
          <a:ext cx="1095241" cy="1095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Calibri" panose="020F0502020204030204" pitchFamily="34" charset="0"/>
            </a:rPr>
            <a:t>Corrective Action</a:t>
          </a:r>
          <a:endParaRPr lang="en-IN" sz="2000" kern="1200" dirty="0">
            <a:latin typeface="Calibri" panose="020F0502020204030204" pitchFamily="34" charset="0"/>
          </a:endParaRPr>
        </a:p>
      </dsp:txBody>
      <dsp:txXfrm>
        <a:off x="710518" y="2068766"/>
        <a:ext cx="1095241" cy="1095241"/>
      </dsp:txXfrm>
    </dsp:sp>
    <dsp:sp modelId="{E36E7F4F-9D63-F042-80BC-9E06A91A3CB4}">
      <dsp:nvSpPr>
        <dsp:cNvPr id="0" name=""/>
        <dsp:cNvSpPr/>
      </dsp:nvSpPr>
      <dsp:spPr>
        <a:xfrm>
          <a:off x="937606" y="298"/>
          <a:ext cx="4106266" cy="4106266"/>
        </a:xfrm>
        <a:prstGeom prst="circularArrow">
          <a:avLst>
            <a:gd name="adj1" fmla="val 5201"/>
            <a:gd name="adj2" fmla="val 335984"/>
            <a:gd name="adj3" fmla="val 12297526"/>
            <a:gd name="adj4" fmla="val 10771062"/>
            <a:gd name="adj5" fmla="val 6068"/>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C0FE79-BB37-D944-8350-AACA16A001A6}">
      <dsp:nvSpPr>
        <dsp:cNvPr id="0" name=""/>
        <dsp:cNvSpPr/>
      </dsp:nvSpPr>
      <dsp:spPr>
        <a:xfrm>
          <a:off x="1372312" y="31973"/>
          <a:ext cx="1095241" cy="1095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IN" sz="2000" kern="1200" dirty="0">
              <a:latin typeface="Calibri" panose="020F0502020204030204" pitchFamily="34" charset="0"/>
            </a:rPr>
            <a:t>Next Audit Cycle</a:t>
          </a:r>
        </a:p>
      </dsp:txBody>
      <dsp:txXfrm>
        <a:off x="1372312" y="31973"/>
        <a:ext cx="1095241" cy="1095241"/>
      </dsp:txXfrm>
    </dsp:sp>
    <dsp:sp modelId="{ED31CEF3-38B1-CF4E-A4C7-B8DE6CE02435}">
      <dsp:nvSpPr>
        <dsp:cNvPr id="0" name=""/>
        <dsp:cNvSpPr/>
      </dsp:nvSpPr>
      <dsp:spPr>
        <a:xfrm>
          <a:off x="937606" y="298"/>
          <a:ext cx="4106266" cy="4106266"/>
        </a:xfrm>
        <a:prstGeom prst="circularArrow">
          <a:avLst>
            <a:gd name="adj1" fmla="val 5201"/>
            <a:gd name="adj2" fmla="val 335984"/>
            <a:gd name="adj3" fmla="val 16865390"/>
            <a:gd name="adj4" fmla="val 15198626"/>
            <a:gd name="adj5" fmla="val 6068"/>
          </a:avLst>
        </a:prstGeom>
        <a:solidFill>
          <a:schemeClr val="accent6">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CDA6E2-319A-7449-B843-CF16F122239B}">
      <dsp:nvSpPr>
        <dsp:cNvPr id="0" name=""/>
        <dsp:cNvSpPr/>
      </dsp:nvSpPr>
      <dsp:spPr>
        <a:xfrm>
          <a:off x="616148" y="0"/>
          <a:ext cx="6983016" cy="3281363"/>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8F0D2E1-3704-1D41-9FE0-45A1FC599550}">
      <dsp:nvSpPr>
        <dsp:cNvPr id="0" name=""/>
        <dsp:cNvSpPr/>
      </dsp:nvSpPr>
      <dsp:spPr>
        <a:xfrm>
          <a:off x="2406" y="984408"/>
          <a:ext cx="1448911" cy="1312545"/>
        </a:xfrm>
        <a:prstGeom prst="roundRect">
          <a:avLst/>
        </a:prstGeom>
        <a:solidFill>
          <a:schemeClr val="lt1">
            <a:hueOff val="0"/>
            <a:satOff val="0"/>
            <a:lumOff val="0"/>
            <a:alphaOff val="0"/>
          </a:schemeClr>
        </a:solidFill>
        <a:ln w="1587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Calibri" panose="020F0502020204030204" pitchFamily="34" charset="0"/>
            </a:rPr>
            <a:t>Records</a:t>
          </a:r>
          <a:endParaRPr lang="en-IN" sz="2000" kern="1200" dirty="0">
            <a:latin typeface="Calibri" panose="020F0502020204030204" pitchFamily="34" charset="0"/>
          </a:endParaRPr>
        </a:p>
      </dsp:txBody>
      <dsp:txXfrm>
        <a:off x="66479" y="1048481"/>
        <a:ext cx="1320765" cy="1184399"/>
      </dsp:txXfrm>
    </dsp:sp>
    <dsp:sp modelId="{53D5E42E-6AC3-7C4B-9A23-7138331F7B61}">
      <dsp:nvSpPr>
        <dsp:cNvPr id="0" name=""/>
        <dsp:cNvSpPr/>
      </dsp:nvSpPr>
      <dsp:spPr>
        <a:xfrm>
          <a:off x="1692803" y="984408"/>
          <a:ext cx="1448911" cy="1312545"/>
        </a:xfrm>
        <a:prstGeom prst="roundRect">
          <a:avLst/>
        </a:prstGeom>
        <a:solidFill>
          <a:schemeClr val="lt1">
            <a:hueOff val="0"/>
            <a:satOff val="0"/>
            <a:lumOff val="0"/>
            <a:alphaOff val="0"/>
          </a:schemeClr>
        </a:solidFill>
        <a:ln w="1587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Calibri" panose="020F0502020204030204" pitchFamily="34" charset="0"/>
            </a:rPr>
            <a:t>Physical verification </a:t>
          </a:r>
          <a:endParaRPr lang="en-IN" sz="2000" kern="1200" dirty="0">
            <a:latin typeface="Calibri" panose="020F0502020204030204" pitchFamily="34" charset="0"/>
          </a:endParaRPr>
        </a:p>
      </dsp:txBody>
      <dsp:txXfrm>
        <a:off x="1756876" y="1048481"/>
        <a:ext cx="1320765" cy="1184399"/>
      </dsp:txXfrm>
    </dsp:sp>
    <dsp:sp modelId="{C12E53DF-0C6F-6547-84FB-7BCA83FC297B}">
      <dsp:nvSpPr>
        <dsp:cNvPr id="0" name=""/>
        <dsp:cNvSpPr/>
      </dsp:nvSpPr>
      <dsp:spPr>
        <a:xfrm>
          <a:off x="3383200" y="984408"/>
          <a:ext cx="1448911" cy="1312545"/>
        </a:xfrm>
        <a:prstGeom prst="roundRect">
          <a:avLst/>
        </a:prstGeom>
        <a:solidFill>
          <a:schemeClr val="lt1">
            <a:hueOff val="0"/>
            <a:satOff val="0"/>
            <a:lumOff val="0"/>
            <a:alphaOff val="0"/>
          </a:schemeClr>
        </a:solidFill>
        <a:ln w="1587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76200" rIns="4572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Calibri" panose="020F0502020204030204" pitchFamily="34" charset="0"/>
            </a:rPr>
            <a:t>Documentation </a:t>
          </a:r>
          <a:endParaRPr lang="en-IN" sz="2000" kern="1200" dirty="0">
            <a:latin typeface="Calibri" panose="020F0502020204030204" pitchFamily="34" charset="0"/>
          </a:endParaRPr>
        </a:p>
      </dsp:txBody>
      <dsp:txXfrm>
        <a:off x="3447273" y="1048481"/>
        <a:ext cx="1320765" cy="1184399"/>
      </dsp:txXfrm>
    </dsp:sp>
    <dsp:sp modelId="{BDA0EC41-D7E9-FC45-9652-2A4CA3256E2A}">
      <dsp:nvSpPr>
        <dsp:cNvPr id="0" name=""/>
        <dsp:cNvSpPr/>
      </dsp:nvSpPr>
      <dsp:spPr>
        <a:xfrm>
          <a:off x="5073597" y="984408"/>
          <a:ext cx="1448911" cy="1312545"/>
        </a:xfrm>
        <a:prstGeom prst="roundRect">
          <a:avLst/>
        </a:prstGeom>
        <a:solidFill>
          <a:schemeClr val="lt1">
            <a:hueOff val="0"/>
            <a:satOff val="0"/>
            <a:lumOff val="0"/>
            <a:alphaOff val="0"/>
          </a:schemeClr>
        </a:solidFill>
        <a:ln w="1587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Calibri" panose="020F0502020204030204" pitchFamily="34" charset="0"/>
            </a:rPr>
            <a:t>Analysis </a:t>
          </a:r>
          <a:endParaRPr lang="en-IN" sz="2000" kern="1200" dirty="0">
            <a:latin typeface="Calibri" panose="020F0502020204030204" pitchFamily="34" charset="0"/>
          </a:endParaRPr>
        </a:p>
      </dsp:txBody>
      <dsp:txXfrm>
        <a:off x="5137670" y="1048481"/>
        <a:ext cx="1320765" cy="1184399"/>
      </dsp:txXfrm>
    </dsp:sp>
    <dsp:sp modelId="{EB7CBDA6-F89E-DE46-AE82-41EAE056E984}">
      <dsp:nvSpPr>
        <dsp:cNvPr id="0" name=""/>
        <dsp:cNvSpPr/>
      </dsp:nvSpPr>
      <dsp:spPr>
        <a:xfrm>
          <a:off x="6763994" y="984408"/>
          <a:ext cx="1448911" cy="1312545"/>
        </a:xfrm>
        <a:prstGeom prst="roundRect">
          <a:avLst/>
        </a:prstGeom>
        <a:solidFill>
          <a:schemeClr val="lt1">
            <a:hueOff val="0"/>
            <a:satOff val="0"/>
            <a:lumOff val="0"/>
            <a:alphaOff val="0"/>
          </a:schemeClr>
        </a:solidFill>
        <a:ln w="1587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Calibri" panose="020F0502020204030204" pitchFamily="34" charset="0"/>
            </a:rPr>
            <a:t>Report</a:t>
          </a:r>
          <a:endParaRPr lang="en-IN" sz="2000" kern="1200" dirty="0">
            <a:latin typeface="Calibri" panose="020F0502020204030204" pitchFamily="34" charset="0"/>
          </a:endParaRPr>
        </a:p>
      </dsp:txBody>
      <dsp:txXfrm>
        <a:off x="6828067" y="1048481"/>
        <a:ext cx="1320765" cy="118439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B80656-E735-1940-958F-9DE14022480D}">
      <dsp:nvSpPr>
        <dsp:cNvPr id="0" name=""/>
        <dsp:cNvSpPr/>
      </dsp:nvSpPr>
      <dsp:spPr>
        <a:xfrm>
          <a:off x="-2373993" y="-366857"/>
          <a:ext cx="2835209" cy="2835209"/>
        </a:xfrm>
        <a:prstGeom prst="blockArc">
          <a:avLst>
            <a:gd name="adj1" fmla="val 18900000"/>
            <a:gd name="adj2" fmla="val 2700000"/>
            <a:gd name="adj3" fmla="val 762"/>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552F12-6154-C444-B27B-0B232D7C3E07}">
      <dsp:nvSpPr>
        <dsp:cNvPr id="0" name=""/>
        <dsp:cNvSpPr/>
      </dsp:nvSpPr>
      <dsp:spPr>
        <a:xfrm>
          <a:off x="296497" y="210149"/>
          <a:ext cx="7821300" cy="420299"/>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3612" tIns="40640" rIns="40640" bIns="40640" numCol="1" spcCol="1270" anchor="ctr" anchorCtr="0">
          <a:noAutofit/>
        </a:bodyPr>
        <a:lstStyle/>
        <a:p>
          <a:pPr marL="0" lvl="0" indent="0" algn="l" defTabSz="711200">
            <a:lnSpc>
              <a:spcPct val="90000"/>
            </a:lnSpc>
            <a:spcBef>
              <a:spcPct val="0"/>
            </a:spcBef>
            <a:spcAft>
              <a:spcPct val="35000"/>
            </a:spcAft>
            <a:buNone/>
          </a:pPr>
          <a:r>
            <a:rPr lang="en-GB" sz="1600" kern="1200" dirty="0">
              <a:latin typeface="Calibri" panose="020F0502020204030204" pitchFamily="34" charset="0"/>
            </a:rPr>
            <a:t>Estimating facility wise oxygen demand and escalating the demand to the authorities</a:t>
          </a:r>
        </a:p>
      </dsp:txBody>
      <dsp:txXfrm>
        <a:off x="296497" y="210149"/>
        <a:ext cx="7821300" cy="420299"/>
      </dsp:txXfrm>
    </dsp:sp>
    <dsp:sp modelId="{7B0E78C4-5988-4E4A-9E67-428B20799399}">
      <dsp:nvSpPr>
        <dsp:cNvPr id="0" name=""/>
        <dsp:cNvSpPr/>
      </dsp:nvSpPr>
      <dsp:spPr>
        <a:xfrm>
          <a:off x="33810" y="157612"/>
          <a:ext cx="525373" cy="525373"/>
        </a:xfrm>
        <a:prstGeom prst="ellipse">
          <a:avLst/>
        </a:prstGeom>
        <a:solidFill>
          <a:schemeClr val="l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54FD764-8A9A-3045-9D32-466EB41AEFEB}">
      <dsp:nvSpPr>
        <dsp:cNvPr id="0" name=""/>
        <dsp:cNvSpPr/>
      </dsp:nvSpPr>
      <dsp:spPr>
        <a:xfrm>
          <a:off x="471821" y="842069"/>
          <a:ext cx="7668522" cy="420299"/>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3612" tIns="35560" rIns="35560" bIns="35560" numCol="1" spcCol="1270" anchor="ctr" anchorCtr="0">
          <a:noAutofit/>
        </a:bodyPr>
        <a:lstStyle/>
        <a:p>
          <a:pPr marL="0" lvl="0" indent="0" algn="l" defTabSz="622300">
            <a:lnSpc>
              <a:spcPct val="90000"/>
            </a:lnSpc>
            <a:spcBef>
              <a:spcPct val="0"/>
            </a:spcBef>
            <a:spcAft>
              <a:spcPct val="35000"/>
            </a:spcAft>
            <a:buNone/>
          </a:pPr>
          <a:r>
            <a:rPr lang="en-GB" sz="1400" kern="1200" dirty="0">
              <a:solidFill>
                <a:prstClr val="white"/>
              </a:solidFill>
              <a:latin typeface="Calibri" panose="020F0502020204030204" pitchFamily="34" charset="0"/>
              <a:ea typeface="+mn-ea"/>
              <a:cs typeface="+mn-cs"/>
            </a:rPr>
            <a:t>Automated evaluation of total oxygen delivered, generated, and consumed for use by authorities  </a:t>
          </a:r>
        </a:p>
      </dsp:txBody>
      <dsp:txXfrm>
        <a:off x="471821" y="842069"/>
        <a:ext cx="7668522" cy="420299"/>
      </dsp:txXfrm>
    </dsp:sp>
    <dsp:sp modelId="{8CA21417-1290-6846-9363-593EEB5B5165}">
      <dsp:nvSpPr>
        <dsp:cNvPr id="0" name=""/>
        <dsp:cNvSpPr/>
      </dsp:nvSpPr>
      <dsp:spPr>
        <a:xfrm>
          <a:off x="186589" y="788060"/>
          <a:ext cx="525373" cy="525373"/>
        </a:xfrm>
        <a:prstGeom prst="ellipse">
          <a:avLst/>
        </a:prstGeom>
        <a:solidFill>
          <a:schemeClr val="l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0256DE6-FA4B-E741-8EFD-22DBDFD15E4F}">
      <dsp:nvSpPr>
        <dsp:cNvPr id="0" name=""/>
        <dsp:cNvSpPr/>
      </dsp:nvSpPr>
      <dsp:spPr>
        <a:xfrm>
          <a:off x="296497" y="1471046"/>
          <a:ext cx="7821300" cy="420299"/>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3612" tIns="38100" rIns="38100" bIns="38100" numCol="1" spcCol="1270" anchor="ctr" anchorCtr="0">
          <a:noAutofit/>
        </a:bodyPr>
        <a:lstStyle/>
        <a:p>
          <a:pPr marL="0" lvl="0" indent="0" algn="l" defTabSz="666750">
            <a:lnSpc>
              <a:spcPct val="90000"/>
            </a:lnSpc>
            <a:spcBef>
              <a:spcPct val="0"/>
            </a:spcBef>
            <a:spcAft>
              <a:spcPct val="35000"/>
            </a:spcAft>
            <a:buNone/>
          </a:pPr>
          <a:r>
            <a:rPr lang="en-US" sz="1500" kern="1200" dirty="0">
              <a:latin typeface="Calibri" panose="020F0502020204030204" pitchFamily="34" charset="0"/>
            </a:rPr>
            <a:t>Summarized reports on Oxygen demand, supply and consumption for facility </a:t>
          </a:r>
          <a:r>
            <a:rPr lang="en-US" sz="1500" kern="1200" dirty="0" err="1">
              <a:latin typeface="Calibri" panose="020F0502020204030204" pitchFamily="34" charset="0"/>
            </a:rPr>
            <a:t>nodals</a:t>
          </a:r>
          <a:r>
            <a:rPr lang="en-US" sz="1500" kern="1200" dirty="0">
              <a:latin typeface="Calibri" panose="020F0502020204030204" pitchFamily="34" charset="0"/>
            </a:rPr>
            <a:t>/managers</a:t>
          </a:r>
          <a:endParaRPr lang="en-GB" sz="1500" kern="1200" dirty="0">
            <a:latin typeface="Calibri" panose="020F0502020204030204" pitchFamily="34" charset="0"/>
          </a:endParaRPr>
        </a:p>
      </dsp:txBody>
      <dsp:txXfrm>
        <a:off x="296497" y="1471046"/>
        <a:ext cx="7821300" cy="420299"/>
      </dsp:txXfrm>
    </dsp:sp>
    <dsp:sp modelId="{A12CBBE6-F59F-2D40-BC9B-91D925018E08}">
      <dsp:nvSpPr>
        <dsp:cNvPr id="0" name=""/>
        <dsp:cNvSpPr/>
      </dsp:nvSpPr>
      <dsp:spPr>
        <a:xfrm>
          <a:off x="33810" y="1418509"/>
          <a:ext cx="525373" cy="525373"/>
        </a:xfrm>
        <a:prstGeom prst="ellipse">
          <a:avLst/>
        </a:prstGeom>
        <a:solidFill>
          <a:schemeClr val="l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B80656-E735-1940-958F-9DE14022480D}">
      <dsp:nvSpPr>
        <dsp:cNvPr id="0" name=""/>
        <dsp:cNvSpPr/>
      </dsp:nvSpPr>
      <dsp:spPr>
        <a:xfrm>
          <a:off x="-2115359" y="-327537"/>
          <a:ext cx="2527970" cy="2527970"/>
        </a:xfrm>
        <a:prstGeom prst="blockArc">
          <a:avLst>
            <a:gd name="adj1" fmla="val 18900000"/>
            <a:gd name="adj2" fmla="val 2700000"/>
            <a:gd name="adj3" fmla="val 854"/>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552F12-6154-C444-B27B-0B232D7C3E07}">
      <dsp:nvSpPr>
        <dsp:cNvPr id="0" name=""/>
        <dsp:cNvSpPr/>
      </dsp:nvSpPr>
      <dsp:spPr>
        <a:xfrm>
          <a:off x="265223" y="187289"/>
          <a:ext cx="7856185" cy="374579"/>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7322" tIns="40640" rIns="40640" bIns="40640" numCol="1" spcCol="1270" anchor="ctr" anchorCtr="0">
          <a:noAutofit/>
        </a:bodyPr>
        <a:lstStyle/>
        <a:p>
          <a:pPr marL="0" lvl="0" indent="0" algn="l" defTabSz="711200">
            <a:lnSpc>
              <a:spcPct val="90000"/>
            </a:lnSpc>
            <a:spcBef>
              <a:spcPct val="0"/>
            </a:spcBef>
            <a:spcAft>
              <a:spcPct val="35000"/>
            </a:spcAft>
            <a:buNone/>
          </a:pPr>
          <a:r>
            <a:rPr lang="en-GB" sz="1600" kern="1200" dirty="0">
              <a:latin typeface="Calibri" panose="020F0502020204030204" pitchFamily="34" charset="0"/>
            </a:rPr>
            <a:t>Tracking distribution and usage by the end user for Oxygen Concentrators</a:t>
          </a:r>
        </a:p>
      </dsp:txBody>
      <dsp:txXfrm>
        <a:off x="265223" y="187289"/>
        <a:ext cx="7856185" cy="374579"/>
      </dsp:txXfrm>
    </dsp:sp>
    <dsp:sp modelId="{7B0E78C4-5988-4E4A-9E67-428B20799399}">
      <dsp:nvSpPr>
        <dsp:cNvPr id="0" name=""/>
        <dsp:cNvSpPr/>
      </dsp:nvSpPr>
      <dsp:spPr>
        <a:xfrm>
          <a:off x="31111" y="140467"/>
          <a:ext cx="468223" cy="468223"/>
        </a:xfrm>
        <a:prstGeom prst="ellipse">
          <a:avLst/>
        </a:prstGeom>
        <a:solidFill>
          <a:schemeClr val="l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54FD764-8A9A-3045-9D32-466EB41AEFEB}">
      <dsp:nvSpPr>
        <dsp:cNvPr id="0" name=""/>
        <dsp:cNvSpPr/>
      </dsp:nvSpPr>
      <dsp:spPr>
        <a:xfrm>
          <a:off x="401382" y="749158"/>
          <a:ext cx="7720025" cy="374579"/>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7322" tIns="40640" rIns="40640" bIns="40640" numCol="1" spcCol="1270" anchor="ctr" anchorCtr="0">
          <a:noAutofit/>
        </a:bodyPr>
        <a:lstStyle/>
        <a:p>
          <a:pPr marL="0" lvl="0" indent="0" algn="l" defTabSz="711200">
            <a:lnSpc>
              <a:spcPct val="90000"/>
            </a:lnSpc>
            <a:spcBef>
              <a:spcPct val="0"/>
            </a:spcBef>
            <a:spcAft>
              <a:spcPct val="35000"/>
            </a:spcAft>
            <a:buNone/>
          </a:pPr>
          <a:r>
            <a:rPr lang="en-GB" sz="1600" kern="1200" dirty="0">
              <a:latin typeface="Calibri" panose="020F0502020204030204" pitchFamily="34" charset="0"/>
            </a:rPr>
            <a:t>Identifying bottlenecks in the delivery and logistics of OCs</a:t>
          </a:r>
        </a:p>
      </dsp:txBody>
      <dsp:txXfrm>
        <a:off x="401382" y="749158"/>
        <a:ext cx="7720025" cy="374579"/>
      </dsp:txXfrm>
    </dsp:sp>
    <dsp:sp modelId="{8CA21417-1290-6846-9363-593EEB5B5165}">
      <dsp:nvSpPr>
        <dsp:cNvPr id="0" name=""/>
        <dsp:cNvSpPr/>
      </dsp:nvSpPr>
      <dsp:spPr>
        <a:xfrm>
          <a:off x="167270" y="702335"/>
          <a:ext cx="468223" cy="468223"/>
        </a:xfrm>
        <a:prstGeom prst="ellipse">
          <a:avLst/>
        </a:prstGeom>
        <a:solidFill>
          <a:schemeClr val="l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0256DE6-FA4B-E741-8EFD-22DBDFD15E4F}">
      <dsp:nvSpPr>
        <dsp:cNvPr id="0" name=""/>
        <dsp:cNvSpPr/>
      </dsp:nvSpPr>
      <dsp:spPr>
        <a:xfrm>
          <a:off x="265223" y="1311026"/>
          <a:ext cx="7856185" cy="374579"/>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7322" tIns="40640" rIns="40640" bIns="40640" numCol="1" spcCol="1270" anchor="ctr" anchorCtr="0">
          <a:noAutofit/>
        </a:bodyPr>
        <a:lstStyle/>
        <a:p>
          <a:pPr marL="0" lvl="0" indent="0" algn="l" defTabSz="711200">
            <a:lnSpc>
              <a:spcPct val="90000"/>
            </a:lnSpc>
            <a:spcBef>
              <a:spcPct val="0"/>
            </a:spcBef>
            <a:spcAft>
              <a:spcPct val="35000"/>
            </a:spcAft>
            <a:buNone/>
          </a:pPr>
          <a:r>
            <a:rPr lang="en-US" sz="1600" kern="1200" dirty="0">
              <a:latin typeface="Calibri" panose="020F0502020204030204" pitchFamily="34" charset="0"/>
            </a:rPr>
            <a:t>Identifying the issues with the functioning of OCs</a:t>
          </a:r>
          <a:endParaRPr lang="en-GB" sz="1600" kern="1200" dirty="0">
            <a:latin typeface="Calibri" panose="020F0502020204030204" pitchFamily="34" charset="0"/>
          </a:endParaRPr>
        </a:p>
      </dsp:txBody>
      <dsp:txXfrm>
        <a:off x="265223" y="1311026"/>
        <a:ext cx="7856185" cy="374579"/>
      </dsp:txXfrm>
    </dsp:sp>
    <dsp:sp modelId="{A12CBBE6-F59F-2D40-BC9B-91D925018E08}">
      <dsp:nvSpPr>
        <dsp:cNvPr id="0" name=""/>
        <dsp:cNvSpPr/>
      </dsp:nvSpPr>
      <dsp:spPr>
        <a:xfrm>
          <a:off x="31111" y="1264204"/>
          <a:ext cx="468223" cy="468223"/>
        </a:xfrm>
        <a:prstGeom prst="ellipse">
          <a:avLst/>
        </a:prstGeom>
        <a:solidFill>
          <a:schemeClr val="l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057601-8048-094C-A8CE-749CD3AB5056}">
      <dsp:nvSpPr>
        <dsp:cNvPr id="0" name=""/>
        <dsp:cNvSpPr/>
      </dsp:nvSpPr>
      <dsp:spPr>
        <a:xfrm>
          <a:off x="1" y="18955"/>
          <a:ext cx="3863373" cy="460800"/>
        </a:xfrm>
        <a:prstGeom prst="rect">
          <a:avLst/>
        </a:prstGeom>
        <a:solidFill>
          <a:schemeClr val="accent3"/>
        </a:solid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GB" sz="1600" b="1" kern="1200" dirty="0"/>
            <a:t>Pros</a:t>
          </a:r>
        </a:p>
      </dsp:txBody>
      <dsp:txXfrm>
        <a:off x="1" y="18955"/>
        <a:ext cx="3863373" cy="460800"/>
      </dsp:txXfrm>
    </dsp:sp>
    <dsp:sp modelId="{6755686F-73FD-864C-826D-22EAF9B95BF9}">
      <dsp:nvSpPr>
        <dsp:cNvPr id="0" name=""/>
        <dsp:cNvSpPr/>
      </dsp:nvSpPr>
      <dsp:spPr>
        <a:xfrm>
          <a:off x="40" y="485220"/>
          <a:ext cx="3863373" cy="2766960"/>
        </a:xfrm>
        <a:prstGeom prst="rect">
          <a:avLst/>
        </a:prstGeom>
        <a:solidFill>
          <a:schemeClr val="accent3">
            <a:lumMod val="20000"/>
            <a:lumOff val="80000"/>
            <a:alpha val="90000"/>
          </a:schemeClr>
        </a:solidFill>
        <a:ln w="1587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PSA could be primary source for small as well as larger hospitals</a:t>
          </a:r>
          <a:endParaRPr lang="en-GB" sz="1600" kern="1200" dirty="0">
            <a:latin typeface="Calibri" panose="020F0502020204030204" pitchFamily="34" charset="0"/>
          </a:endParaRPr>
        </a:p>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Relatively compact, needs enclosed space for installation</a:t>
          </a:r>
        </a:p>
        <a:p>
          <a:pPr marL="171450" lvl="1" indent="-171450" algn="l" defTabSz="711200">
            <a:lnSpc>
              <a:spcPct val="100000"/>
            </a:lnSpc>
            <a:spcBef>
              <a:spcPct val="0"/>
            </a:spcBef>
            <a:spcAft>
              <a:spcPts val="600"/>
            </a:spcAft>
            <a:buChar char="•"/>
          </a:pPr>
          <a:r>
            <a:rPr lang="en-IN" sz="1600" kern="1200" dirty="0">
              <a:latin typeface="Calibri" panose="020F0502020204030204" pitchFamily="34" charset="0"/>
            </a:rPr>
            <a:t>Efficient, oxygen is produced as per requirement</a:t>
          </a:r>
        </a:p>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Reduces dependence on manpower</a:t>
          </a:r>
        </a:p>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Safe to operate and maintain</a:t>
          </a:r>
        </a:p>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Maintenance is preventive</a:t>
          </a:r>
        </a:p>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Eliminates third party dependence</a:t>
          </a:r>
        </a:p>
      </dsp:txBody>
      <dsp:txXfrm>
        <a:off x="40" y="485220"/>
        <a:ext cx="3863373" cy="2766960"/>
      </dsp:txXfrm>
    </dsp:sp>
    <dsp:sp modelId="{92F0BA4D-725E-C149-8561-7FF84A1E7BD5}">
      <dsp:nvSpPr>
        <dsp:cNvPr id="0" name=""/>
        <dsp:cNvSpPr/>
      </dsp:nvSpPr>
      <dsp:spPr>
        <a:xfrm>
          <a:off x="4404326" y="38585"/>
          <a:ext cx="3863373" cy="460800"/>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GB" sz="1600" b="1" kern="1200" dirty="0"/>
            <a:t>Cons</a:t>
          </a:r>
        </a:p>
      </dsp:txBody>
      <dsp:txXfrm>
        <a:off x="4404326" y="38585"/>
        <a:ext cx="3863373" cy="460800"/>
      </dsp:txXfrm>
    </dsp:sp>
    <dsp:sp modelId="{593A3A78-EBFD-EC4B-B69D-73A7AD3FC322}">
      <dsp:nvSpPr>
        <dsp:cNvPr id="0" name=""/>
        <dsp:cNvSpPr/>
      </dsp:nvSpPr>
      <dsp:spPr>
        <a:xfrm>
          <a:off x="4404286" y="485220"/>
          <a:ext cx="3863373" cy="276696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100000"/>
            </a:lnSpc>
            <a:spcBef>
              <a:spcPct val="0"/>
            </a:spcBef>
            <a:spcAft>
              <a:spcPct val="15000"/>
            </a:spcAft>
            <a:buChar char="•"/>
          </a:pPr>
          <a:r>
            <a:rPr lang="en-IN" sz="1600" kern="1200" dirty="0">
              <a:solidFill>
                <a:prstClr val="black">
                  <a:hueOff val="0"/>
                  <a:satOff val="0"/>
                  <a:lumOff val="0"/>
                  <a:alphaOff val="0"/>
                </a:prstClr>
              </a:solidFill>
              <a:latin typeface="Calibri" panose="020F0502020204030204" pitchFamily="34" charset="0"/>
              <a:ea typeface="+mn-ea"/>
              <a:cs typeface="+mn-cs"/>
            </a:rPr>
            <a:t>Good access up to hospital facility is required during installation and maintenance purposes</a:t>
          </a:r>
          <a:r>
            <a:rPr lang="en-IN" sz="500" kern="1200" dirty="0"/>
            <a:t>.</a:t>
          </a:r>
          <a:endParaRPr lang="en-GB" sz="500" kern="1200" dirty="0"/>
        </a:p>
        <a:p>
          <a:pPr marL="171450" lvl="1" indent="-171450" algn="l" defTabSz="711200">
            <a:lnSpc>
              <a:spcPct val="100000"/>
            </a:lnSpc>
            <a:spcBef>
              <a:spcPct val="0"/>
            </a:spcBef>
            <a:spcAft>
              <a:spcPct val="15000"/>
            </a:spcAft>
            <a:buChar char="•"/>
          </a:pPr>
          <a:r>
            <a:rPr lang="en-IN" sz="1600" kern="1200" dirty="0">
              <a:latin typeface="Calibri" panose="020F0502020204030204" pitchFamily="34" charset="0"/>
            </a:rPr>
            <a:t>Assured power supply is a mandatory requirement. PSA plant needs Diesel Generator backup in case of power failures</a:t>
          </a:r>
          <a:r>
            <a:rPr lang="en-IN" sz="500" kern="1200" dirty="0"/>
            <a:t>.</a:t>
          </a:r>
        </a:p>
      </dsp:txBody>
      <dsp:txXfrm>
        <a:off x="4404286" y="485220"/>
        <a:ext cx="3863373" cy="27669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057601-8048-094C-A8CE-749CD3AB5056}">
      <dsp:nvSpPr>
        <dsp:cNvPr id="0" name=""/>
        <dsp:cNvSpPr/>
      </dsp:nvSpPr>
      <dsp:spPr>
        <a:xfrm>
          <a:off x="3824" y="76840"/>
          <a:ext cx="3620216" cy="202849"/>
        </a:xfrm>
        <a:prstGeom prst="rect">
          <a:avLst/>
        </a:prstGeom>
        <a:solidFill>
          <a:schemeClr val="accent3"/>
        </a:solid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GB" sz="1600" b="1" kern="1200" dirty="0">
              <a:latin typeface="Calibri" panose="020F0502020204030204" pitchFamily="34" charset="0"/>
            </a:rPr>
            <a:t>Pros</a:t>
          </a:r>
        </a:p>
      </dsp:txBody>
      <dsp:txXfrm>
        <a:off x="3824" y="76840"/>
        <a:ext cx="3620216" cy="202849"/>
      </dsp:txXfrm>
    </dsp:sp>
    <dsp:sp modelId="{6755686F-73FD-864C-826D-22EAF9B95BF9}">
      <dsp:nvSpPr>
        <dsp:cNvPr id="0" name=""/>
        <dsp:cNvSpPr/>
      </dsp:nvSpPr>
      <dsp:spPr>
        <a:xfrm>
          <a:off x="3824" y="264934"/>
          <a:ext cx="3620216" cy="3458699"/>
        </a:xfrm>
        <a:prstGeom prst="rect">
          <a:avLst/>
        </a:prstGeom>
        <a:solidFill>
          <a:schemeClr val="accent3">
            <a:lumMod val="20000"/>
            <a:lumOff val="80000"/>
            <a:alpha val="90000"/>
          </a:schemeClr>
        </a:solidFill>
        <a:ln w="1587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100000"/>
            </a:lnSpc>
            <a:spcBef>
              <a:spcPct val="0"/>
            </a:spcBef>
            <a:spcAft>
              <a:spcPct val="15000"/>
            </a:spcAft>
            <a:buChar char="•"/>
          </a:pPr>
          <a:r>
            <a:rPr lang="en-IN" sz="1800" kern="1200" dirty="0">
              <a:latin typeface="Calibri" panose="020F0502020204030204" pitchFamily="34" charset="0"/>
            </a:rPr>
            <a:t>They do not need to be refilled. </a:t>
          </a:r>
          <a:endParaRPr lang="en-GB" sz="1800" kern="1200" dirty="0">
            <a:latin typeface="Calibri" panose="020F0502020204030204" pitchFamily="34" charset="0"/>
          </a:endParaRPr>
        </a:p>
        <a:p>
          <a:pPr marL="171450" lvl="1" indent="-171450" algn="l" defTabSz="800100">
            <a:lnSpc>
              <a:spcPct val="100000"/>
            </a:lnSpc>
            <a:spcBef>
              <a:spcPct val="0"/>
            </a:spcBef>
            <a:spcAft>
              <a:spcPct val="15000"/>
            </a:spcAft>
            <a:buChar char="•"/>
          </a:pPr>
          <a:r>
            <a:rPr lang="en-IN" sz="1800" kern="1200" dirty="0">
              <a:latin typeface="Calibri" panose="020F0502020204030204" pitchFamily="34" charset="0"/>
            </a:rPr>
            <a:t>They concentrators run on electrical power and thus supply an unlimited amount of oxygen.</a:t>
          </a:r>
          <a:endParaRPr lang="en-GB" sz="1800" kern="1200" dirty="0">
            <a:latin typeface="Calibri" panose="020F0502020204030204" pitchFamily="34" charset="0"/>
          </a:endParaRPr>
        </a:p>
        <a:p>
          <a:pPr marL="171450" lvl="1" indent="-171450" algn="l" defTabSz="800100">
            <a:lnSpc>
              <a:spcPct val="100000"/>
            </a:lnSpc>
            <a:spcBef>
              <a:spcPct val="0"/>
            </a:spcBef>
            <a:spcAft>
              <a:spcPct val="15000"/>
            </a:spcAft>
            <a:buChar char="•"/>
          </a:pPr>
          <a:r>
            <a:rPr lang="en-IN" sz="1800" kern="1200" dirty="0">
              <a:latin typeface="Calibri" panose="020F0502020204030204" pitchFamily="34" charset="0"/>
            </a:rPr>
            <a:t>Portable concentrators can be used in an “on-the-go” mode with a battery pack</a:t>
          </a:r>
          <a:endParaRPr lang="en-GB" sz="1800" kern="1200" dirty="0">
            <a:latin typeface="Calibri" panose="020F0502020204030204" pitchFamily="34" charset="0"/>
          </a:endParaRPr>
        </a:p>
        <a:p>
          <a:pPr marL="171450" lvl="1" indent="-171450" algn="l" defTabSz="800100">
            <a:lnSpc>
              <a:spcPct val="100000"/>
            </a:lnSpc>
            <a:spcBef>
              <a:spcPct val="0"/>
            </a:spcBef>
            <a:spcAft>
              <a:spcPct val="15000"/>
            </a:spcAft>
            <a:buChar char="•"/>
          </a:pPr>
          <a:r>
            <a:rPr lang="en-IN" sz="1800" kern="1200" dirty="0">
              <a:latin typeface="Calibri" panose="020F0502020204030204" pitchFamily="34" charset="0"/>
            </a:rPr>
            <a:t>More cost-effective than compressed gas cylinders, and they are known to last for up to 1500 h of continuous use.</a:t>
          </a:r>
          <a:endParaRPr lang="en-GB" sz="1800" kern="1200" dirty="0">
            <a:latin typeface="Calibri" panose="020F0502020204030204" pitchFamily="34" charset="0"/>
          </a:endParaRPr>
        </a:p>
      </dsp:txBody>
      <dsp:txXfrm>
        <a:off x="3824" y="264934"/>
        <a:ext cx="3620216" cy="3458699"/>
      </dsp:txXfrm>
    </dsp:sp>
    <dsp:sp modelId="{92F0BA4D-725E-C149-8561-7FF84A1E7BD5}">
      <dsp:nvSpPr>
        <dsp:cNvPr id="0" name=""/>
        <dsp:cNvSpPr/>
      </dsp:nvSpPr>
      <dsp:spPr>
        <a:xfrm>
          <a:off x="4130871" y="76840"/>
          <a:ext cx="3620216" cy="202849"/>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b="1" kern="1200" dirty="0">
              <a:latin typeface="Calibri" panose="020F0502020204030204" pitchFamily="34" charset="0"/>
            </a:rPr>
            <a:t>Cons</a:t>
          </a:r>
        </a:p>
      </dsp:txBody>
      <dsp:txXfrm>
        <a:off x="4130871" y="76840"/>
        <a:ext cx="3620216" cy="202849"/>
      </dsp:txXfrm>
    </dsp:sp>
    <dsp:sp modelId="{593A3A78-EBFD-EC4B-B69D-73A7AD3FC322}">
      <dsp:nvSpPr>
        <dsp:cNvPr id="0" name=""/>
        <dsp:cNvSpPr/>
      </dsp:nvSpPr>
      <dsp:spPr>
        <a:xfrm>
          <a:off x="4130871" y="264934"/>
          <a:ext cx="3620216" cy="3458699"/>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100000"/>
            </a:lnSpc>
            <a:spcBef>
              <a:spcPct val="0"/>
            </a:spcBef>
            <a:spcAft>
              <a:spcPct val="15000"/>
            </a:spcAft>
            <a:buChar char="•"/>
          </a:pPr>
          <a:r>
            <a:rPr lang="en-IN" sz="1800" kern="1200" dirty="0">
              <a:latin typeface="Calibri" panose="020F0502020204030204" pitchFamily="34" charset="0"/>
            </a:rPr>
            <a:t>Need for electrical power to function. Necessary to prepare for unscheduled power outages by setting up a backup power generator</a:t>
          </a:r>
        </a:p>
        <a:p>
          <a:pPr marL="171450" lvl="1" indent="-171450" algn="l" defTabSz="800100">
            <a:lnSpc>
              <a:spcPct val="100000"/>
            </a:lnSpc>
            <a:spcBef>
              <a:spcPct val="0"/>
            </a:spcBef>
            <a:spcAft>
              <a:spcPct val="15000"/>
            </a:spcAft>
            <a:buChar char="•"/>
          </a:pPr>
          <a:r>
            <a:rPr lang="en-IN" sz="1800" kern="1200" dirty="0">
              <a:latin typeface="Calibri" panose="020F0502020204030204" pitchFamily="34" charset="0"/>
            </a:rPr>
            <a:t>Patients using stationary oxygen concentrators need to change filters weekly and regular servicing</a:t>
          </a:r>
        </a:p>
        <a:p>
          <a:pPr marL="171450" lvl="1" indent="-171450" algn="l" defTabSz="800100">
            <a:lnSpc>
              <a:spcPct val="100000"/>
            </a:lnSpc>
            <a:spcBef>
              <a:spcPct val="0"/>
            </a:spcBef>
            <a:spcAft>
              <a:spcPct val="15000"/>
            </a:spcAft>
            <a:buChar char="•"/>
          </a:pPr>
          <a:r>
            <a:rPr lang="en-IN" sz="1800" kern="1200" dirty="0">
              <a:latin typeface="Calibri" panose="020F0502020204030204" pitchFamily="34" charset="0"/>
            </a:rPr>
            <a:t>Noise and vibration from older devices</a:t>
          </a:r>
        </a:p>
      </dsp:txBody>
      <dsp:txXfrm>
        <a:off x="4130871" y="264934"/>
        <a:ext cx="3620216" cy="34586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CC0B17-36C3-C245-B7CB-D7375924D8D8}">
      <dsp:nvSpPr>
        <dsp:cNvPr id="0" name=""/>
        <dsp:cNvSpPr/>
      </dsp:nvSpPr>
      <dsp:spPr>
        <a:xfrm rot="10800000">
          <a:off x="1616873" y="3147"/>
          <a:ext cx="5029295" cy="1873838"/>
        </a:xfrm>
        <a:prstGeom prst="homePlate">
          <a:avLst/>
        </a:prstGeom>
        <a:gradFill rotWithShape="0">
          <a:gsLst>
            <a:gs pos="0">
              <a:schemeClr val="lt1">
                <a:hueOff val="0"/>
                <a:satOff val="0"/>
                <a:lumOff val="0"/>
                <a:alphaOff val="0"/>
                <a:tint val="65000"/>
                <a:shade val="92000"/>
                <a:satMod val="130000"/>
              </a:schemeClr>
            </a:gs>
            <a:gs pos="45000">
              <a:schemeClr val="lt1">
                <a:hueOff val="0"/>
                <a:satOff val="0"/>
                <a:lumOff val="0"/>
                <a:alphaOff val="0"/>
                <a:tint val="60000"/>
                <a:shade val="99000"/>
                <a:satMod val="120000"/>
              </a:schemeClr>
            </a:gs>
            <a:gs pos="100000">
              <a:schemeClr val="lt1">
                <a:hueOff val="0"/>
                <a:satOff val="0"/>
                <a:lumOff val="0"/>
                <a:alphaOff val="0"/>
                <a:tint val="55000"/>
                <a:satMod val="140000"/>
              </a:schemeClr>
            </a:gs>
          </a:gsLst>
          <a:path path="circle">
            <a:fillToRect l="100000" t="100000" r="100000" b="100000"/>
          </a:path>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17530" tIns="53340" rIns="99568" bIns="53340" numCol="1" spcCol="1270" anchor="ctr" anchorCtr="0">
          <a:noAutofit/>
        </a:bodyPr>
        <a:lstStyle/>
        <a:p>
          <a:pPr marL="0" lvl="0" indent="0" algn="l" defTabSz="622300">
            <a:lnSpc>
              <a:spcPct val="90000"/>
            </a:lnSpc>
            <a:spcBef>
              <a:spcPct val="0"/>
            </a:spcBef>
            <a:spcAft>
              <a:spcPct val="35000"/>
            </a:spcAft>
            <a:buNone/>
          </a:pPr>
          <a:r>
            <a:rPr lang="en-IN" sz="1400" b="1" kern="1200" dirty="0">
              <a:latin typeface="+mn-lt"/>
            </a:rPr>
            <a:t>Pros</a:t>
          </a:r>
        </a:p>
        <a:p>
          <a:pPr marL="0" lvl="0" indent="0" algn="l" defTabSz="622300">
            <a:lnSpc>
              <a:spcPct val="90000"/>
            </a:lnSpc>
            <a:spcBef>
              <a:spcPct val="0"/>
            </a:spcBef>
            <a:spcAft>
              <a:spcPct val="35000"/>
            </a:spcAft>
            <a:buNone/>
          </a:pPr>
          <a:r>
            <a:rPr lang="en-IN" sz="1400" kern="1200" dirty="0">
              <a:latin typeface="+mn-lt"/>
            </a:rPr>
            <a:t>Liquid oxygen can be stored in a portable tank and connected to a Central pipeline. </a:t>
          </a:r>
        </a:p>
        <a:p>
          <a:pPr marL="0" lvl="0" indent="0" algn="l" defTabSz="622300">
            <a:lnSpc>
              <a:spcPct val="90000"/>
            </a:lnSpc>
            <a:spcBef>
              <a:spcPct val="0"/>
            </a:spcBef>
            <a:spcAft>
              <a:spcPct val="35000"/>
            </a:spcAft>
            <a:buNone/>
          </a:pPr>
          <a:r>
            <a:rPr lang="en-IN" sz="1400" kern="1200" dirty="0">
              <a:latin typeface="+mn-lt"/>
            </a:rPr>
            <a:t>Liquid oxygen is highly concentrated, so more oxygen can be stored in a smaller tank and ensure continuous supply at high pressure. </a:t>
          </a:r>
        </a:p>
        <a:p>
          <a:pPr marL="0" lvl="0" indent="0" algn="l" defTabSz="622300">
            <a:lnSpc>
              <a:spcPct val="90000"/>
            </a:lnSpc>
            <a:spcBef>
              <a:spcPct val="0"/>
            </a:spcBef>
            <a:spcAft>
              <a:spcPct val="35000"/>
            </a:spcAft>
            <a:buNone/>
          </a:pPr>
          <a:r>
            <a:rPr lang="en-IN" sz="1400" kern="1200" dirty="0">
              <a:latin typeface="+mn-lt"/>
            </a:rPr>
            <a:t>Most cost-effective system for larger facilities.</a:t>
          </a:r>
          <a:endParaRPr lang="en-GB" sz="1400" kern="1200" dirty="0">
            <a:latin typeface="+mn-lt"/>
          </a:endParaRPr>
        </a:p>
      </dsp:txBody>
      <dsp:txXfrm rot="10800000">
        <a:off x="2085332" y="3147"/>
        <a:ext cx="4560836" cy="1873838"/>
      </dsp:txXfrm>
    </dsp:sp>
    <dsp:sp modelId="{1C5F5D86-E1CE-3847-9A08-3B52B761EE68}">
      <dsp:nvSpPr>
        <dsp:cNvPr id="0" name=""/>
        <dsp:cNvSpPr/>
      </dsp:nvSpPr>
      <dsp:spPr>
        <a:xfrm>
          <a:off x="916681" y="239875"/>
          <a:ext cx="1400382" cy="1400382"/>
        </a:xfrm>
        <a:prstGeom prst="ellipse">
          <a:avLst/>
        </a:prstGeom>
        <a:blipFill rotWithShape="1">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accent2">
              <a:shade val="80000"/>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 modelId="{9EBEED39-8276-F748-8104-56CA9E3EA02D}">
      <dsp:nvSpPr>
        <dsp:cNvPr id="0" name=""/>
        <dsp:cNvSpPr/>
      </dsp:nvSpPr>
      <dsp:spPr>
        <a:xfrm rot="10800000">
          <a:off x="1616873" y="2295010"/>
          <a:ext cx="5029295" cy="1892841"/>
        </a:xfrm>
        <a:prstGeom prst="homePlate">
          <a:avLst/>
        </a:prstGeom>
        <a:gradFill rotWithShape="0">
          <a:gsLst>
            <a:gs pos="0">
              <a:schemeClr val="lt1">
                <a:hueOff val="0"/>
                <a:satOff val="0"/>
                <a:lumOff val="0"/>
                <a:alphaOff val="0"/>
                <a:tint val="65000"/>
                <a:shade val="92000"/>
                <a:satMod val="130000"/>
              </a:schemeClr>
            </a:gs>
            <a:gs pos="45000">
              <a:schemeClr val="lt1">
                <a:hueOff val="0"/>
                <a:satOff val="0"/>
                <a:lumOff val="0"/>
                <a:alphaOff val="0"/>
                <a:tint val="60000"/>
                <a:shade val="99000"/>
                <a:satMod val="120000"/>
              </a:schemeClr>
            </a:gs>
            <a:gs pos="100000">
              <a:schemeClr val="lt1">
                <a:hueOff val="0"/>
                <a:satOff val="0"/>
                <a:lumOff val="0"/>
                <a:alphaOff val="0"/>
                <a:tint val="55000"/>
                <a:satMod val="140000"/>
              </a:schemeClr>
            </a:gs>
          </a:gsLst>
          <a:path path="circle">
            <a:fillToRect l="100000" t="100000" r="100000" b="100000"/>
          </a:path>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17530" tIns="53340" rIns="99568" bIns="53340" numCol="1" spcCol="1270" anchor="ctr" anchorCtr="0">
          <a:noAutofit/>
        </a:bodyPr>
        <a:lstStyle/>
        <a:p>
          <a:pPr marL="0" lvl="0" indent="0" algn="l" defTabSz="622300">
            <a:lnSpc>
              <a:spcPct val="90000"/>
            </a:lnSpc>
            <a:spcBef>
              <a:spcPct val="0"/>
            </a:spcBef>
            <a:spcAft>
              <a:spcPct val="35000"/>
            </a:spcAft>
            <a:buNone/>
          </a:pPr>
          <a:r>
            <a:rPr lang="en-IN" sz="1400" b="1" kern="1200" dirty="0">
              <a:latin typeface="+mn-lt"/>
            </a:rPr>
            <a:t>Cons</a:t>
          </a:r>
        </a:p>
        <a:p>
          <a:pPr marL="0" lvl="0" indent="0" algn="l" defTabSz="622300">
            <a:lnSpc>
              <a:spcPct val="90000"/>
            </a:lnSpc>
            <a:spcBef>
              <a:spcPct val="0"/>
            </a:spcBef>
            <a:spcAft>
              <a:spcPct val="35000"/>
            </a:spcAft>
            <a:buNone/>
          </a:pPr>
          <a:r>
            <a:rPr lang="en-IN" sz="1400" kern="1200" dirty="0">
              <a:latin typeface="+mn-lt"/>
            </a:rPr>
            <a:t>Liquid oxygen cannot be stored for more than a week or two because it will vaporize (evaporate) and build-up pressure inside storage tank. </a:t>
          </a:r>
        </a:p>
        <a:p>
          <a:pPr marL="0" lvl="0" indent="0" algn="l" defTabSz="622300">
            <a:lnSpc>
              <a:spcPct val="90000"/>
            </a:lnSpc>
            <a:spcBef>
              <a:spcPct val="0"/>
            </a:spcBef>
            <a:spcAft>
              <a:spcPct val="35000"/>
            </a:spcAft>
            <a:buNone/>
          </a:pPr>
          <a:r>
            <a:rPr lang="en-IN" sz="1400" kern="1200" dirty="0">
              <a:latin typeface="+mn-lt"/>
            </a:rPr>
            <a:t>The tank's content must be consumed and refilled often, requiring the scheduling of deliveries. </a:t>
          </a:r>
        </a:p>
        <a:p>
          <a:pPr marL="0" lvl="0" indent="0" algn="l" defTabSz="622300">
            <a:lnSpc>
              <a:spcPct val="90000"/>
            </a:lnSpc>
            <a:spcBef>
              <a:spcPct val="0"/>
            </a:spcBef>
            <a:spcAft>
              <a:spcPct val="35000"/>
            </a:spcAft>
            <a:buNone/>
          </a:pPr>
          <a:r>
            <a:rPr lang="en-IN" sz="1400" kern="1200" dirty="0">
              <a:latin typeface="+mn-lt"/>
            </a:rPr>
            <a:t>The system need PESO license compliance.</a:t>
          </a:r>
          <a:endParaRPr lang="en-GB" sz="1400" kern="1200" dirty="0">
            <a:latin typeface="+mn-lt"/>
          </a:endParaRPr>
        </a:p>
      </dsp:txBody>
      <dsp:txXfrm rot="10800000">
        <a:off x="2090083" y="2295010"/>
        <a:ext cx="4556085" cy="1892841"/>
      </dsp:txXfrm>
    </dsp:sp>
    <dsp:sp modelId="{E1F7F1E8-F0A0-1C48-962C-3EA244F40A8C}">
      <dsp:nvSpPr>
        <dsp:cNvPr id="0" name=""/>
        <dsp:cNvSpPr/>
      </dsp:nvSpPr>
      <dsp:spPr>
        <a:xfrm>
          <a:off x="916681" y="2541240"/>
          <a:ext cx="1400382" cy="1400382"/>
        </a:xfrm>
        <a:prstGeom prst="ellipse">
          <a:avLst/>
        </a:prstGeom>
        <a:blipFill rotWithShape="1">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accent2">
              <a:shade val="80000"/>
              <a:hueOff val="0"/>
              <a:satOff val="0"/>
              <a:lumOff val="0"/>
              <a:alphaOff val="0"/>
            </a:schemeClr>
          </a:solidFill>
          <a:prstDash val="solid"/>
        </a:ln>
        <a:effectLst/>
      </dsp:spPr>
      <dsp:style>
        <a:lnRef idx="1">
          <a:scrgbClr r="0" g="0" b="0"/>
        </a:lnRef>
        <a:fillRef idx="1">
          <a:scrgbClr r="0" g="0" b="0"/>
        </a:fillRef>
        <a:effectRef idx="1">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057601-8048-094C-A8CE-749CD3AB5056}">
      <dsp:nvSpPr>
        <dsp:cNvPr id="0" name=""/>
        <dsp:cNvSpPr/>
      </dsp:nvSpPr>
      <dsp:spPr>
        <a:xfrm>
          <a:off x="28500" y="307939"/>
          <a:ext cx="3258219" cy="536130"/>
        </a:xfrm>
        <a:prstGeom prst="rect">
          <a:avLst/>
        </a:prstGeom>
        <a:solidFill>
          <a:schemeClr val="accent3"/>
        </a:solid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GB" sz="1800" b="1" kern="1200" dirty="0">
              <a:latin typeface="Calibri" panose="020F0502020204030204" pitchFamily="34" charset="0"/>
            </a:rPr>
            <a:t>Pros</a:t>
          </a:r>
        </a:p>
      </dsp:txBody>
      <dsp:txXfrm>
        <a:off x="28500" y="307939"/>
        <a:ext cx="3258219" cy="536130"/>
      </dsp:txXfrm>
    </dsp:sp>
    <dsp:sp modelId="{6755686F-73FD-864C-826D-22EAF9B95BF9}">
      <dsp:nvSpPr>
        <dsp:cNvPr id="0" name=""/>
        <dsp:cNvSpPr/>
      </dsp:nvSpPr>
      <dsp:spPr>
        <a:xfrm>
          <a:off x="28500" y="758380"/>
          <a:ext cx="3258219" cy="2591280"/>
        </a:xfrm>
        <a:prstGeom prst="rect">
          <a:avLst/>
        </a:prstGeom>
        <a:solidFill>
          <a:schemeClr val="accent3">
            <a:lumMod val="20000"/>
            <a:lumOff val="80000"/>
            <a:alpha val="90000"/>
          </a:schemeClr>
        </a:solidFill>
        <a:ln w="15875"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Installation does not need permission from any authority like Petroleum and Explosives Safety Organization (PESO).</a:t>
          </a:r>
          <a:endParaRPr lang="en-GB" sz="1600" kern="1200" dirty="0">
            <a:latin typeface="Calibri" panose="020F0502020204030204" pitchFamily="34" charset="0"/>
          </a:endParaRPr>
        </a:p>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Space accommodating as construction is long and linear.</a:t>
          </a:r>
        </a:p>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Easy setup, can also be used bedside without medical gas pipe system</a:t>
          </a:r>
          <a:r>
            <a:rPr lang="en-IN" sz="1600" kern="1200" dirty="0"/>
            <a:t>.</a:t>
          </a:r>
        </a:p>
      </dsp:txBody>
      <dsp:txXfrm>
        <a:off x="28500" y="758380"/>
        <a:ext cx="3258219" cy="2591280"/>
      </dsp:txXfrm>
    </dsp:sp>
    <dsp:sp modelId="{92F0BA4D-725E-C149-8561-7FF84A1E7BD5}">
      <dsp:nvSpPr>
        <dsp:cNvPr id="0" name=""/>
        <dsp:cNvSpPr/>
      </dsp:nvSpPr>
      <dsp:spPr>
        <a:xfrm>
          <a:off x="3871961" y="212125"/>
          <a:ext cx="2921254" cy="671119"/>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GB" sz="1600" b="1" kern="1200" dirty="0"/>
            <a:t>Cons</a:t>
          </a:r>
        </a:p>
      </dsp:txBody>
      <dsp:txXfrm>
        <a:off x="3871961" y="212125"/>
        <a:ext cx="2921254" cy="671119"/>
      </dsp:txXfrm>
    </dsp:sp>
    <dsp:sp modelId="{593A3A78-EBFD-EC4B-B69D-73A7AD3FC322}">
      <dsp:nvSpPr>
        <dsp:cNvPr id="0" name=""/>
        <dsp:cNvSpPr/>
      </dsp:nvSpPr>
      <dsp:spPr>
        <a:xfrm>
          <a:off x="3798696" y="827175"/>
          <a:ext cx="3030803" cy="259128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Recommended as primary source for small size hospital up to 30 beds.</a:t>
          </a:r>
        </a:p>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Not recommended (specially in current pandemic) as primary source to ICU's.</a:t>
          </a:r>
        </a:p>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Erratic supply chain.</a:t>
          </a:r>
        </a:p>
        <a:p>
          <a:pPr marL="171450" lvl="1" indent="-171450" algn="l" defTabSz="711200">
            <a:lnSpc>
              <a:spcPct val="90000"/>
            </a:lnSpc>
            <a:spcBef>
              <a:spcPct val="0"/>
            </a:spcBef>
            <a:spcAft>
              <a:spcPct val="15000"/>
            </a:spcAft>
            <a:buChar char="•"/>
          </a:pPr>
          <a:r>
            <a:rPr lang="en-IN" sz="1600" kern="1200" dirty="0">
              <a:latin typeface="Calibri" panose="020F0502020204030204" pitchFamily="34" charset="0"/>
            </a:rPr>
            <a:t>Chances of carrying infection.</a:t>
          </a:r>
        </a:p>
      </dsp:txBody>
      <dsp:txXfrm>
        <a:off x="3798696" y="827175"/>
        <a:ext cx="3030803" cy="259128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931AE5-09D9-E949-A53A-123C33A692BE}">
      <dsp:nvSpPr>
        <dsp:cNvPr id="0" name=""/>
        <dsp:cNvSpPr/>
      </dsp:nvSpPr>
      <dsp:spPr>
        <a:xfrm>
          <a:off x="0" y="0"/>
          <a:ext cx="7873067" cy="1885950"/>
        </a:xfrm>
        <a:prstGeom prst="roundRect">
          <a:avLst>
            <a:gd name="adj" fmla="val 10000"/>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9F4DDE-7A93-D348-82F9-28923C3E79F1}">
      <dsp:nvSpPr>
        <dsp:cNvPr id="0" name=""/>
        <dsp:cNvSpPr/>
      </dsp:nvSpPr>
      <dsp:spPr>
        <a:xfrm>
          <a:off x="236192" y="251460"/>
          <a:ext cx="2312713" cy="1383030"/>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14000" r="-14000"/>
          </a:stretch>
        </a:blip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dsp:style>
    </dsp:sp>
    <dsp:sp modelId="{C0772F3E-180D-4643-B314-31E5AE7711F6}">
      <dsp:nvSpPr>
        <dsp:cNvPr id="0" name=""/>
        <dsp:cNvSpPr/>
      </dsp:nvSpPr>
      <dsp:spPr>
        <a:xfrm rot="10800000">
          <a:off x="202264" y="1885950"/>
          <a:ext cx="2312713" cy="2305050"/>
        </a:xfrm>
        <a:prstGeom prst="round2SameRect">
          <a:avLst>
            <a:gd name="adj1" fmla="val 10500"/>
            <a:gd name="adj2" fmla="val 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t" anchorCtr="0">
          <a:noAutofit/>
        </a:bodyPr>
        <a:lstStyle/>
        <a:p>
          <a:pPr marL="0" lvl="0" indent="0" algn="just" defTabSz="622300">
            <a:lnSpc>
              <a:spcPct val="90000"/>
            </a:lnSpc>
            <a:spcBef>
              <a:spcPct val="0"/>
            </a:spcBef>
            <a:spcAft>
              <a:spcPct val="35000"/>
            </a:spcAft>
            <a:buClrTx/>
            <a:buSzTx/>
            <a:buFont typeface="Arial" panose="020B0604020202020204" pitchFamily="34" charset="0"/>
            <a:buNone/>
          </a:pPr>
          <a:r>
            <a:rPr kumimoji="0" lang="en-US" sz="1400" b="0" i="0" u="none" strike="noStrike" kern="1200" cap="none" spc="0" normalizeH="0" baseline="0" noProof="0" dirty="0">
              <a:ln/>
              <a:effectLst/>
              <a:uLnTx/>
              <a:uFillTx/>
              <a:latin typeface="Calibri" panose="020F0502020204030204" pitchFamily="34" charset="0"/>
              <a:ea typeface="+mn-ea"/>
              <a:cs typeface="+mn-cs"/>
            </a:rPr>
            <a:t>Oxygen cannula – prongs that are placed in the nose for providing oxygen to patient</a:t>
          </a:r>
          <a:endParaRPr lang="en-GB" sz="1400" kern="1200" dirty="0">
            <a:latin typeface="Calibri" panose="020F0502020204030204" pitchFamily="34" charset="0"/>
          </a:endParaRPr>
        </a:p>
      </dsp:txBody>
      <dsp:txXfrm rot="10800000">
        <a:off x="273152" y="1885950"/>
        <a:ext cx="2170937" cy="2234162"/>
      </dsp:txXfrm>
    </dsp:sp>
    <dsp:sp modelId="{C83CAD5C-1AC9-8243-878A-E9B131A2C2D8}">
      <dsp:nvSpPr>
        <dsp:cNvPr id="0" name=""/>
        <dsp:cNvSpPr/>
      </dsp:nvSpPr>
      <dsp:spPr>
        <a:xfrm>
          <a:off x="2780176" y="251460"/>
          <a:ext cx="2312713" cy="1383030"/>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t="-18000" b="-18000"/>
          </a:stretch>
        </a:blip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dsp:style>
    </dsp:sp>
    <dsp:sp modelId="{4543936C-7E2C-F243-B7DD-BE4CE9FF4218}">
      <dsp:nvSpPr>
        <dsp:cNvPr id="0" name=""/>
        <dsp:cNvSpPr/>
      </dsp:nvSpPr>
      <dsp:spPr>
        <a:xfrm rot="10800000">
          <a:off x="2780176" y="1885950"/>
          <a:ext cx="2312713" cy="2305050"/>
        </a:xfrm>
        <a:prstGeom prst="round2SameRect">
          <a:avLst>
            <a:gd name="adj1" fmla="val 10500"/>
            <a:gd name="adj2" fmla="val 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t" anchorCtr="0">
          <a:noAutofit/>
        </a:bodyPr>
        <a:lstStyle/>
        <a:p>
          <a:pPr marL="0" lvl="0" indent="0" algn="just" defTabSz="622300">
            <a:lnSpc>
              <a:spcPct val="90000"/>
            </a:lnSpc>
            <a:spcBef>
              <a:spcPct val="0"/>
            </a:spcBef>
            <a:spcAft>
              <a:spcPct val="35000"/>
            </a:spcAft>
            <a:buClrTx/>
            <a:buSzTx/>
            <a:buFont typeface="Arial" panose="020B0604020202020204" pitchFamily="34" charset="0"/>
            <a:buNone/>
          </a:pPr>
          <a:r>
            <a:rPr kumimoji="0" lang="en-US" sz="1400" b="0" i="0" u="none" strike="noStrike" kern="1200" cap="none" spc="0" normalizeH="0" baseline="0" noProof="0" dirty="0">
              <a:ln/>
              <a:effectLst/>
              <a:uLnTx/>
              <a:uFillTx/>
              <a:latin typeface="Calibri" panose="020F0502020204030204" pitchFamily="34" charset="0"/>
              <a:ea typeface="+mn-ea"/>
              <a:cs typeface="+mn-cs"/>
            </a:rPr>
            <a:t>Oxygen mask – covers lower part of face</a:t>
          </a:r>
        </a:p>
        <a:p>
          <a:pPr marL="0" lvl="0" indent="0" algn="l" defTabSz="622300">
            <a:lnSpc>
              <a:spcPct val="90000"/>
            </a:lnSpc>
            <a:spcBef>
              <a:spcPct val="0"/>
            </a:spcBef>
            <a:spcAft>
              <a:spcPct val="35000"/>
            </a:spcAft>
            <a:buClrTx/>
            <a:buSzTx/>
            <a:buFont typeface="Arial" panose="020B0604020202020204" pitchFamily="34" charset="0"/>
            <a:buNone/>
          </a:pPr>
          <a:endParaRPr lang="en-GB" sz="1400" kern="1200" dirty="0">
            <a:latin typeface="Calibri" panose="020F0502020204030204" pitchFamily="34" charset="0"/>
          </a:endParaRPr>
        </a:p>
      </dsp:txBody>
      <dsp:txXfrm rot="10800000">
        <a:off x="2851064" y="1885950"/>
        <a:ext cx="2170937" cy="2234162"/>
      </dsp:txXfrm>
    </dsp:sp>
    <dsp:sp modelId="{8BECCF8D-D0A8-B049-8C54-2BF10C255996}">
      <dsp:nvSpPr>
        <dsp:cNvPr id="0" name=""/>
        <dsp:cNvSpPr/>
      </dsp:nvSpPr>
      <dsp:spPr>
        <a:xfrm>
          <a:off x="5324161" y="251460"/>
          <a:ext cx="2312713" cy="1383030"/>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t="-39000" b="-39000"/>
          </a:stretch>
        </a:blip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dsp:style>
    </dsp:sp>
    <dsp:sp modelId="{B6736721-EF85-9242-B30B-67E178AB6CBF}">
      <dsp:nvSpPr>
        <dsp:cNvPr id="0" name=""/>
        <dsp:cNvSpPr/>
      </dsp:nvSpPr>
      <dsp:spPr>
        <a:xfrm rot="10800000">
          <a:off x="5324161" y="1885950"/>
          <a:ext cx="2312713" cy="2305050"/>
        </a:xfrm>
        <a:prstGeom prst="round2SameRect">
          <a:avLst>
            <a:gd name="adj1" fmla="val 10500"/>
            <a:gd name="adj2" fmla="val 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t" anchorCtr="0">
          <a:noAutofit/>
        </a:bodyPr>
        <a:lstStyle/>
        <a:p>
          <a:pPr marL="0" lvl="0" indent="0" algn="l" defTabSz="622300">
            <a:lnSpc>
              <a:spcPct val="90000"/>
            </a:lnSpc>
            <a:spcBef>
              <a:spcPct val="0"/>
            </a:spcBef>
            <a:spcAft>
              <a:spcPct val="35000"/>
            </a:spcAft>
            <a:buClrTx/>
            <a:buSzTx/>
            <a:buFont typeface="Arial" panose="020B0604020202020204" pitchFamily="34" charset="0"/>
            <a:buNone/>
          </a:pPr>
          <a:r>
            <a:rPr kumimoji="0" lang="en-US" sz="1400" b="0" i="0" u="none" strike="noStrike" kern="1200" cap="none" spc="0" normalizeH="0" baseline="0" noProof="0" dirty="0">
              <a:ln/>
              <a:effectLst/>
              <a:uLnTx/>
              <a:uFillTx/>
              <a:latin typeface="Calibri" panose="020F0502020204030204" pitchFamily="34" charset="0"/>
              <a:ea typeface="+mn-ea"/>
              <a:cs typeface="+mn-cs"/>
            </a:rPr>
            <a:t>Non-rebreather mask (NRBM) – can deliver higher concentrations of oxygen than cannula and regular mask</a:t>
          </a:r>
        </a:p>
        <a:p>
          <a:pPr marL="0" lvl="0" indent="0" algn="l" defTabSz="622300">
            <a:lnSpc>
              <a:spcPct val="90000"/>
            </a:lnSpc>
            <a:spcBef>
              <a:spcPct val="0"/>
            </a:spcBef>
            <a:spcAft>
              <a:spcPct val="35000"/>
            </a:spcAft>
            <a:buClrTx/>
            <a:buSzTx/>
            <a:buFont typeface="Arial" panose="020B0604020202020204" pitchFamily="34" charset="0"/>
            <a:buNone/>
          </a:pPr>
          <a:r>
            <a:rPr kumimoji="0" lang="en-US" sz="1400" b="0" i="0" u="none" strike="noStrike" kern="1200" cap="none" spc="0" normalizeH="0" baseline="0" noProof="0" dirty="0">
              <a:ln/>
              <a:effectLst/>
              <a:uLnTx/>
              <a:uFillTx/>
              <a:latin typeface="Calibri" panose="020F0502020204030204" pitchFamily="34" charset="0"/>
              <a:ea typeface="+mn-ea"/>
              <a:cs typeface="+mn-cs"/>
            </a:rPr>
            <a:t>Exhaled air exits through 1 way valves thus preventing any rebreathing of exhaled air or room air</a:t>
          </a:r>
        </a:p>
        <a:p>
          <a:pPr marL="0" lvl="0" indent="0" algn="ctr" defTabSz="622300">
            <a:lnSpc>
              <a:spcPct val="90000"/>
            </a:lnSpc>
            <a:spcBef>
              <a:spcPct val="0"/>
            </a:spcBef>
            <a:spcAft>
              <a:spcPct val="35000"/>
            </a:spcAft>
            <a:buClrTx/>
            <a:buSzTx/>
            <a:buFont typeface="Arial" panose="020B0604020202020204" pitchFamily="34" charset="0"/>
            <a:buNone/>
          </a:pPr>
          <a:endParaRPr lang="en-GB" sz="1400" kern="1200" dirty="0">
            <a:latin typeface="Calibri" panose="020F0502020204030204" pitchFamily="34" charset="0"/>
          </a:endParaRPr>
        </a:p>
      </dsp:txBody>
      <dsp:txXfrm rot="10800000">
        <a:off x="5395049" y="1885950"/>
        <a:ext cx="2170937" cy="223416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931AE5-09D9-E949-A53A-123C33A692BE}">
      <dsp:nvSpPr>
        <dsp:cNvPr id="0" name=""/>
        <dsp:cNvSpPr/>
      </dsp:nvSpPr>
      <dsp:spPr>
        <a:xfrm>
          <a:off x="0" y="0"/>
          <a:ext cx="5359400" cy="1521332"/>
        </a:xfrm>
        <a:prstGeom prst="roundRect">
          <a:avLst>
            <a:gd name="adj" fmla="val 10000"/>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F9F4DDE-7A93-D348-82F9-28923C3E79F1}">
      <dsp:nvSpPr>
        <dsp:cNvPr id="0" name=""/>
        <dsp:cNvSpPr/>
      </dsp:nvSpPr>
      <dsp:spPr>
        <a:xfrm>
          <a:off x="161396" y="202844"/>
          <a:ext cx="2398383" cy="1115643"/>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t="-11000" b="-11000"/>
          </a:stretch>
        </a:blip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dsp:style>
    </dsp:sp>
    <dsp:sp modelId="{C0772F3E-180D-4643-B314-31E5AE7711F6}">
      <dsp:nvSpPr>
        <dsp:cNvPr id="0" name=""/>
        <dsp:cNvSpPr/>
      </dsp:nvSpPr>
      <dsp:spPr>
        <a:xfrm rot="10800000">
          <a:off x="161396" y="1521332"/>
          <a:ext cx="2398383" cy="1859406"/>
        </a:xfrm>
        <a:prstGeom prst="round2SameRect">
          <a:avLst>
            <a:gd name="adj1" fmla="val 10500"/>
            <a:gd name="adj2" fmla="val 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just" defTabSz="711200">
            <a:lnSpc>
              <a:spcPct val="90000"/>
            </a:lnSpc>
            <a:spcBef>
              <a:spcPct val="0"/>
            </a:spcBef>
            <a:spcAft>
              <a:spcPct val="35000"/>
            </a:spcAft>
            <a:buClrTx/>
            <a:buSzTx/>
            <a:buFont typeface="Arial" panose="020B0604020202020204" pitchFamily="34" charset="0"/>
            <a:buNone/>
          </a:pPr>
          <a:r>
            <a:rPr kumimoji="0" lang="en-US" sz="1600" b="0" i="0" u="none" strike="noStrike" kern="1200" cap="none" spc="0" normalizeH="0" baseline="0" noProof="0" dirty="0">
              <a:ln/>
              <a:effectLst/>
              <a:uLnTx/>
              <a:uFillTx/>
              <a:latin typeface="+mj-lt"/>
              <a:ea typeface="+mn-ea"/>
              <a:cs typeface="+mn-cs"/>
            </a:rPr>
            <a:t>High flow nasal cannula</a:t>
          </a:r>
        </a:p>
        <a:p>
          <a:pPr marL="0" lvl="0" indent="0" algn="just" defTabSz="711200">
            <a:lnSpc>
              <a:spcPct val="90000"/>
            </a:lnSpc>
            <a:spcBef>
              <a:spcPct val="0"/>
            </a:spcBef>
            <a:spcAft>
              <a:spcPct val="35000"/>
            </a:spcAft>
            <a:buClrTx/>
            <a:buSzTx/>
            <a:buFont typeface="Arial" panose="020B0604020202020204" pitchFamily="34" charset="0"/>
            <a:buNone/>
          </a:pPr>
          <a:r>
            <a:rPr kumimoji="0" lang="en-US" sz="1600" b="0" i="0" u="none" strike="noStrike" kern="1200" cap="none" spc="0" normalizeH="0" baseline="0" noProof="0" dirty="0">
              <a:ln/>
              <a:effectLst/>
              <a:uLnTx/>
              <a:uFillTx/>
              <a:latin typeface="+mj-lt"/>
              <a:ea typeface="+mn-ea"/>
              <a:cs typeface="+mn-cs"/>
            </a:rPr>
            <a:t>Specialized cannula designed to provide oxygen up to 60LPM and limit inhalation of room air</a:t>
          </a:r>
          <a:endParaRPr lang="en-GB" sz="1600" kern="1200" dirty="0">
            <a:latin typeface="+mj-lt"/>
          </a:endParaRPr>
        </a:p>
      </dsp:txBody>
      <dsp:txXfrm rot="10800000">
        <a:off x="218579" y="1521332"/>
        <a:ext cx="2284017" cy="1802223"/>
      </dsp:txXfrm>
    </dsp:sp>
    <dsp:sp modelId="{C83CAD5C-1AC9-8243-878A-E9B131A2C2D8}">
      <dsp:nvSpPr>
        <dsp:cNvPr id="0" name=""/>
        <dsp:cNvSpPr/>
      </dsp:nvSpPr>
      <dsp:spPr>
        <a:xfrm>
          <a:off x="2799619" y="202844"/>
          <a:ext cx="2398383" cy="1115643"/>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t="-12000" b="-12000"/>
          </a:stretch>
        </a:blip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dsp:style>
    </dsp:sp>
    <dsp:sp modelId="{4543936C-7E2C-F243-B7DD-BE4CE9FF4218}">
      <dsp:nvSpPr>
        <dsp:cNvPr id="0" name=""/>
        <dsp:cNvSpPr/>
      </dsp:nvSpPr>
      <dsp:spPr>
        <a:xfrm rot="10800000">
          <a:off x="2799619" y="1521332"/>
          <a:ext cx="2398383" cy="1859406"/>
        </a:xfrm>
        <a:prstGeom prst="round2SameRect">
          <a:avLst>
            <a:gd name="adj1" fmla="val 10500"/>
            <a:gd name="adj2" fmla="val 0"/>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just" defTabSz="711200">
            <a:lnSpc>
              <a:spcPct val="90000"/>
            </a:lnSpc>
            <a:spcBef>
              <a:spcPct val="0"/>
            </a:spcBef>
            <a:spcAft>
              <a:spcPct val="35000"/>
            </a:spcAft>
            <a:buClrTx/>
            <a:buSzTx/>
            <a:buFont typeface="Arial" panose="020B0604020202020204" pitchFamily="34" charset="0"/>
            <a:buNone/>
          </a:pPr>
          <a:r>
            <a:rPr kumimoji="0" lang="en-US" sz="1600" b="0" i="0" u="none" strike="noStrike" kern="1200" cap="none" spc="0" normalizeH="0" baseline="0" noProof="0" dirty="0">
              <a:ln/>
              <a:effectLst/>
              <a:uLnTx/>
              <a:uFillTx/>
              <a:latin typeface="+mj-lt"/>
              <a:ea typeface="+mn-ea"/>
              <a:cs typeface="+mn-cs"/>
            </a:rPr>
            <a:t>Invasive mechanical ventilation</a:t>
          </a:r>
        </a:p>
        <a:p>
          <a:pPr marL="0" lvl="0" indent="0" algn="just" defTabSz="711200">
            <a:lnSpc>
              <a:spcPct val="90000"/>
            </a:lnSpc>
            <a:spcBef>
              <a:spcPct val="0"/>
            </a:spcBef>
            <a:spcAft>
              <a:spcPct val="35000"/>
            </a:spcAft>
            <a:buClrTx/>
            <a:buSzTx/>
            <a:buFont typeface="Arial" panose="020B0604020202020204" pitchFamily="34" charset="0"/>
            <a:buNone/>
          </a:pPr>
          <a:r>
            <a:rPr kumimoji="0" lang="en-US" sz="1600" b="0" i="0" u="none" strike="noStrike" kern="1200" cap="none" spc="0" normalizeH="0" baseline="0" noProof="0" dirty="0">
              <a:ln/>
              <a:effectLst/>
              <a:uLnTx/>
              <a:uFillTx/>
              <a:latin typeface="+mj-lt"/>
              <a:ea typeface="+mn-ea"/>
              <a:cs typeface="+mn-cs"/>
            </a:rPr>
            <a:t>Through intubation, oxygen is pumped into a patient’s lungs</a:t>
          </a:r>
        </a:p>
        <a:p>
          <a:pPr marL="0" lvl="0" indent="0" algn="l" defTabSz="711200">
            <a:lnSpc>
              <a:spcPct val="90000"/>
            </a:lnSpc>
            <a:spcBef>
              <a:spcPct val="0"/>
            </a:spcBef>
            <a:spcAft>
              <a:spcPct val="35000"/>
            </a:spcAft>
            <a:buClrTx/>
            <a:buSzTx/>
            <a:buFont typeface="Arial" panose="020B0604020202020204" pitchFamily="34" charset="0"/>
            <a:buNone/>
          </a:pPr>
          <a:endParaRPr kumimoji="0" lang="en-US" sz="1600" b="0" i="0" u="none" strike="noStrike" kern="1200" cap="none" spc="0" normalizeH="0" baseline="0" noProof="0" dirty="0">
            <a:ln/>
            <a:effectLst/>
            <a:uLnTx/>
            <a:uFillTx/>
            <a:latin typeface="Arial"/>
            <a:ea typeface="+mn-ea"/>
            <a:cs typeface="+mn-cs"/>
          </a:endParaRPr>
        </a:p>
        <a:p>
          <a:pPr marL="0" lvl="0" indent="0" algn="l" defTabSz="711200">
            <a:lnSpc>
              <a:spcPct val="90000"/>
            </a:lnSpc>
            <a:spcBef>
              <a:spcPct val="0"/>
            </a:spcBef>
            <a:spcAft>
              <a:spcPct val="35000"/>
            </a:spcAft>
            <a:buClrTx/>
            <a:buSzTx/>
            <a:buFont typeface="Arial" panose="020B0604020202020204" pitchFamily="34" charset="0"/>
            <a:buNone/>
          </a:pPr>
          <a:endParaRPr lang="en-GB" sz="1600" kern="1200" dirty="0"/>
        </a:p>
      </dsp:txBody>
      <dsp:txXfrm rot="10800000">
        <a:off x="2856802" y="1521332"/>
        <a:ext cx="2284017" cy="180222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BF553B-C892-3F4E-A693-5FE7DB2BEFAE}">
      <dsp:nvSpPr>
        <dsp:cNvPr id="0" name=""/>
        <dsp:cNvSpPr/>
      </dsp:nvSpPr>
      <dsp:spPr>
        <a:xfrm>
          <a:off x="0" y="0"/>
          <a:ext cx="33528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B130C09-1DA9-A549-BEAD-3B7F11FE4068}">
      <dsp:nvSpPr>
        <dsp:cNvPr id="0" name=""/>
        <dsp:cNvSpPr/>
      </dsp:nvSpPr>
      <dsp:spPr>
        <a:xfrm>
          <a:off x="0" y="0"/>
          <a:ext cx="3352800" cy="1041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IN" sz="1600" kern="1200" dirty="0">
              <a:solidFill>
                <a:schemeClr val="tx1"/>
              </a:solidFill>
              <a:latin typeface="Calibri" panose="020F0502020204030204" pitchFamily="34" charset="0"/>
            </a:rPr>
            <a:t>There are various types of humidifiers, and their designs differ in how they apply three main principles :</a:t>
          </a:r>
        </a:p>
      </dsp:txBody>
      <dsp:txXfrm>
        <a:off x="0" y="0"/>
        <a:ext cx="3352800" cy="1041227"/>
      </dsp:txXfrm>
    </dsp:sp>
    <dsp:sp modelId="{5DE9E155-2D5F-6A4F-8A13-8D9C19AD3776}">
      <dsp:nvSpPr>
        <dsp:cNvPr id="0" name=""/>
        <dsp:cNvSpPr/>
      </dsp:nvSpPr>
      <dsp:spPr>
        <a:xfrm>
          <a:off x="0" y="1041227"/>
          <a:ext cx="33528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A084CEF-CD6C-9F44-9CDF-BC574056A606}">
      <dsp:nvSpPr>
        <dsp:cNvPr id="0" name=""/>
        <dsp:cNvSpPr/>
      </dsp:nvSpPr>
      <dsp:spPr>
        <a:xfrm>
          <a:off x="0" y="1041227"/>
          <a:ext cx="3352800" cy="1041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IN" sz="1600" b="1" kern="1200" dirty="0">
              <a:solidFill>
                <a:schemeClr val="tx1"/>
              </a:solidFill>
              <a:latin typeface="Calibri" panose="020F0502020204030204" pitchFamily="34" charset="0"/>
            </a:rPr>
            <a:t>1. Temperature: </a:t>
          </a:r>
          <a:r>
            <a:rPr lang="en-IN" sz="1600" kern="1200" dirty="0">
              <a:solidFill>
                <a:schemeClr val="tx1"/>
              </a:solidFill>
              <a:latin typeface="Calibri" panose="020F0502020204030204" pitchFamily="34" charset="0"/>
            </a:rPr>
            <a:t>As the temperature of gas increases, its ability to hold water vapour increases.</a:t>
          </a:r>
        </a:p>
      </dsp:txBody>
      <dsp:txXfrm>
        <a:off x="0" y="1041227"/>
        <a:ext cx="3352800" cy="1041227"/>
      </dsp:txXfrm>
    </dsp:sp>
    <dsp:sp modelId="{C148BCB5-B23E-C04F-BDBD-FFB3A89018DC}">
      <dsp:nvSpPr>
        <dsp:cNvPr id="0" name=""/>
        <dsp:cNvSpPr/>
      </dsp:nvSpPr>
      <dsp:spPr>
        <a:xfrm>
          <a:off x="0" y="2082454"/>
          <a:ext cx="33528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7A51DC-47D9-0542-8563-583474B9AC89}">
      <dsp:nvSpPr>
        <dsp:cNvPr id="0" name=""/>
        <dsp:cNvSpPr/>
      </dsp:nvSpPr>
      <dsp:spPr>
        <a:xfrm>
          <a:off x="0" y="2082454"/>
          <a:ext cx="3352800" cy="1041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IN" sz="1600" b="1" kern="1200" dirty="0">
              <a:solidFill>
                <a:schemeClr val="tx1"/>
              </a:solidFill>
              <a:latin typeface="Calibri" panose="020F0502020204030204" pitchFamily="34" charset="0"/>
            </a:rPr>
            <a:t>2. Surface area: </a:t>
          </a:r>
          <a:r>
            <a:rPr lang="en-IN" sz="1600" kern="1200" dirty="0">
              <a:solidFill>
                <a:schemeClr val="tx1"/>
              </a:solidFill>
              <a:latin typeface="Calibri" panose="020F0502020204030204" pitchFamily="34" charset="0"/>
            </a:rPr>
            <a:t>There is more opportunity for evaporation to occur due to greater surface area of contact between water and gas.</a:t>
          </a:r>
        </a:p>
      </dsp:txBody>
      <dsp:txXfrm>
        <a:off x="0" y="2082454"/>
        <a:ext cx="3352800" cy="1041227"/>
      </dsp:txXfrm>
    </dsp:sp>
    <dsp:sp modelId="{8481D70E-C2B7-584D-B83D-7D9054E92BF2}">
      <dsp:nvSpPr>
        <dsp:cNvPr id="0" name=""/>
        <dsp:cNvSpPr/>
      </dsp:nvSpPr>
      <dsp:spPr>
        <a:xfrm>
          <a:off x="0" y="3123681"/>
          <a:ext cx="335280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F850D3D-C13A-E543-914A-F34109428873}">
      <dsp:nvSpPr>
        <dsp:cNvPr id="0" name=""/>
        <dsp:cNvSpPr/>
      </dsp:nvSpPr>
      <dsp:spPr>
        <a:xfrm>
          <a:off x="0" y="3123681"/>
          <a:ext cx="3352800" cy="1041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IN" sz="1600" b="1" kern="1200" dirty="0">
              <a:solidFill>
                <a:schemeClr val="tx1"/>
              </a:solidFill>
              <a:latin typeface="Calibri" panose="020F0502020204030204" pitchFamily="34" charset="0"/>
            </a:rPr>
            <a:t>3. Time of contact: </a:t>
          </a:r>
          <a:r>
            <a:rPr lang="en-IN" sz="1600" kern="1200" dirty="0">
              <a:solidFill>
                <a:schemeClr val="tx1"/>
              </a:solidFill>
              <a:latin typeface="Calibri" panose="020F0502020204030204" pitchFamily="34" charset="0"/>
            </a:rPr>
            <a:t>There is more opportunity for evaporation to occur when a gas remains in contact with water for long duration.</a:t>
          </a:r>
        </a:p>
      </dsp:txBody>
      <dsp:txXfrm>
        <a:off x="0" y="3123681"/>
        <a:ext cx="3352800" cy="104122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2387A1-B468-401C-A475-4DE506041DB8}">
      <dsp:nvSpPr>
        <dsp:cNvPr id="0" name=""/>
        <dsp:cNvSpPr/>
      </dsp:nvSpPr>
      <dsp:spPr>
        <a:xfrm>
          <a:off x="4561238" y="508918"/>
          <a:ext cx="106616" cy="3350812"/>
        </a:xfrm>
        <a:custGeom>
          <a:avLst/>
          <a:gdLst/>
          <a:ahLst/>
          <a:cxnLst/>
          <a:rect l="0" t="0" r="0" b="0"/>
          <a:pathLst>
            <a:path>
              <a:moveTo>
                <a:pt x="0" y="0"/>
              </a:moveTo>
              <a:lnTo>
                <a:pt x="0" y="3350812"/>
              </a:lnTo>
              <a:lnTo>
                <a:pt x="106616" y="3350812"/>
              </a:lnTo>
            </a:path>
          </a:pathLst>
        </a:custGeom>
        <a:noFill/>
        <a:ln w="1587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41C0EE-097C-4032-B6A3-F6FE3B6FED7B}">
      <dsp:nvSpPr>
        <dsp:cNvPr id="0" name=""/>
        <dsp:cNvSpPr/>
      </dsp:nvSpPr>
      <dsp:spPr>
        <a:xfrm>
          <a:off x="1383042" y="508918"/>
          <a:ext cx="3178195" cy="3350812"/>
        </a:xfrm>
        <a:custGeom>
          <a:avLst/>
          <a:gdLst/>
          <a:ahLst/>
          <a:cxnLst/>
          <a:rect l="0" t="0" r="0" b="0"/>
          <a:pathLst>
            <a:path>
              <a:moveTo>
                <a:pt x="3178195" y="0"/>
              </a:moveTo>
              <a:lnTo>
                <a:pt x="3178195" y="3350812"/>
              </a:lnTo>
              <a:lnTo>
                <a:pt x="0" y="3350812"/>
              </a:lnTo>
            </a:path>
          </a:pathLst>
        </a:custGeom>
        <a:noFill/>
        <a:ln w="1587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C717EB4-FE58-46EF-ACD2-CA05E8C3B691}">
      <dsp:nvSpPr>
        <dsp:cNvPr id="0" name=""/>
        <dsp:cNvSpPr/>
      </dsp:nvSpPr>
      <dsp:spPr>
        <a:xfrm>
          <a:off x="6911884" y="1950783"/>
          <a:ext cx="106616" cy="467083"/>
        </a:xfrm>
        <a:custGeom>
          <a:avLst/>
          <a:gdLst/>
          <a:ahLst/>
          <a:cxnLst/>
          <a:rect l="0" t="0" r="0" b="0"/>
          <a:pathLst>
            <a:path>
              <a:moveTo>
                <a:pt x="106616" y="0"/>
              </a:moveTo>
              <a:lnTo>
                <a:pt x="106616" y="467083"/>
              </a:lnTo>
              <a:lnTo>
                <a:pt x="0" y="467083"/>
              </a:lnTo>
            </a:path>
          </a:pathLst>
        </a:custGeom>
        <a:noFill/>
        <a:ln w="1587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4CCE39-C158-4445-AE55-E9204AA71FD1}">
      <dsp:nvSpPr>
        <dsp:cNvPr id="0" name=""/>
        <dsp:cNvSpPr/>
      </dsp:nvSpPr>
      <dsp:spPr>
        <a:xfrm>
          <a:off x="5789869" y="1229850"/>
          <a:ext cx="720932" cy="467083"/>
        </a:xfrm>
        <a:custGeom>
          <a:avLst/>
          <a:gdLst/>
          <a:ahLst/>
          <a:cxnLst/>
          <a:rect l="0" t="0" r="0" b="0"/>
          <a:pathLst>
            <a:path>
              <a:moveTo>
                <a:pt x="0" y="0"/>
              </a:moveTo>
              <a:lnTo>
                <a:pt x="0" y="467083"/>
              </a:lnTo>
              <a:lnTo>
                <a:pt x="720932" y="467083"/>
              </a:lnTo>
            </a:path>
          </a:pathLst>
        </a:custGeom>
        <a:noFill/>
        <a:ln w="15875"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0C9077C-82CC-4064-B8AC-3BFD84DB2EFA}">
      <dsp:nvSpPr>
        <dsp:cNvPr id="0" name=""/>
        <dsp:cNvSpPr/>
      </dsp:nvSpPr>
      <dsp:spPr>
        <a:xfrm>
          <a:off x="5683252" y="1229850"/>
          <a:ext cx="106616" cy="467083"/>
        </a:xfrm>
        <a:custGeom>
          <a:avLst/>
          <a:gdLst/>
          <a:ahLst/>
          <a:cxnLst/>
          <a:rect l="0" t="0" r="0" b="0"/>
          <a:pathLst>
            <a:path>
              <a:moveTo>
                <a:pt x="106616" y="0"/>
              </a:moveTo>
              <a:lnTo>
                <a:pt x="106616" y="467083"/>
              </a:lnTo>
              <a:lnTo>
                <a:pt x="0" y="467083"/>
              </a:lnTo>
            </a:path>
          </a:pathLst>
        </a:custGeom>
        <a:noFill/>
        <a:ln w="15875"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E9036D4-A6C5-4C87-A68B-A47AE0F6CCFA}">
      <dsp:nvSpPr>
        <dsp:cNvPr id="0" name=""/>
        <dsp:cNvSpPr/>
      </dsp:nvSpPr>
      <dsp:spPr>
        <a:xfrm>
          <a:off x="4561238" y="508918"/>
          <a:ext cx="720932" cy="467083"/>
        </a:xfrm>
        <a:custGeom>
          <a:avLst/>
          <a:gdLst/>
          <a:ahLst/>
          <a:cxnLst/>
          <a:rect l="0" t="0" r="0" b="0"/>
          <a:pathLst>
            <a:path>
              <a:moveTo>
                <a:pt x="0" y="0"/>
              </a:moveTo>
              <a:lnTo>
                <a:pt x="0" y="467083"/>
              </a:lnTo>
              <a:lnTo>
                <a:pt x="720932" y="467083"/>
              </a:lnTo>
            </a:path>
          </a:pathLst>
        </a:custGeom>
        <a:noFill/>
        <a:ln w="1587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8FED99D-E3E4-4EDB-8D15-A9634043370B}">
      <dsp:nvSpPr>
        <dsp:cNvPr id="0" name=""/>
        <dsp:cNvSpPr/>
      </dsp:nvSpPr>
      <dsp:spPr>
        <a:xfrm>
          <a:off x="3332606" y="1229850"/>
          <a:ext cx="106616" cy="467083"/>
        </a:xfrm>
        <a:custGeom>
          <a:avLst/>
          <a:gdLst/>
          <a:ahLst/>
          <a:cxnLst/>
          <a:rect l="0" t="0" r="0" b="0"/>
          <a:pathLst>
            <a:path>
              <a:moveTo>
                <a:pt x="0" y="0"/>
              </a:moveTo>
              <a:lnTo>
                <a:pt x="0" y="467083"/>
              </a:lnTo>
              <a:lnTo>
                <a:pt x="106616" y="467083"/>
              </a:lnTo>
            </a:path>
          </a:pathLst>
        </a:custGeom>
        <a:noFill/>
        <a:ln w="15875"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79C7A9-37A8-4C53-9B40-5B7ADC9A3D54}">
      <dsp:nvSpPr>
        <dsp:cNvPr id="0" name=""/>
        <dsp:cNvSpPr/>
      </dsp:nvSpPr>
      <dsp:spPr>
        <a:xfrm>
          <a:off x="2611674" y="2671715"/>
          <a:ext cx="106616" cy="467083"/>
        </a:xfrm>
        <a:custGeom>
          <a:avLst/>
          <a:gdLst/>
          <a:ahLst/>
          <a:cxnLst/>
          <a:rect l="0" t="0" r="0" b="0"/>
          <a:pathLst>
            <a:path>
              <a:moveTo>
                <a:pt x="106616" y="0"/>
              </a:moveTo>
              <a:lnTo>
                <a:pt x="106616" y="467083"/>
              </a:lnTo>
              <a:lnTo>
                <a:pt x="0" y="467083"/>
              </a:lnTo>
            </a:path>
          </a:pathLst>
        </a:custGeom>
        <a:noFill/>
        <a:ln w="1587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1022AFC-7D81-4F42-A5FB-A266DB577358}">
      <dsp:nvSpPr>
        <dsp:cNvPr id="0" name=""/>
        <dsp:cNvSpPr/>
      </dsp:nvSpPr>
      <dsp:spPr>
        <a:xfrm>
          <a:off x="1489659" y="1950783"/>
          <a:ext cx="720932" cy="467083"/>
        </a:xfrm>
        <a:custGeom>
          <a:avLst/>
          <a:gdLst/>
          <a:ahLst/>
          <a:cxnLst/>
          <a:rect l="0" t="0" r="0" b="0"/>
          <a:pathLst>
            <a:path>
              <a:moveTo>
                <a:pt x="0" y="0"/>
              </a:moveTo>
              <a:lnTo>
                <a:pt x="0" y="467083"/>
              </a:lnTo>
              <a:lnTo>
                <a:pt x="720932" y="467083"/>
              </a:lnTo>
            </a:path>
          </a:pathLst>
        </a:custGeom>
        <a:noFill/>
        <a:ln w="1587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FC52651-05CA-4355-B833-92FDF171EBEF}">
      <dsp:nvSpPr>
        <dsp:cNvPr id="0" name=""/>
        <dsp:cNvSpPr/>
      </dsp:nvSpPr>
      <dsp:spPr>
        <a:xfrm>
          <a:off x="1383042" y="1950783"/>
          <a:ext cx="106616" cy="467083"/>
        </a:xfrm>
        <a:custGeom>
          <a:avLst/>
          <a:gdLst/>
          <a:ahLst/>
          <a:cxnLst/>
          <a:rect l="0" t="0" r="0" b="0"/>
          <a:pathLst>
            <a:path>
              <a:moveTo>
                <a:pt x="106616" y="0"/>
              </a:moveTo>
              <a:lnTo>
                <a:pt x="106616" y="467083"/>
              </a:lnTo>
              <a:lnTo>
                <a:pt x="0" y="467083"/>
              </a:lnTo>
            </a:path>
          </a:pathLst>
        </a:custGeom>
        <a:noFill/>
        <a:ln w="1587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6337CD3-0044-4708-9497-306ABECFB923}">
      <dsp:nvSpPr>
        <dsp:cNvPr id="0" name=""/>
        <dsp:cNvSpPr/>
      </dsp:nvSpPr>
      <dsp:spPr>
        <a:xfrm>
          <a:off x="1997358" y="1229850"/>
          <a:ext cx="1335248" cy="467083"/>
        </a:xfrm>
        <a:custGeom>
          <a:avLst/>
          <a:gdLst/>
          <a:ahLst/>
          <a:cxnLst/>
          <a:rect l="0" t="0" r="0" b="0"/>
          <a:pathLst>
            <a:path>
              <a:moveTo>
                <a:pt x="1335248" y="0"/>
              </a:moveTo>
              <a:lnTo>
                <a:pt x="1335248" y="467083"/>
              </a:lnTo>
              <a:lnTo>
                <a:pt x="0" y="467083"/>
              </a:lnTo>
            </a:path>
          </a:pathLst>
        </a:custGeom>
        <a:noFill/>
        <a:ln w="15875" cap="flat" cmpd="sng" algn="ctr">
          <a:solidFill>
            <a:schemeClr val="accent4">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217E44-4219-47EC-9498-145D592962B6}">
      <dsp:nvSpPr>
        <dsp:cNvPr id="0" name=""/>
        <dsp:cNvSpPr/>
      </dsp:nvSpPr>
      <dsp:spPr>
        <a:xfrm>
          <a:off x="3840305" y="508918"/>
          <a:ext cx="720932" cy="467083"/>
        </a:xfrm>
        <a:custGeom>
          <a:avLst/>
          <a:gdLst/>
          <a:ahLst/>
          <a:cxnLst/>
          <a:rect l="0" t="0" r="0" b="0"/>
          <a:pathLst>
            <a:path>
              <a:moveTo>
                <a:pt x="720932" y="0"/>
              </a:moveTo>
              <a:lnTo>
                <a:pt x="720932" y="467083"/>
              </a:lnTo>
              <a:lnTo>
                <a:pt x="0" y="467083"/>
              </a:lnTo>
            </a:path>
          </a:pathLst>
        </a:custGeom>
        <a:noFill/>
        <a:ln w="15875" cap="flat" cmpd="sng" algn="ctr">
          <a:solidFill>
            <a:schemeClr val="accent3">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D0DA715-B421-4F59-A16D-DA64AD59EC09}">
      <dsp:nvSpPr>
        <dsp:cNvPr id="0" name=""/>
        <dsp:cNvSpPr/>
      </dsp:nvSpPr>
      <dsp:spPr>
        <a:xfrm>
          <a:off x="4053539" y="1219"/>
          <a:ext cx="1015397" cy="507698"/>
        </a:xfrm>
        <a:prstGeom prst="rect">
          <a:avLst/>
        </a:prstGeom>
        <a:solidFill>
          <a:schemeClr val="tx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bg1"/>
              </a:solidFill>
              <a:latin typeface="Calibri" panose="020F0502020204030204" pitchFamily="34" charset="0"/>
            </a:rPr>
            <a:t>Oxygen</a:t>
          </a:r>
          <a:r>
            <a:rPr lang="en-IN" sz="1200" kern="1200" dirty="0">
              <a:solidFill>
                <a:schemeClr val="tx1"/>
              </a:solidFill>
              <a:latin typeface="Calibri" panose="020F0502020204030204" pitchFamily="34" charset="0"/>
            </a:rPr>
            <a:t> </a:t>
          </a:r>
          <a:r>
            <a:rPr lang="en-IN" sz="1200" kern="1200" dirty="0">
              <a:solidFill>
                <a:schemeClr val="bg1"/>
              </a:solidFill>
              <a:latin typeface="Calibri" panose="020F0502020204030204" pitchFamily="34" charset="0"/>
            </a:rPr>
            <a:t>Manufacturing</a:t>
          </a:r>
        </a:p>
      </dsp:txBody>
      <dsp:txXfrm>
        <a:off x="4053539" y="1219"/>
        <a:ext cx="1015397" cy="507698"/>
      </dsp:txXfrm>
    </dsp:sp>
    <dsp:sp modelId="{1BB7DDC8-EF66-4D22-BDB0-E0B19802035D}">
      <dsp:nvSpPr>
        <dsp:cNvPr id="0" name=""/>
        <dsp:cNvSpPr/>
      </dsp:nvSpPr>
      <dsp:spPr>
        <a:xfrm>
          <a:off x="2824907" y="722151"/>
          <a:ext cx="1015397" cy="507698"/>
        </a:xfrm>
        <a:prstGeom prst="rect">
          <a:avLst/>
        </a:prstGeom>
        <a:solidFill>
          <a:schemeClr val="accent1">
            <a:lumMod val="40000"/>
            <a:lumOff val="60000"/>
          </a:schemeClr>
        </a:solid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Cryogenic (industrial site)</a:t>
          </a:r>
        </a:p>
      </dsp:txBody>
      <dsp:txXfrm>
        <a:off x="2824907" y="722151"/>
        <a:ext cx="1015397" cy="507698"/>
      </dsp:txXfrm>
    </dsp:sp>
    <dsp:sp modelId="{E730F0D9-288F-4FC3-A564-3FF88D98B57A}">
      <dsp:nvSpPr>
        <dsp:cNvPr id="0" name=""/>
        <dsp:cNvSpPr/>
      </dsp:nvSpPr>
      <dsp:spPr>
        <a:xfrm>
          <a:off x="981960" y="1443084"/>
          <a:ext cx="1015397" cy="507698"/>
        </a:xfrm>
        <a:prstGeom prst="rect">
          <a:avLst/>
        </a:prstGeom>
        <a:no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LMO-based re-filler)</a:t>
          </a:r>
        </a:p>
      </dsp:txBody>
      <dsp:txXfrm>
        <a:off x="981960" y="1443084"/>
        <a:ext cx="1015397" cy="507698"/>
      </dsp:txXfrm>
    </dsp:sp>
    <dsp:sp modelId="{3AB49A2B-6BC6-4D04-A84B-B3A926DC2622}">
      <dsp:nvSpPr>
        <dsp:cNvPr id="0" name=""/>
        <dsp:cNvSpPr/>
      </dsp:nvSpPr>
      <dsp:spPr>
        <a:xfrm>
          <a:off x="367645" y="2164016"/>
          <a:ext cx="1015397" cy="507698"/>
        </a:xfrm>
        <a:prstGeom prst="rect">
          <a:avLst/>
        </a:prstGeom>
        <a:no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To facilities in Jumbo D type cylinders</a:t>
          </a:r>
        </a:p>
      </dsp:txBody>
      <dsp:txXfrm>
        <a:off x="367645" y="2164016"/>
        <a:ext cx="1015397" cy="507698"/>
      </dsp:txXfrm>
    </dsp:sp>
    <dsp:sp modelId="{72E81D15-9824-4974-9E30-CBFC28FEF2D7}">
      <dsp:nvSpPr>
        <dsp:cNvPr id="0" name=""/>
        <dsp:cNvSpPr/>
      </dsp:nvSpPr>
      <dsp:spPr>
        <a:xfrm>
          <a:off x="2210592" y="2164016"/>
          <a:ext cx="1015397" cy="507698"/>
        </a:xfrm>
        <a:prstGeom prst="rect">
          <a:avLst/>
        </a:prstGeom>
        <a:no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D type to retailers</a:t>
          </a:r>
        </a:p>
      </dsp:txBody>
      <dsp:txXfrm>
        <a:off x="2210592" y="2164016"/>
        <a:ext cx="1015397" cy="507698"/>
      </dsp:txXfrm>
    </dsp:sp>
    <dsp:sp modelId="{E89F4909-FE1C-443F-8344-1D523811B5C7}">
      <dsp:nvSpPr>
        <dsp:cNvPr id="0" name=""/>
        <dsp:cNvSpPr/>
      </dsp:nvSpPr>
      <dsp:spPr>
        <a:xfrm>
          <a:off x="1596276" y="2884949"/>
          <a:ext cx="1015397" cy="507698"/>
        </a:xfrm>
        <a:prstGeom prst="rect">
          <a:avLst/>
        </a:prstGeom>
        <a:no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Retailers to facilities</a:t>
          </a:r>
        </a:p>
      </dsp:txBody>
      <dsp:txXfrm>
        <a:off x="1596276" y="2884949"/>
        <a:ext cx="1015397" cy="507698"/>
      </dsp:txXfrm>
    </dsp:sp>
    <dsp:sp modelId="{15E681CE-76FE-4F1D-8906-35701364ACD5}">
      <dsp:nvSpPr>
        <dsp:cNvPr id="0" name=""/>
        <dsp:cNvSpPr/>
      </dsp:nvSpPr>
      <dsp:spPr>
        <a:xfrm>
          <a:off x="3439223" y="1443084"/>
          <a:ext cx="1015397" cy="507698"/>
        </a:xfrm>
        <a:prstGeom prst="rect">
          <a:avLst/>
        </a:prstGeom>
        <a:no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To facilities with LMO tanks</a:t>
          </a:r>
        </a:p>
      </dsp:txBody>
      <dsp:txXfrm>
        <a:off x="3439223" y="1443084"/>
        <a:ext cx="1015397" cy="507698"/>
      </dsp:txXfrm>
    </dsp:sp>
    <dsp:sp modelId="{7DDEACFD-9907-4127-A5FB-8F4B6D6ADEC0}">
      <dsp:nvSpPr>
        <dsp:cNvPr id="0" name=""/>
        <dsp:cNvSpPr/>
      </dsp:nvSpPr>
      <dsp:spPr>
        <a:xfrm>
          <a:off x="5282170" y="722151"/>
          <a:ext cx="1015397" cy="507698"/>
        </a:xfrm>
        <a:prstGeom prst="rect">
          <a:avLst/>
        </a:prstGeom>
        <a:solidFill>
          <a:schemeClr val="accent1">
            <a:lumMod val="40000"/>
            <a:lumOff val="60000"/>
          </a:schemeClr>
        </a:solid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Air Separation Units (ASUs) (industrial site)</a:t>
          </a:r>
        </a:p>
      </dsp:txBody>
      <dsp:txXfrm>
        <a:off x="5282170" y="722151"/>
        <a:ext cx="1015397" cy="507698"/>
      </dsp:txXfrm>
    </dsp:sp>
    <dsp:sp modelId="{99EACDF6-99FC-4A75-B944-DD3B8E4CEE35}">
      <dsp:nvSpPr>
        <dsp:cNvPr id="0" name=""/>
        <dsp:cNvSpPr/>
      </dsp:nvSpPr>
      <dsp:spPr>
        <a:xfrm>
          <a:off x="4667854" y="1443084"/>
          <a:ext cx="1015397" cy="507698"/>
        </a:xfrm>
        <a:prstGeom prst="rect">
          <a:avLst/>
        </a:prstGeom>
        <a:no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To facilities in Jumbo D type cylinders</a:t>
          </a:r>
        </a:p>
      </dsp:txBody>
      <dsp:txXfrm>
        <a:off x="4667854" y="1443084"/>
        <a:ext cx="1015397" cy="507698"/>
      </dsp:txXfrm>
    </dsp:sp>
    <dsp:sp modelId="{B57A22CC-0216-4B6B-B986-C8AAC030463D}">
      <dsp:nvSpPr>
        <dsp:cNvPr id="0" name=""/>
        <dsp:cNvSpPr/>
      </dsp:nvSpPr>
      <dsp:spPr>
        <a:xfrm>
          <a:off x="6510802" y="1443084"/>
          <a:ext cx="1015397" cy="507698"/>
        </a:xfrm>
        <a:prstGeom prst="rect">
          <a:avLst/>
        </a:prstGeom>
        <a:no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D type to retailers</a:t>
          </a:r>
        </a:p>
      </dsp:txBody>
      <dsp:txXfrm>
        <a:off x="6510802" y="1443084"/>
        <a:ext cx="1015397" cy="507698"/>
      </dsp:txXfrm>
    </dsp:sp>
    <dsp:sp modelId="{699D4282-A4C9-4AB5-B67D-460EBDA9D404}">
      <dsp:nvSpPr>
        <dsp:cNvPr id="0" name=""/>
        <dsp:cNvSpPr/>
      </dsp:nvSpPr>
      <dsp:spPr>
        <a:xfrm>
          <a:off x="5896486" y="2164016"/>
          <a:ext cx="1015397" cy="507698"/>
        </a:xfrm>
        <a:prstGeom prst="rect">
          <a:avLst/>
        </a:prstGeom>
        <a:no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Retailers to facilities</a:t>
          </a:r>
        </a:p>
      </dsp:txBody>
      <dsp:txXfrm>
        <a:off x="5896486" y="2164016"/>
        <a:ext cx="1015397" cy="507698"/>
      </dsp:txXfrm>
    </dsp:sp>
    <dsp:sp modelId="{CCA06F98-272D-42E7-9BCA-AB22DB9D4CE1}">
      <dsp:nvSpPr>
        <dsp:cNvPr id="0" name=""/>
        <dsp:cNvSpPr/>
      </dsp:nvSpPr>
      <dsp:spPr>
        <a:xfrm>
          <a:off x="367645" y="3605881"/>
          <a:ext cx="1015397" cy="507698"/>
        </a:xfrm>
        <a:prstGeom prst="rect">
          <a:avLst/>
        </a:prstGeom>
        <a:solidFill>
          <a:schemeClr val="accent1">
            <a:lumMod val="40000"/>
            <a:lumOff val="60000"/>
          </a:schemeClr>
        </a:solid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PSA Plants (hospital site)</a:t>
          </a:r>
        </a:p>
      </dsp:txBody>
      <dsp:txXfrm>
        <a:off x="367645" y="3605881"/>
        <a:ext cx="1015397" cy="507698"/>
      </dsp:txXfrm>
    </dsp:sp>
    <dsp:sp modelId="{453E6ABC-52AB-4CC0-B566-1E97D231C16E}">
      <dsp:nvSpPr>
        <dsp:cNvPr id="0" name=""/>
        <dsp:cNvSpPr/>
      </dsp:nvSpPr>
      <dsp:spPr>
        <a:xfrm>
          <a:off x="4667854" y="3605881"/>
          <a:ext cx="1015397" cy="507698"/>
        </a:xfrm>
        <a:prstGeom prst="rect">
          <a:avLst/>
        </a:prstGeom>
        <a:solidFill>
          <a:schemeClr val="accent1">
            <a:lumMod val="40000"/>
            <a:lumOff val="60000"/>
          </a:schemeClr>
        </a:solidFill>
        <a:ln w="15875" cap="flat" cmpd="sng" algn="ctr">
          <a:solidFill>
            <a:schemeClr val="l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IN" sz="1200" kern="1200" dirty="0">
              <a:solidFill>
                <a:schemeClr val="tx1"/>
              </a:solidFill>
              <a:latin typeface="Calibri" panose="020F0502020204030204" pitchFamily="34" charset="0"/>
            </a:rPr>
            <a:t>Concentrators (hospital site)</a:t>
          </a:r>
        </a:p>
      </dsp:txBody>
      <dsp:txXfrm>
        <a:off x="4667854" y="3605881"/>
        <a:ext cx="1015397" cy="507698"/>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12.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7.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305087B-7DB7-42AB-835D-EB915EF6CEA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5FB84E2-2DFA-4382-A3AA-F4191626199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3AEED0E-312F-4511-A349-8DD9471C9672}" type="datetimeFigureOut">
              <a:rPr lang="en-US" smtClean="0"/>
              <a:t>2/2/2022</a:t>
            </a:fld>
            <a:endParaRPr lang="en-US"/>
          </a:p>
        </p:txBody>
      </p:sp>
      <p:sp>
        <p:nvSpPr>
          <p:cNvPr id="4" name="Footer Placeholder 3">
            <a:extLst>
              <a:ext uri="{FF2B5EF4-FFF2-40B4-BE49-F238E27FC236}">
                <a16:creationId xmlns:a16="http://schemas.microsoft.com/office/drawing/2014/main" id="{222A7792-3120-4D6B-AB5E-1985659BD4E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D61DABD-72CD-4B4E-B0C0-8523A7DF75C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CA34578-F471-4EA9-9347-628B83E68ADC}" type="slidenum">
              <a:rPr lang="en-US" smtClean="0"/>
              <a:t>‹#›</a:t>
            </a:fld>
            <a:endParaRPr lang="en-US"/>
          </a:p>
        </p:txBody>
      </p:sp>
    </p:spTree>
    <p:extLst>
      <p:ext uri="{BB962C8B-B14F-4D97-AF65-F5344CB8AC3E}">
        <p14:creationId xmlns:p14="http://schemas.microsoft.com/office/powerpoint/2010/main" val="6614254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3D639E04-AF50-4747-B5FD-D8E4D078DF49}"/>
              </a:ext>
            </a:extLst>
          </p:cNvPr>
          <p:cNvSpPr>
            <a:spLocks noGrp="1" noChangeArrowheads="1"/>
          </p:cNvSpPr>
          <p:nvPr>
            <p:ph type="hdr" sz="quarter"/>
          </p:nvPr>
        </p:nvSpPr>
        <p:spPr bwMode="auto">
          <a:xfrm>
            <a:off x="0" y="0"/>
            <a:ext cx="29718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200">
                <a:latin typeface="Arial" panose="020B0604020202020204" pitchFamily="34" charset="0"/>
                <a:ea typeface="+mn-ea"/>
              </a:defRPr>
            </a:lvl1pPr>
          </a:lstStyle>
          <a:p>
            <a:pPr>
              <a:defRPr/>
            </a:pPr>
            <a:endParaRPr lang="en-US" altLang="en-US"/>
          </a:p>
        </p:txBody>
      </p:sp>
      <p:sp>
        <p:nvSpPr>
          <p:cNvPr id="10243" name="Rectangle 3">
            <a:extLst>
              <a:ext uri="{FF2B5EF4-FFF2-40B4-BE49-F238E27FC236}">
                <a16:creationId xmlns:a16="http://schemas.microsoft.com/office/drawing/2014/main" id="{F80BC0C8-1EE7-4FF4-BA91-934C5CA3FC27}"/>
              </a:ext>
            </a:extLst>
          </p:cNvPr>
          <p:cNvSpPr>
            <a:spLocks noGrp="1" noChangeArrowheads="1"/>
          </p:cNvSpPr>
          <p:nvPr>
            <p:ph type="dt" idx="1"/>
          </p:nvPr>
        </p:nvSpPr>
        <p:spPr bwMode="auto">
          <a:xfrm>
            <a:off x="3884613" y="0"/>
            <a:ext cx="29718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200">
                <a:latin typeface="Arial" panose="020B0604020202020204" pitchFamily="34" charset="0"/>
                <a:ea typeface="+mn-ea"/>
              </a:defRPr>
            </a:lvl1pPr>
          </a:lstStyle>
          <a:p>
            <a:pPr>
              <a:defRPr/>
            </a:pPr>
            <a:endParaRPr lang="en-US" altLang="en-US"/>
          </a:p>
        </p:txBody>
      </p:sp>
      <p:sp>
        <p:nvSpPr>
          <p:cNvPr id="11268" name="Rectangle 4">
            <a:extLst>
              <a:ext uri="{FF2B5EF4-FFF2-40B4-BE49-F238E27FC236}">
                <a16:creationId xmlns:a16="http://schemas.microsoft.com/office/drawing/2014/main" id="{51EEDAA5-14B8-4653-8D80-39D68E9D923E}"/>
              </a:ext>
            </a:extLst>
          </p:cNvPr>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5" name="Rectangle 5">
            <a:extLst>
              <a:ext uri="{FF2B5EF4-FFF2-40B4-BE49-F238E27FC236}">
                <a16:creationId xmlns:a16="http://schemas.microsoft.com/office/drawing/2014/main" id="{C5E485B7-CD74-44B2-87DF-C2BE4ECCBCBA}"/>
              </a:ext>
            </a:extLst>
          </p:cNvPr>
          <p:cNvSpPr>
            <a:spLocks noGrp="1" noChangeArrowheads="1"/>
          </p:cNvSpPr>
          <p:nvPr>
            <p:ph type="body" sz="quarter" idx="3"/>
          </p:nvPr>
        </p:nvSpPr>
        <p:spPr bwMode="auto">
          <a:xfrm>
            <a:off x="685800" y="4343400"/>
            <a:ext cx="5486400" cy="4114800"/>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10246" name="Rectangle 6">
            <a:extLst>
              <a:ext uri="{FF2B5EF4-FFF2-40B4-BE49-F238E27FC236}">
                <a16:creationId xmlns:a16="http://schemas.microsoft.com/office/drawing/2014/main" id="{53EFD297-3D9E-4F85-96B5-0DF6B8D5B226}"/>
              </a:ext>
            </a:extLst>
          </p:cNvPr>
          <p:cNvSpPr>
            <a:spLocks noGrp="1" noChangeArrowheads="1"/>
          </p:cNvSpPr>
          <p:nvPr>
            <p:ph type="ftr" sz="quarter" idx="4"/>
          </p:nvPr>
        </p:nvSpPr>
        <p:spPr bwMode="auto">
          <a:xfrm>
            <a:off x="0" y="8685213"/>
            <a:ext cx="2971800" cy="457200"/>
          </a:xfrm>
          <a:prstGeom prst="rect">
            <a:avLst/>
          </a:prstGeom>
          <a:noFill/>
          <a:ln>
            <a:noFill/>
          </a:ln>
          <a:effectLst/>
        </p:spPr>
        <p:txBody>
          <a:bodyPr vert="horz" wrap="square" lIns="91440" tIns="45720" rIns="91440" bIns="45720" numCol="1" anchor="b" anchorCtr="0" compatLnSpc="1">
            <a:prstTxWarp prst="textNoShape">
              <a:avLst/>
            </a:prstTxWarp>
          </a:bodyPr>
          <a:lstStyle>
            <a:lvl1pPr eaLnBrk="1" hangingPunct="1">
              <a:defRPr sz="1200">
                <a:latin typeface="Arial" panose="020B0604020202020204" pitchFamily="34" charset="0"/>
                <a:ea typeface="+mn-ea"/>
              </a:defRPr>
            </a:lvl1pPr>
          </a:lstStyle>
          <a:p>
            <a:pPr>
              <a:defRPr/>
            </a:pPr>
            <a:endParaRPr lang="en-US" altLang="en-US"/>
          </a:p>
        </p:txBody>
      </p:sp>
      <p:sp>
        <p:nvSpPr>
          <p:cNvPr id="10247" name="Rectangle 7">
            <a:extLst>
              <a:ext uri="{FF2B5EF4-FFF2-40B4-BE49-F238E27FC236}">
                <a16:creationId xmlns:a16="http://schemas.microsoft.com/office/drawing/2014/main" id="{4866D43E-0874-4FFC-A666-470B4239130C}"/>
              </a:ext>
            </a:extLst>
          </p:cNvPr>
          <p:cNvSpPr>
            <a:spLocks noGrp="1" noChangeArrowheads="1"/>
          </p:cNvSpPr>
          <p:nvPr>
            <p:ph type="sldNum" sz="quarter" idx="5"/>
          </p:nvPr>
        </p:nvSpPr>
        <p:spPr bwMode="auto">
          <a:xfrm>
            <a:off x="3884613" y="8685213"/>
            <a:ext cx="2971800" cy="4572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eaLnBrk="1" hangingPunct="1">
              <a:defRPr sz="1200"/>
            </a:lvl1pPr>
          </a:lstStyle>
          <a:p>
            <a:fld id="{3F5F9EDA-F266-42C4-ACEE-B2F97896B32F}" type="slidenum">
              <a:rPr lang="en-US" altLang="en-US"/>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S PGothic" panose="020B0600070205080204" pitchFamily="34"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S PGothic" panose="020B0600070205080204" pitchFamily="34"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S PGothic" panose="020B0600070205080204" pitchFamily="34"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S PGothic" panose="020B0600070205080204" pitchFamily="34"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S PGothic" panose="020B060007020508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rgbClr val="FF0000"/>
                </a:solidFill>
                <a:latin typeface="Arial" pitchFamily="34" charset="0"/>
                <a:ea typeface="MS PGothic" panose="020B0600070205080204" pitchFamily="34" charset="-128"/>
                <a:cs typeface="+mn-cs"/>
              </a:rPr>
              <a:t>May add the MOH logo if required/requested by host country government </a:t>
            </a:r>
          </a:p>
          <a:p>
            <a:endParaRPr lang="en-US" dirty="0">
              <a:solidFill>
                <a:srgbClr val="FF0000"/>
              </a:solidFill>
            </a:endParaRPr>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1</a:t>
            </a:fld>
            <a:endParaRPr lang="en-US" altLang="en-US"/>
          </a:p>
        </p:txBody>
      </p:sp>
    </p:spTree>
    <p:extLst>
      <p:ext uri="{BB962C8B-B14F-4D97-AF65-F5344CB8AC3E}">
        <p14:creationId xmlns:p14="http://schemas.microsoft.com/office/powerpoint/2010/main" val="5264361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2"/>
        <p:cNvGrpSpPr/>
        <p:nvPr/>
      </p:nvGrpSpPr>
      <p:grpSpPr>
        <a:xfrm>
          <a:off x="0" y="0"/>
          <a:ext cx="0" cy="0"/>
          <a:chOff x="0" y="0"/>
          <a:chExt cx="0" cy="0"/>
        </a:xfrm>
      </p:grpSpPr>
      <p:sp>
        <p:nvSpPr>
          <p:cNvPr id="573" name="Google Shape;573;gb8677dd733_1_8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dirty="0">
              <a:solidFill>
                <a:srgbClr val="464F61"/>
              </a:solidFill>
              <a:latin typeface="Arial"/>
              <a:ea typeface="Arial"/>
              <a:cs typeface="Arial"/>
              <a:sym typeface="Arial"/>
            </a:endParaRPr>
          </a:p>
        </p:txBody>
      </p:sp>
      <p:sp>
        <p:nvSpPr>
          <p:cNvPr id="574" name="Google Shape;574;gb8677dd733_1_8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700536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9"/>
        <p:cNvGrpSpPr/>
        <p:nvPr/>
      </p:nvGrpSpPr>
      <p:grpSpPr>
        <a:xfrm>
          <a:off x="0" y="0"/>
          <a:ext cx="0" cy="0"/>
          <a:chOff x="0" y="0"/>
          <a:chExt cx="0" cy="0"/>
        </a:xfrm>
      </p:grpSpPr>
      <p:sp>
        <p:nvSpPr>
          <p:cNvPr id="590" name="Google Shape;590;ge9eb37db0a_0_4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591" name="Google Shape;591;ge9eb37db0a_0_4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48276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2"/>
        <p:cNvGrpSpPr/>
        <p:nvPr/>
      </p:nvGrpSpPr>
      <p:grpSpPr>
        <a:xfrm>
          <a:off x="0" y="0"/>
          <a:ext cx="0" cy="0"/>
          <a:chOff x="0" y="0"/>
          <a:chExt cx="0" cy="0"/>
        </a:xfrm>
      </p:grpSpPr>
      <p:sp>
        <p:nvSpPr>
          <p:cNvPr id="573" name="Google Shape;573;gb8677dd733_1_8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dirty="0">
              <a:solidFill>
                <a:srgbClr val="464F61"/>
              </a:solidFill>
              <a:latin typeface="Arial"/>
              <a:ea typeface="Arial"/>
              <a:cs typeface="Arial"/>
              <a:sym typeface="Arial"/>
            </a:endParaRPr>
          </a:p>
        </p:txBody>
      </p:sp>
      <p:sp>
        <p:nvSpPr>
          <p:cNvPr id="574" name="Google Shape;574;gb8677dd733_1_8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04405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285157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876771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98274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dirty="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510149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3143914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r>
              <a:rPr lang="en-IN" sz="1200" dirty="0">
                <a:solidFill>
                  <a:schemeClr val="bg2"/>
                </a:solidFill>
              </a:rPr>
              <a:t>It should not be used when a nasal mucosal tear is suspected because of the risk of surgical emphysema</a:t>
            </a:r>
          </a:p>
          <a:p>
            <a:pPr marL="0" lvl="0" indent="0" algn="l" rtl="0">
              <a:lnSpc>
                <a:spcPct val="120000"/>
              </a:lnSpc>
              <a:spcBef>
                <a:spcPts val="0"/>
              </a:spcBef>
              <a:spcAft>
                <a:spcPts val="0"/>
              </a:spcAft>
              <a:buClr>
                <a:schemeClr val="dk1"/>
              </a:buClr>
              <a:buSzPts val="1100"/>
              <a:buFont typeface="Arial"/>
              <a:buNone/>
            </a:pPr>
            <a:endParaRPr sz="1100" dirty="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69102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a:extLst>
              <a:ext uri="{FF2B5EF4-FFF2-40B4-BE49-F238E27FC236}">
                <a16:creationId xmlns:a16="http://schemas.microsoft.com/office/drawing/2014/main" id="{ADC752A0-8228-4B9C-A42A-60A426430657}"/>
              </a:ext>
            </a:extLst>
          </p:cNvPr>
          <p:cNvSpPr>
            <a:spLocks noGrp="1" noRot="1" noChangeAspect="1" noChangeArrowheads="1" noTextEdit="1"/>
          </p:cNvSpPr>
          <p:nvPr>
            <p:ph type="sldImg"/>
          </p:nvPr>
        </p:nvSpPr>
        <p:spPr>
          <a:xfrm>
            <a:off x="1143000" y="685800"/>
            <a:ext cx="4572000" cy="3429000"/>
          </a:xfrm>
          <a:ln/>
        </p:spPr>
      </p:sp>
      <p:sp>
        <p:nvSpPr>
          <p:cNvPr id="14339" name="Notes Placeholder 2">
            <a:extLst>
              <a:ext uri="{FF2B5EF4-FFF2-40B4-BE49-F238E27FC236}">
                <a16:creationId xmlns:a16="http://schemas.microsoft.com/office/drawing/2014/main" id="{50BFC5E5-8FBC-4BD3-8323-B7D31A77308C}"/>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p>
        </p:txBody>
      </p:sp>
      <p:sp>
        <p:nvSpPr>
          <p:cNvPr id="14340" name="Slide Number Placeholder 3">
            <a:extLst>
              <a:ext uri="{FF2B5EF4-FFF2-40B4-BE49-F238E27FC236}">
                <a16:creationId xmlns:a16="http://schemas.microsoft.com/office/drawing/2014/main" id="{16D1D13D-F032-4ADF-A442-43F3CE7330CA}"/>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3A0D7806-9143-4C93-9A98-4930C5BC8301}" type="slidenum">
              <a:rPr lang="en-US" altLang="en-US">
                <a:solidFill>
                  <a:srgbClr val="000000"/>
                </a:solidFill>
                <a:latin typeface="Calibri" panose="020F0502020204030204" pitchFamily="34" charset="0"/>
              </a:rPr>
              <a:pPr/>
              <a:t>3</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38825684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2492068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095467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r>
              <a:rPr lang="en-GB" sz="1100" dirty="0">
                <a:solidFill>
                  <a:schemeClr val="bg2"/>
                </a:solidFill>
              </a:rPr>
              <a:t>Designed in such a way that it captures exhaled gases from initial part of expiration from the dead spaces </a:t>
            </a:r>
          </a:p>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r>
              <a:rPr lang="en-GB" sz="1100" dirty="0">
                <a:solidFill>
                  <a:schemeClr val="bg2"/>
                </a:solidFill>
              </a:rPr>
              <a:t>Useful in situations where supplies are limited</a:t>
            </a:r>
          </a:p>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endParaRPr lang="en-GB" sz="1100" dirty="0">
              <a:solidFill>
                <a:schemeClr val="bg2"/>
              </a:solidFill>
            </a:endParaRPr>
          </a:p>
          <a:p>
            <a:pPr marL="0" lvl="0" indent="0" algn="l" rtl="0">
              <a:lnSpc>
                <a:spcPct val="120000"/>
              </a:lnSpc>
              <a:spcBef>
                <a:spcPts val="0"/>
              </a:spcBef>
              <a:spcAft>
                <a:spcPts val="0"/>
              </a:spcAft>
              <a:buClr>
                <a:schemeClr val="dk1"/>
              </a:buClr>
              <a:buSzPts val="1100"/>
              <a:buFont typeface="Arial"/>
              <a:buNone/>
            </a:pPr>
            <a:endParaRPr sz="1100" dirty="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673296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r>
              <a:rPr lang="en-GB" sz="1200" dirty="0">
                <a:solidFill>
                  <a:schemeClr val="bg2"/>
                </a:solidFill>
              </a:rPr>
              <a:t>Ideally NRBM should not allow entrainment of air, but because of safety concerns one of the two exhalation ports is not provided with valve</a:t>
            </a:r>
          </a:p>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r>
              <a:rPr lang="en-GB" dirty="0">
                <a:solidFill>
                  <a:schemeClr val="bg2"/>
                </a:solidFill>
              </a:rPr>
              <a:t>Best results will be achieved by adequate flow rates such that the reservoir bag empties by no more than a third inspiration and by best seal possible between the mask and the face.</a:t>
            </a:r>
          </a:p>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endParaRPr lang="en-GB" sz="1200" dirty="0">
              <a:solidFill>
                <a:schemeClr val="bg2"/>
              </a:solidFill>
            </a:endParaRPr>
          </a:p>
          <a:p>
            <a:pPr marL="0" lvl="0" indent="0" algn="l" rtl="0">
              <a:lnSpc>
                <a:spcPct val="120000"/>
              </a:lnSpc>
              <a:spcBef>
                <a:spcPts val="0"/>
              </a:spcBef>
              <a:spcAft>
                <a:spcPts val="0"/>
              </a:spcAft>
              <a:buClr>
                <a:schemeClr val="dk1"/>
              </a:buClr>
              <a:buSzPts val="1100"/>
              <a:buFont typeface="Arial"/>
              <a:buNone/>
            </a:pPr>
            <a:endParaRPr sz="1100" dirty="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1573698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5675765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197294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r>
              <a:rPr lang="en-GB" sz="1600" b="0" i="0" dirty="0">
                <a:solidFill>
                  <a:srgbClr val="202124"/>
                </a:solidFill>
                <a:effectLst/>
                <a:latin typeface="arial" panose="020B0604020202020204" pitchFamily="34" charset="0"/>
              </a:rPr>
              <a:t>“Bernoulli's principle is </a:t>
            </a:r>
            <a:r>
              <a:rPr lang="en-GB" sz="1600" b="1" i="0" dirty="0">
                <a:solidFill>
                  <a:srgbClr val="202124"/>
                </a:solidFill>
                <a:effectLst/>
                <a:latin typeface="arial" panose="020B0604020202020204" pitchFamily="34" charset="0"/>
              </a:rPr>
              <a:t>an idea of fluid dynamics</a:t>
            </a:r>
            <a:r>
              <a:rPr lang="en-GB" sz="1600" b="0" i="0" dirty="0">
                <a:solidFill>
                  <a:srgbClr val="202124"/>
                </a:solidFill>
                <a:effectLst/>
                <a:latin typeface="arial" panose="020B0604020202020204" pitchFamily="34" charset="0"/>
              </a:rPr>
              <a:t>. It says that as speed of the fluid increases, pressure decreases. A higher pressure pushes (accelerates) fluid toward lower pressure. So any change in a fluid's speed must be matched by a change in pressure (force)”</a:t>
            </a:r>
          </a:p>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r>
              <a:rPr lang="en-GB" sz="1800" dirty="0">
                <a:solidFill>
                  <a:schemeClr val="bg2"/>
                </a:solidFill>
              </a:rPr>
              <a:t>Not synonymous with high concentration of oxygen</a:t>
            </a:r>
          </a:p>
          <a:p>
            <a:pPr marL="0" lvl="0" indent="0" algn="l" rtl="0">
              <a:lnSpc>
                <a:spcPct val="120000"/>
              </a:lnSpc>
              <a:spcBef>
                <a:spcPts val="0"/>
              </a:spcBef>
              <a:spcAft>
                <a:spcPts val="0"/>
              </a:spcAft>
              <a:buClr>
                <a:schemeClr val="dk1"/>
              </a:buClr>
              <a:buSzPts val="1100"/>
              <a:buFont typeface="Arial"/>
              <a:buNone/>
            </a:pPr>
            <a:endParaRPr lang="en-GB" sz="1600" b="0" i="0" dirty="0">
              <a:solidFill>
                <a:srgbClr val="202124"/>
              </a:solidFill>
              <a:effectLst/>
              <a:latin typeface="arial" panose="020B0604020202020204" pitchFamily="34" charset="0"/>
            </a:endParaRPr>
          </a:p>
          <a:p>
            <a:pPr marL="0" lvl="0" indent="0" algn="l" rtl="0">
              <a:lnSpc>
                <a:spcPct val="120000"/>
              </a:lnSpc>
              <a:spcBef>
                <a:spcPts val="0"/>
              </a:spcBef>
              <a:spcAft>
                <a:spcPts val="0"/>
              </a:spcAft>
              <a:buClr>
                <a:schemeClr val="dk1"/>
              </a:buClr>
              <a:buSzPts val="1100"/>
              <a:buFont typeface="Arial"/>
              <a:buNone/>
            </a:pPr>
            <a:endParaRPr sz="1100" dirty="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606131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31</a:t>
            </a:fld>
            <a:endParaRPr lang="en-US" altLang="en-US"/>
          </a:p>
        </p:txBody>
      </p:sp>
    </p:spTree>
    <p:extLst>
      <p:ext uri="{BB962C8B-B14F-4D97-AF65-F5344CB8AC3E}">
        <p14:creationId xmlns:p14="http://schemas.microsoft.com/office/powerpoint/2010/main" val="2871251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r>
              <a:rPr lang="en-IN" sz="1200" dirty="0">
                <a:solidFill>
                  <a:schemeClr val="bg2"/>
                </a:solidFill>
              </a:rPr>
              <a:t>Therefore, there is no rebreathing and no increase in dead space.</a:t>
            </a:r>
            <a:endParaRPr sz="1100" dirty="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1211484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2373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4</a:t>
            </a:fld>
            <a:endParaRPr lang="en-US" altLang="en-US"/>
          </a:p>
        </p:txBody>
      </p:sp>
    </p:spTree>
    <p:extLst>
      <p:ext uri="{BB962C8B-B14F-4D97-AF65-F5344CB8AC3E}">
        <p14:creationId xmlns:p14="http://schemas.microsoft.com/office/powerpoint/2010/main" val="28766205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r>
              <a:rPr lang="en-GB" sz="1200" dirty="0">
                <a:solidFill>
                  <a:schemeClr val="bg2"/>
                </a:solidFill>
              </a:rPr>
              <a:t>In patients with respiratory distress or failure, oxygen by humidified high-flow nasal cannula may be better tolerated than by face mask</a:t>
            </a:r>
          </a:p>
          <a:p>
            <a:pPr marL="0" lvl="0" indent="0" algn="l" rtl="0">
              <a:lnSpc>
                <a:spcPct val="120000"/>
              </a:lnSpc>
              <a:spcBef>
                <a:spcPts val="0"/>
              </a:spcBef>
              <a:spcAft>
                <a:spcPts val="0"/>
              </a:spcAft>
              <a:buClr>
                <a:schemeClr val="dk1"/>
              </a:buClr>
              <a:buSzPts val="1100"/>
              <a:buFont typeface="Arial"/>
              <a:buNone/>
            </a:pPr>
            <a:endParaRPr sz="1100" dirty="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329980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9873164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943670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0" i="0" u="none" strike="noStrike" baseline="0" dirty="0">
                <a:solidFill>
                  <a:schemeClr val="bg2"/>
                </a:solidFill>
                <a:latin typeface="Arial" panose="020B0604020202020204" pitchFamily="34" charset="0"/>
              </a:rPr>
              <a:t>HFNC device should be used only in the </a:t>
            </a:r>
            <a:r>
              <a:rPr lang="en-IN" b="0" i="0" u="none" strike="noStrike" baseline="0" dirty="0" err="1">
                <a:solidFill>
                  <a:schemeClr val="bg2"/>
                </a:solidFill>
                <a:latin typeface="Arial" panose="020B0604020202020204" pitchFamily="34" charset="0"/>
              </a:rPr>
              <a:t>lCU</a:t>
            </a:r>
            <a:r>
              <a:rPr lang="en-IN" b="0" i="0" u="none" strike="noStrike" baseline="0" dirty="0">
                <a:solidFill>
                  <a:schemeClr val="bg2"/>
                </a:solidFill>
                <a:latin typeface="Arial" panose="020B0604020202020204" pitchFamily="34" charset="0"/>
              </a:rPr>
              <a:t> setting under</a:t>
            </a:r>
            <a:r>
              <a:rPr lang="en-IN" dirty="0">
                <a:solidFill>
                  <a:schemeClr val="bg2"/>
                </a:solidFill>
                <a:latin typeface="Arial" panose="020B0604020202020204" pitchFamily="34" charset="0"/>
              </a:rPr>
              <a:t> </a:t>
            </a:r>
            <a:r>
              <a:rPr lang="en-IN" b="0" i="0" u="none" strike="noStrike" baseline="0" dirty="0">
                <a:solidFill>
                  <a:schemeClr val="bg2"/>
                </a:solidFill>
                <a:latin typeface="Arial" panose="020B0604020202020204" pitchFamily="34" charset="0"/>
              </a:rPr>
              <a:t>supervision of a respiratory physician. Patient should be put on </a:t>
            </a:r>
            <a:r>
              <a:rPr lang="en-GB" b="0" i="0" u="none" strike="noStrike" baseline="0" dirty="0">
                <a:solidFill>
                  <a:schemeClr val="bg2"/>
                </a:solidFill>
                <a:latin typeface="Arial" panose="020B0604020202020204" pitchFamily="34" charset="0"/>
              </a:rPr>
              <a:t>HFNC only after approval of the senior most respiratory physician.</a:t>
            </a:r>
            <a:endParaRPr lang="en-IN"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Arial"/>
                <a:ea typeface="Arial"/>
                <a:cs typeface="Arial"/>
                <a:sym typeface="Arial"/>
              </a:rPr>
              <a:t>40</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0569873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8"/>
        <p:cNvGrpSpPr/>
        <p:nvPr/>
      </p:nvGrpSpPr>
      <p:grpSpPr>
        <a:xfrm>
          <a:off x="0" y="0"/>
          <a:ext cx="0" cy="0"/>
          <a:chOff x="0" y="0"/>
          <a:chExt cx="0" cy="0"/>
        </a:xfrm>
      </p:grpSpPr>
      <p:sp>
        <p:nvSpPr>
          <p:cNvPr id="599" name="Google Shape;599;ge9eb37db0a_0_5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r>
              <a:rPr lang="en-GB" sz="1200" b="0" i="0" u="none" strike="noStrike" baseline="0" dirty="0">
                <a:solidFill>
                  <a:schemeClr val="bg2"/>
                </a:solidFill>
                <a:latin typeface="Arial" panose="020B0604020202020204" pitchFamily="34" charset="0"/>
              </a:rPr>
              <a:t>One may prone for up to 16 hours a day, in multiple cycles, as felt comfortable.</a:t>
            </a:r>
            <a:endParaRPr lang="en-IN" sz="1200" dirty="0">
              <a:solidFill>
                <a:schemeClr val="bg2"/>
              </a:solidFill>
              <a:latin typeface="Arial" panose="020B0604020202020204" pitchFamily="34" charset="0"/>
            </a:endParaRPr>
          </a:p>
          <a:p>
            <a:pPr marL="0" lvl="0" indent="0" algn="l" rtl="0">
              <a:lnSpc>
                <a:spcPct val="120000"/>
              </a:lnSpc>
              <a:spcBef>
                <a:spcPts val="0"/>
              </a:spcBef>
              <a:spcAft>
                <a:spcPts val="0"/>
              </a:spcAft>
              <a:buClr>
                <a:schemeClr val="dk1"/>
              </a:buClr>
              <a:buSzPts val="1100"/>
              <a:buFont typeface="Arial"/>
              <a:buNone/>
            </a:pPr>
            <a:endParaRPr sz="1100" dirty="0">
              <a:solidFill>
                <a:srgbClr val="464F61"/>
              </a:solidFill>
              <a:latin typeface="Arial"/>
              <a:ea typeface="Arial"/>
              <a:cs typeface="Arial"/>
              <a:sym typeface="Arial"/>
            </a:endParaRPr>
          </a:p>
        </p:txBody>
      </p:sp>
      <p:sp>
        <p:nvSpPr>
          <p:cNvPr id="600" name="Google Shape;600;ge9eb37db0a_0_51: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7719135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42</a:t>
            </a:fld>
            <a:endParaRPr lang="en-US" altLang="en-US"/>
          </a:p>
        </p:txBody>
      </p:sp>
    </p:spTree>
    <p:extLst>
      <p:ext uri="{BB962C8B-B14F-4D97-AF65-F5344CB8AC3E}">
        <p14:creationId xmlns:p14="http://schemas.microsoft.com/office/powerpoint/2010/main" val="1599731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rgbClr val="FF0000"/>
                </a:solidFill>
                <a:latin typeface="Arial" pitchFamily="34" charset="0"/>
                <a:ea typeface="MS PGothic" panose="020B0600070205080204" pitchFamily="34" charset="-128"/>
                <a:cs typeface="+mn-cs"/>
              </a:rPr>
              <a:t>May add the MOH logo if required/requested by host country government </a:t>
            </a:r>
          </a:p>
          <a:p>
            <a:endParaRPr lang="en-US" dirty="0">
              <a:solidFill>
                <a:srgbClr val="FF0000"/>
              </a:solidFill>
            </a:endParaRPr>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43</a:t>
            </a:fld>
            <a:endParaRPr lang="en-US" altLang="en-US"/>
          </a:p>
        </p:txBody>
      </p:sp>
    </p:spTree>
    <p:extLst>
      <p:ext uri="{BB962C8B-B14F-4D97-AF65-F5344CB8AC3E}">
        <p14:creationId xmlns:p14="http://schemas.microsoft.com/office/powerpoint/2010/main" val="5264361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dirty="0">
                <a:effectLst/>
              </a:rPr>
              <a:t>A </a:t>
            </a:r>
            <a:r>
              <a:rPr lang="en-IN" sz="1200" b="1" dirty="0">
                <a:effectLst/>
              </a:rPr>
              <a:t>single concentrator can service several beds </a:t>
            </a:r>
            <a:r>
              <a:rPr lang="en-IN" sz="1200" dirty="0">
                <a:effectLst/>
              </a:rPr>
              <a:t>with the use of a flowmeter stand to split output flow. </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26CDCA44-EBCC-E244-B730-CC6F81280AB2}"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945156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47</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228721354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53</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22427253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rgbClr val="FF0000"/>
                </a:solidFill>
                <a:latin typeface="Arial" pitchFamily="34" charset="0"/>
                <a:ea typeface="MS PGothic" panose="020B0600070205080204" pitchFamily="34" charset="-128"/>
                <a:cs typeface="+mn-cs"/>
              </a:rPr>
              <a:t>May add the MOH logo if required/requested by host country government </a:t>
            </a:r>
          </a:p>
          <a:p>
            <a:endParaRPr lang="en-US" dirty="0">
              <a:solidFill>
                <a:srgbClr val="FF0000"/>
              </a:solidFill>
            </a:endParaRPr>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5</a:t>
            </a:fld>
            <a:endParaRPr lang="en-US" altLang="en-US"/>
          </a:p>
        </p:txBody>
      </p:sp>
    </p:spTree>
    <p:extLst>
      <p:ext uri="{BB962C8B-B14F-4D97-AF65-F5344CB8AC3E}">
        <p14:creationId xmlns:p14="http://schemas.microsoft.com/office/powerpoint/2010/main" val="5264361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57</a:t>
            </a:fld>
            <a:endParaRPr lang="en-US" altLang="en-US"/>
          </a:p>
        </p:txBody>
      </p:sp>
    </p:spTree>
    <p:extLst>
      <p:ext uri="{BB962C8B-B14F-4D97-AF65-F5344CB8AC3E}">
        <p14:creationId xmlns:p14="http://schemas.microsoft.com/office/powerpoint/2010/main" val="28696002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65</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20290246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9C9A44C7-5E44-374B-B603-8904A479430B}" type="datetime1">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2/2/20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CC780FF7-5471-054E-ABA0-7DACD7F178D9}"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877722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9C9A44C7-5E44-374B-B603-8904A479430B}" type="datetime1">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2/2/202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CC780FF7-5471-054E-ABA0-7DACD7F178D9}"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130724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75</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41246764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76</a:t>
            </a:fld>
            <a:endParaRPr lang="en-US" altLang="en-US"/>
          </a:p>
        </p:txBody>
      </p:sp>
    </p:spTree>
    <p:extLst>
      <p:ext uri="{BB962C8B-B14F-4D97-AF65-F5344CB8AC3E}">
        <p14:creationId xmlns:p14="http://schemas.microsoft.com/office/powerpoint/2010/main" val="416083212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83</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331625726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85</a:t>
            </a:fld>
            <a:endParaRPr lang="en-US" altLang="en-US"/>
          </a:p>
        </p:txBody>
      </p:sp>
    </p:spTree>
    <p:extLst>
      <p:ext uri="{BB962C8B-B14F-4D97-AF65-F5344CB8AC3E}">
        <p14:creationId xmlns:p14="http://schemas.microsoft.com/office/powerpoint/2010/main" val="1518837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87</a:t>
            </a:fld>
            <a:endParaRPr lang="en-US" altLang="en-US"/>
          </a:p>
        </p:txBody>
      </p:sp>
    </p:spTree>
    <p:extLst>
      <p:ext uri="{BB962C8B-B14F-4D97-AF65-F5344CB8AC3E}">
        <p14:creationId xmlns:p14="http://schemas.microsoft.com/office/powerpoint/2010/main" val="27228575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rgbClr val="FF0000"/>
                </a:solidFill>
                <a:latin typeface="Arial" pitchFamily="34" charset="0"/>
                <a:ea typeface="MS PGothic" panose="020B0600070205080204" pitchFamily="34" charset="-128"/>
                <a:cs typeface="+mn-cs"/>
              </a:rPr>
              <a:t>May add the MOH logo if required/requested by host country government </a:t>
            </a:r>
          </a:p>
          <a:p>
            <a:endParaRPr lang="en-US" dirty="0">
              <a:solidFill>
                <a:srgbClr val="FF0000"/>
              </a:solidFill>
            </a:endParaRPr>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88</a:t>
            </a:fld>
            <a:endParaRPr lang="en-US" altLang="en-US"/>
          </a:p>
        </p:txBody>
      </p:sp>
    </p:spTree>
    <p:extLst>
      <p:ext uri="{BB962C8B-B14F-4D97-AF65-F5344CB8AC3E}">
        <p14:creationId xmlns:p14="http://schemas.microsoft.com/office/powerpoint/2010/main" val="526436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6"/>
        <p:cNvGrpSpPr/>
        <p:nvPr/>
      </p:nvGrpSpPr>
      <p:grpSpPr>
        <a:xfrm>
          <a:off x="0" y="0"/>
          <a:ext cx="0" cy="0"/>
          <a:chOff x="0" y="0"/>
          <a:chExt cx="0" cy="0"/>
        </a:xfrm>
      </p:grpSpPr>
      <p:sp>
        <p:nvSpPr>
          <p:cNvPr id="527" name="Google Shape;527;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28" name="Google Shape;528;p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6"/>
        <p:cNvGrpSpPr/>
        <p:nvPr/>
      </p:nvGrpSpPr>
      <p:grpSpPr>
        <a:xfrm>
          <a:off x="0" y="0"/>
          <a:ext cx="0" cy="0"/>
          <a:chOff x="0" y="0"/>
          <a:chExt cx="0" cy="0"/>
        </a:xfrm>
      </p:grpSpPr>
      <p:sp>
        <p:nvSpPr>
          <p:cNvPr id="527" name="Google Shape;527;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28" name="Google Shape;528;p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547198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96</a:t>
            </a:fld>
            <a:endParaRPr lang="en-US" altLang="en-US" dirty="0"/>
          </a:p>
        </p:txBody>
      </p:sp>
    </p:spTree>
    <p:extLst>
      <p:ext uri="{BB962C8B-B14F-4D97-AF65-F5344CB8AC3E}">
        <p14:creationId xmlns:p14="http://schemas.microsoft.com/office/powerpoint/2010/main" val="1810088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97</a:t>
            </a:fld>
            <a:endParaRPr lang="en-US" altLang="en-US" dirty="0"/>
          </a:p>
        </p:txBody>
      </p:sp>
    </p:spTree>
    <p:extLst>
      <p:ext uri="{BB962C8B-B14F-4D97-AF65-F5344CB8AC3E}">
        <p14:creationId xmlns:p14="http://schemas.microsoft.com/office/powerpoint/2010/main" val="34975552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98</a:t>
            </a:fld>
            <a:endParaRPr lang="en-US" altLang="en-US" dirty="0"/>
          </a:p>
        </p:txBody>
      </p:sp>
    </p:spTree>
    <p:extLst>
      <p:ext uri="{BB962C8B-B14F-4D97-AF65-F5344CB8AC3E}">
        <p14:creationId xmlns:p14="http://schemas.microsoft.com/office/powerpoint/2010/main" val="32013437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99</a:t>
            </a:fld>
            <a:endParaRPr lang="en-US" altLang="en-US" dirty="0"/>
          </a:p>
        </p:txBody>
      </p:sp>
    </p:spTree>
    <p:extLst>
      <p:ext uri="{BB962C8B-B14F-4D97-AF65-F5344CB8AC3E}">
        <p14:creationId xmlns:p14="http://schemas.microsoft.com/office/powerpoint/2010/main" val="13654033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100</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228721354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103</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42350918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112</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283684377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137</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36321332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effectLst/>
                <a:latin typeface="Calibri" panose="020F0502020204030204" pitchFamily="34" charset="0"/>
                <a:ea typeface="Gill Sans"/>
                <a:cs typeface="Gill Sans"/>
              </a:rPr>
              <a:t>Objective 1: Technical assistance to strengthen the oxygen ecosystem at the state/national level </a:t>
            </a:r>
            <a:endParaRPr lang="en-US" sz="1200" dirty="0">
              <a:effectLst/>
              <a:latin typeface="Calibri" panose="020F0502020204030204" pitchFamily="34" charset="0"/>
              <a:ea typeface="Calibri" panose="020F0502020204030204" pitchFamily="34" charset="0"/>
              <a:cs typeface="Mangal" panose="02040503050203030202" pitchFamily="18" charset="0"/>
            </a:endParaRPr>
          </a:p>
          <a:p>
            <a:r>
              <a:rPr lang="en-US" sz="1200" b="1" dirty="0">
                <a:effectLst/>
                <a:latin typeface="Calibri" panose="020F0502020204030204" pitchFamily="34" charset="0"/>
                <a:ea typeface="Gill Sans"/>
                <a:cs typeface="Gill Sans"/>
              </a:rPr>
              <a:t>Objective 2: Technical support to identified states for effective planning and augmenting the capacity of tertiary healthcare facilities for setting up of PSA plants and ensuring adequate supply of required consumables and drugs to ensure optimal utilization of Oxygen</a:t>
            </a:r>
          </a:p>
          <a:p>
            <a:r>
              <a:rPr lang="en-US" sz="1200" b="1" dirty="0">
                <a:effectLst/>
                <a:latin typeface="Calibri" panose="020F0502020204030204" pitchFamily="34" charset="0"/>
                <a:ea typeface="Calibri" panose="020F0502020204030204" pitchFamily="34" charset="0"/>
                <a:cs typeface="Mangal" panose="02040503050203030202" pitchFamily="18" charset="0"/>
              </a:rPr>
              <a:t>Objective 3: </a:t>
            </a:r>
            <a:r>
              <a:rPr lang="en-US" sz="1200" b="1" dirty="0">
                <a:effectLst/>
                <a:latin typeface="Calibri" panose="020F0502020204030204" pitchFamily="34" charset="0"/>
                <a:ea typeface="Gill Sans"/>
                <a:cs typeface="Gill Sans"/>
              </a:rPr>
              <a:t>Procurement and deployment of oxygen concentrators at the secondary and primary healthcare facilities for effective management of the COVID-19 pandemic at community level</a:t>
            </a:r>
            <a:r>
              <a:rPr lang="en-US" sz="1200" b="1" dirty="0">
                <a:effectLst/>
                <a:latin typeface="Calibri" panose="020F0502020204030204" pitchFamily="34" charset="0"/>
                <a:ea typeface="Calibri" panose="020F0502020204030204" pitchFamily="34" charset="0"/>
                <a:cs typeface="Mangal" panose="02040503050203030202" pitchFamily="18" charset="0"/>
              </a:rPr>
              <a:t>   </a:t>
            </a:r>
            <a:endParaRPr lang="en-US" sz="1200" dirty="0">
              <a:effectLst/>
              <a:latin typeface="Calibri" panose="020F0502020204030204" pitchFamily="34" charset="0"/>
              <a:ea typeface="Calibri" panose="020F0502020204030204" pitchFamily="34" charset="0"/>
              <a:cs typeface="Mangal" panose="02040503050203030202"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447DE9-B0B1-47DF-A2A7-82A69B6EF4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97412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9"/>
        <p:cNvGrpSpPr/>
        <p:nvPr/>
      </p:nvGrpSpPr>
      <p:grpSpPr>
        <a:xfrm>
          <a:off x="0" y="0"/>
          <a:ext cx="0" cy="0"/>
          <a:chOff x="0" y="0"/>
          <a:chExt cx="0" cy="0"/>
        </a:xfrm>
      </p:grpSpPr>
      <p:sp>
        <p:nvSpPr>
          <p:cNvPr id="550" name="Google Shape;550;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r>
              <a:rPr lang="en-US" sz="1200" dirty="0">
                <a:solidFill>
                  <a:schemeClr val="dk2"/>
                </a:solidFill>
                <a:latin typeface="+mn-lt"/>
              </a:rPr>
              <a:t>Oxygen is an essential medicine used to care for patients </a:t>
            </a:r>
            <a:r>
              <a:rPr lang="en-US" sz="1200" b="1" u="sng" dirty="0">
                <a:solidFill>
                  <a:schemeClr val="accent1"/>
                </a:solidFill>
                <a:latin typeface="+mn-lt"/>
              </a:rPr>
              <a:t>at all levels of the healthcare system</a:t>
            </a:r>
            <a:r>
              <a:rPr lang="en-US" sz="1200" dirty="0">
                <a:solidFill>
                  <a:schemeClr val="dk2"/>
                </a:solidFill>
                <a:latin typeface="+mn-lt"/>
              </a:rPr>
              <a:t>, including in surgery, trauma, heart failure, asthma, </a:t>
            </a:r>
            <a:r>
              <a:rPr lang="en-US" sz="1200" dirty="0">
                <a:solidFill>
                  <a:schemeClr val="bg2"/>
                </a:solidFill>
                <a:latin typeface="+mn-lt"/>
              </a:rPr>
              <a:t>pneumonia and maternal and child care.</a:t>
            </a:r>
          </a:p>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r>
              <a:rPr lang="en-GB" sz="1200" b="0" i="0" u="none" strike="noStrike" baseline="0" dirty="0">
                <a:solidFill>
                  <a:schemeClr val="bg2"/>
                </a:solidFill>
                <a:latin typeface="+mn-lt"/>
              </a:rPr>
              <a:t>In </a:t>
            </a:r>
            <a:r>
              <a:rPr lang="en-GB" sz="1200" b="1" i="0" u="sng" strike="noStrike" baseline="0" dirty="0">
                <a:solidFill>
                  <a:schemeClr val="accent1"/>
                </a:solidFill>
                <a:latin typeface="+mn-lt"/>
              </a:rPr>
              <a:t>COVID-19 patients </a:t>
            </a:r>
            <a:r>
              <a:rPr lang="en-GB" sz="1200" b="0" i="0" u="none" strike="noStrike" baseline="0" dirty="0">
                <a:solidFill>
                  <a:schemeClr val="bg2"/>
                </a:solidFill>
                <a:latin typeface="+mn-lt"/>
              </a:rPr>
              <a:t>demand of oxygen varies, starting about 5th day onwards. Right amount of oxygen at golden hour is life saving.</a:t>
            </a:r>
          </a:p>
          <a:p>
            <a:pPr marL="0" marR="0" lvl="0" indent="0" algn="l" defTabSz="914400" rtl="0" eaLnBrk="1" fontAlgn="auto" latinLnBrk="0" hangingPunct="1">
              <a:lnSpc>
                <a:spcPct val="120000"/>
              </a:lnSpc>
              <a:spcBef>
                <a:spcPts val="0"/>
              </a:spcBef>
              <a:spcAft>
                <a:spcPts val="0"/>
              </a:spcAft>
              <a:buClr>
                <a:schemeClr val="dk1"/>
              </a:buClr>
              <a:buSzPts val="1100"/>
              <a:buFont typeface="Arial"/>
              <a:buNone/>
              <a:tabLst/>
              <a:defRPr/>
            </a:pPr>
            <a:r>
              <a:rPr lang="en-US" sz="1200" dirty="0">
                <a:solidFill>
                  <a:schemeClr val="dk2"/>
                </a:solidFill>
                <a:latin typeface="+mn-lt"/>
              </a:rPr>
              <a:t>The need for oxygen has </a:t>
            </a:r>
            <a:r>
              <a:rPr lang="en-US" sz="1200" b="1" u="sng" dirty="0">
                <a:solidFill>
                  <a:schemeClr val="accent1"/>
                </a:solidFill>
                <a:latin typeface="+mn-lt"/>
              </a:rPr>
              <a:t>increased to 1.1 million </a:t>
            </a:r>
            <a:r>
              <a:rPr lang="en-US" sz="1200" dirty="0">
                <a:solidFill>
                  <a:schemeClr val="dk2"/>
                </a:solidFill>
                <a:latin typeface="+mn-lt"/>
              </a:rPr>
              <a:t>cylinders in low to middle-income countries alone.</a:t>
            </a:r>
          </a:p>
          <a:p>
            <a:pPr marL="0" lvl="0" indent="0" algn="l" rtl="0">
              <a:lnSpc>
                <a:spcPct val="120000"/>
              </a:lnSpc>
              <a:spcBef>
                <a:spcPts val="0"/>
              </a:spcBef>
              <a:spcAft>
                <a:spcPts val="0"/>
              </a:spcAft>
              <a:buClr>
                <a:schemeClr val="dk1"/>
              </a:buClr>
              <a:buSzPts val="1100"/>
              <a:buFont typeface="Arial"/>
              <a:buNone/>
            </a:pPr>
            <a:endParaRPr sz="1100" dirty="0">
              <a:solidFill>
                <a:srgbClr val="464F61"/>
              </a:solidFill>
              <a:latin typeface="Arial"/>
              <a:ea typeface="Arial"/>
              <a:cs typeface="Arial"/>
              <a:sym typeface="Arial"/>
            </a:endParaRPr>
          </a:p>
        </p:txBody>
      </p:sp>
      <p:sp>
        <p:nvSpPr>
          <p:cNvPr id="551" name="Google Shape;551;p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effectLst/>
                <a:latin typeface="Calibri" panose="020F0502020204030204" pitchFamily="34" charset="0"/>
                <a:ea typeface="Gill Sans"/>
                <a:cs typeface="Gill Sans"/>
              </a:rPr>
              <a:t>Objective 1: Technical assistance to strengthen the oxygen ecosystem at the state/national level </a:t>
            </a:r>
            <a:endParaRPr lang="en-US" sz="1200" dirty="0">
              <a:effectLst/>
              <a:latin typeface="Calibri" panose="020F0502020204030204" pitchFamily="34" charset="0"/>
              <a:ea typeface="Calibri" panose="020F0502020204030204" pitchFamily="34" charset="0"/>
              <a:cs typeface="Mangal" panose="02040503050203030202" pitchFamily="18" charset="0"/>
            </a:endParaRPr>
          </a:p>
          <a:p>
            <a:r>
              <a:rPr lang="en-US" sz="1200" b="1" dirty="0">
                <a:effectLst/>
                <a:latin typeface="Calibri" panose="020F0502020204030204" pitchFamily="34" charset="0"/>
                <a:ea typeface="Gill Sans"/>
                <a:cs typeface="Gill Sans"/>
              </a:rPr>
              <a:t>Objective 2: Technical support to identified states for effective planning and augmenting the capacity of tertiary healthcare facilities for setting up of PSA plants and ensuring adequate supply of required consumables and drugs to ensure optimal utilization of Oxygen</a:t>
            </a:r>
          </a:p>
          <a:p>
            <a:r>
              <a:rPr lang="en-US" sz="1200" b="1" dirty="0">
                <a:effectLst/>
                <a:latin typeface="Calibri" panose="020F0502020204030204" pitchFamily="34" charset="0"/>
                <a:ea typeface="Calibri" panose="020F0502020204030204" pitchFamily="34" charset="0"/>
                <a:cs typeface="Mangal" panose="02040503050203030202" pitchFamily="18" charset="0"/>
              </a:rPr>
              <a:t>Objective 3: </a:t>
            </a:r>
            <a:r>
              <a:rPr lang="en-US" sz="1200" b="1" dirty="0">
                <a:effectLst/>
                <a:latin typeface="Calibri" panose="020F0502020204030204" pitchFamily="34" charset="0"/>
                <a:ea typeface="Gill Sans"/>
                <a:cs typeface="Gill Sans"/>
              </a:rPr>
              <a:t>Procurement and deployment of oxygen concentrators at the secondary and primary healthcare facilities for effective management of the COVID-19 pandemic at community level</a:t>
            </a:r>
            <a:r>
              <a:rPr lang="en-US" sz="1200" b="1" dirty="0">
                <a:effectLst/>
                <a:latin typeface="Calibri" panose="020F0502020204030204" pitchFamily="34" charset="0"/>
                <a:ea typeface="Calibri" panose="020F0502020204030204" pitchFamily="34" charset="0"/>
                <a:cs typeface="Mangal" panose="02040503050203030202" pitchFamily="18" charset="0"/>
              </a:rPr>
              <a:t>   </a:t>
            </a:r>
            <a:endParaRPr lang="en-US" sz="1200" dirty="0">
              <a:effectLst/>
              <a:latin typeface="Calibri" panose="020F0502020204030204" pitchFamily="34" charset="0"/>
              <a:ea typeface="Calibri" panose="020F0502020204030204" pitchFamily="34" charset="0"/>
              <a:cs typeface="Mangal" panose="02040503050203030202"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447DE9-B0B1-47DF-A2A7-82A69B6EF4C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09220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140</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29917009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effectLst/>
                <a:latin typeface="Calibri" panose="020F0502020204030204" pitchFamily="34" charset="0"/>
                <a:ea typeface="Gill Sans"/>
                <a:cs typeface="Gill Sans"/>
              </a:rPr>
              <a:t>Objective 1: Technical assistance to strengthen the oxygen ecosystem at the state/national level </a:t>
            </a:r>
            <a:endParaRPr lang="en-US" sz="1200" dirty="0">
              <a:effectLst/>
              <a:latin typeface="Calibri" panose="020F0502020204030204" pitchFamily="34" charset="0"/>
              <a:ea typeface="Calibri" panose="020F0502020204030204" pitchFamily="34" charset="0"/>
              <a:cs typeface="Mangal" panose="02040503050203030202" pitchFamily="18" charset="0"/>
            </a:endParaRPr>
          </a:p>
          <a:p>
            <a:r>
              <a:rPr lang="en-US" sz="1200" b="1" dirty="0">
                <a:effectLst/>
                <a:latin typeface="Calibri" panose="020F0502020204030204" pitchFamily="34" charset="0"/>
                <a:ea typeface="Gill Sans"/>
                <a:cs typeface="Gill Sans"/>
              </a:rPr>
              <a:t>Objective 2: Technical support to identified states for effective planning and augmenting the capacity of tertiary healthcare facilities for setting up of PSA plants and ensuring adequate supply of required consumables and drugs to ensure optimal utilization of Oxygen</a:t>
            </a:r>
          </a:p>
          <a:p>
            <a:r>
              <a:rPr lang="en-US" sz="1200" b="1" dirty="0">
                <a:effectLst/>
                <a:latin typeface="Calibri" panose="020F0502020204030204" pitchFamily="34" charset="0"/>
                <a:ea typeface="Calibri" panose="020F0502020204030204" pitchFamily="34" charset="0"/>
                <a:cs typeface="Mangal" panose="02040503050203030202" pitchFamily="18" charset="0"/>
              </a:rPr>
              <a:t>Objective 3: </a:t>
            </a:r>
            <a:r>
              <a:rPr lang="en-US" sz="1200" b="1" dirty="0">
                <a:effectLst/>
                <a:latin typeface="Calibri" panose="020F0502020204030204" pitchFamily="34" charset="0"/>
                <a:ea typeface="Gill Sans"/>
                <a:cs typeface="Gill Sans"/>
              </a:rPr>
              <a:t>Procurement and deployment of oxygen concentrators at the secondary and primary healthcare facilities for effective management of the COVID-19 pandemic at community level</a:t>
            </a:r>
            <a:r>
              <a:rPr lang="en-US" sz="1200" b="1" dirty="0">
                <a:effectLst/>
                <a:latin typeface="Calibri" panose="020F0502020204030204" pitchFamily="34" charset="0"/>
                <a:ea typeface="Calibri" panose="020F0502020204030204" pitchFamily="34" charset="0"/>
                <a:cs typeface="Mangal" panose="02040503050203030202" pitchFamily="18" charset="0"/>
              </a:rPr>
              <a:t>   </a:t>
            </a:r>
            <a:endParaRPr lang="en-US" sz="1200" dirty="0">
              <a:effectLst/>
              <a:latin typeface="Calibri" panose="020F0502020204030204" pitchFamily="34" charset="0"/>
              <a:ea typeface="Calibri" panose="020F0502020204030204" pitchFamily="34" charset="0"/>
              <a:cs typeface="Mangal" panose="02040503050203030202" pitchFamily="18" charset="0"/>
            </a:endParaRPr>
          </a:p>
          <a:p>
            <a:endParaRPr lang="en-US" dirty="0"/>
          </a:p>
        </p:txBody>
      </p:sp>
      <p:sp>
        <p:nvSpPr>
          <p:cNvPr id="4" name="Slide Number Placeholder 3"/>
          <p:cNvSpPr>
            <a:spLocks noGrp="1"/>
          </p:cNvSpPr>
          <p:nvPr>
            <p:ph type="sldNum" sz="quarter" idx="5"/>
          </p:nvPr>
        </p:nvSpPr>
        <p:spPr/>
        <p:txBody>
          <a:bodyPr/>
          <a:lstStyle/>
          <a:p>
            <a:fld id="{03447DE9-B0B1-47DF-A2A7-82A69B6EF4CC}" type="slidenum">
              <a:rPr lang="en-US" smtClean="0"/>
              <a:t>141</a:t>
            </a:fld>
            <a:endParaRPr lang="en-US"/>
          </a:p>
        </p:txBody>
      </p:sp>
    </p:spTree>
    <p:extLst>
      <p:ext uri="{BB962C8B-B14F-4D97-AF65-F5344CB8AC3E}">
        <p14:creationId xmlns:p14="http://schemas.microsoft.com/office/powerpoint/2010/main" val="268354510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effectLst/>
                <a:latin typeface="Calibri" panose="020F0502020204030204" pitchFamily="34" charset="0"/>
                <a:ea typeface="Gill Sans"/>
                <a:cs typeface="Gill Sans"/>
              </a:rPr>
              <a:t>Objective 1: Technical assistance to strengthen the oxygen ecosystem at the state/national level </a:t>
            </a:r>
            <a:endParaRPr lang="en-US" sz="1200" dirty="0">
              <a:effectLst/>
              <a:latin typeface="Calibri" panose="020F0502020204030204" pitchFamily="34" charset="0"/>
              <a:ea typeface="Calibri" panose="020F0502020204030204" pitchFamily="34" charset="0"/>
              <a:cs typeface="Mangal" panose="02040503050203030202" pitchFamily="18" charset="0"/>
            </a:endParaRPr>
          </a:p>
          <a:p>
            <a:r>
              <a:rPr lang="en-US" sz="1200" b="1" dirty="0">
                <a:effectLst/>
                <a:latin typeface="Calibri" panose="020F0502020204030204" pitchFamily="34" charset="0"/>
                <a:ea typeface="Gill Sans"/>
                <a:cs typeface="Gill Sans"/>
              </a:rPr>
              <a:t>Objective 2: Technical support to identified states for effective planning and augmenting the capacity of tertiary healthcare facilities for setting up of PSA plants and ensuring adequate supply of required consumables and drugs to ensure optimal utilization of Oxygen</a:t>
            </a:r>
          </a:p>
          <a:p>
            <a:r>
              <a:rPr lang="en-US" sz="1200" b="1" dirty="0">
                <a:effectLst/>
                <a:latin typeface="Calibri" panose="020F0502020204030204" pitchFamily="34" charset="0"/>
                <a:ea typeface="Calibri" panose="020F0502020204030204" pitchFamily="34" charset="0"/>
                <a:cs typeface="Mangal" panose="02040503050203030202" pitchFamily="18" charset="0"/>
              </a:rPr>
              <a:t>Objective 3: </a:t>
            </a:r>
            <a:r>
              <a:rPr lang="en-US" sz="1200" b="1" dirty="0">
                <a:effectLst/>
                <a:latin typeface="Calibri" panose="020F0502020204030204" pitchFamily="34" charset="0"/>
                <a:ea typeface="Gill Sans"/>
                <a:cs typeface="Gill Sans"/>
              </a:rPr>
              <a:t>Procurement and deployment of oxygen concentrators at the secondary and primary healthcare facilities for effective management of the COVID-19 pandemic at community level</a:t>
            </a:r>
            <a:r>
              <a:rPr lang="en-US" sz="1200" b="1" dirty="0">
                <a:effectLst/>
                <a:latin typeface="Calibri" panose="020F0502020204030204" pitchFamily="34" charset="0"/>
                <a:ea typeface="Calibri" panose="020F0502020204030204" pitchFamily="34" charset="0"/>
                <a:cs typeface="Mangal" panose="02040503050203030202" pitchFamily="18" charset="0"/>
              </a:rPr>
              <a:t>   </a:t>
            </a:r>
            <a:endParaRPr lang="en-US" sz="1200" dirty="0">
              <a:effectLst/>
              <a:latin typeface="Calibri" panose="020F0502020204030204" pitchFamily="34" charset="0"/>
              <a:ea typeface="Calibri" panose="020F0502020204030204" pitchFamily="34" charset="0"/>
              <a:cs typeface="Mangal" panose="02040503050203030202" pitchFamily="18" charset="0"/>
            </a:endParaRPr>
          </a:p>
          <a:p>
            <a:endParaRPr lang="en-US" dirty="0"/>
          </a:p>
        </p:txBody>
      </p:sp>
      <p:sp>
        <p:nvSpPr>
          <p:cNvPr id="4" name="Slide Number Placeholder 3"/>
          <p:cNvSpPr>
            <a:spLocks noGrp="1"/>
          </p:cNvSpPr>
          <p:nvPr>
            <p:ph type="sldNum" sz="quarter" idx="5"/>
          </p:nvPr>
        </p:nvSpPr>
        <p:spPr/>
        <p:txBody>
          <a:bodyPr/>
          <a:lstStyle/>
          <a:p>
            <a:fld id="{03447DE9-B0B1-47DF-A2A7-82A69B6EF4CC}" type="slidenum">
              <a:rPr lang="en-US" smtClean="0"/>
              <a:t>142</a:t>
            </a:fld>
            <a:endParaRPr lang="en-US"/>
          </a:p>
        </p:txBody>
      </p:sp>
    </p:spTree>
    <p:extLst>
      <p:ext uri="{BB962C8B-B14F-4D97-AF65-F5344CB8AC3E}">
        <p14:creationId xmlns:p14="http://schemas.microsoft.com/office/powerpoint/2010/main" val="147129321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143</a:t>
            </a:fld>
            <a:endParaRPr lang="en-US" altLang="en-US"/>
          </a:p>
        </p:txBody>
      </p:sp>
    </p:spTree>
    <p:extLst>
      <p:ext uri="{BB962C8B-B14F-4D97-AF65-F5344CB8AC3E}">
        <p14:creationId xmlns:p14="http://schemas.microsoft.com/office/powerpoint/2010/main" val="333690264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rgbClr val="FF0000"/>
                </a:solidFill>
                <a:latin typeface="Arial" pitchFamily="34" charset="0"/>
                <a:ea typeface="MS PGothic" panose="020B0600070205080204" pitchFamily="34" charset="-128"/>
                <a:cs typeface="+mn-cs"/>
              </a:rPr>
              <a:t>May add the MOH logo if required/requested by host country government </a:t>
            </a:r>
          </a:p>
          <a:p>
            <a:endParaRPr lang="en-US" dirty="0">
              <a:solidFill>
                <a:srgbClr val="FF0000"/>
              </a:solidFill>
            </a:endParaRPr>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144</a:t>
            </a:fld>
            <a:endParaRPr lang="en-US" altLang="en-US"/>
          </a:p>
        </p:txBody>
      </p:sp>
    </p:spTree>
    <p:extLst>
      <p:ext uri="{BB962C8B-B14F-4D97-AF65-F5344CB8AC3E}">
        <p14:creationId xmlns:p14="http://schemas.microsoft.com/office/powerpoint/2010/main" val="52643618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6"/>
        <p:cNvGrpSpPr/>
        <p:nvPr/>
      </p:nvGrpSpPr>
      <p:grpSpPr>
        <a:xfrm>
          <a:off x="0" y="0"/>
          <a:ext cx="0" cy="0"/>
          <a:chOff x="0" y="0"/>
          <a:chExt cx="0" cy="0"/>
        </a:xfrm>
      </p:grpSpPr>
      <p:sp>
        <p:nvSpPr>
          <p:cNvPr id="527" name="Google Shape;527;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528" name="Google Shape;528;p2: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5471982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latin typeface="Arial" pitchFamily="-107" charset="0"/>
              </a:rPr>
              <a:t>This slide is the ‘activation slide’. Aims to build on existing knowledge of </a:t>
            </a:r>
            <a:r>
              <a:rPr lang="en-US" b="1" dirty="0" err="1">
                <a:latin typeface="Arial" pitchFamily="-107" charset="0"/>
              </a:rPr>
              <a:t>POx</a:t>
            </a:r>
            <a:r>
              <a:rPr lang="en-US" b="1" dirty="0">
                <a:latin typeface="Arial" pitchFamily="-107" charset="0"/>
              </a:rPr>
              <a:t> before going into the meat of the training. </a:t>
            </a:r>
            <a:endParaRPr kumimoji="0" lang="en-US" sz="1200" b="1" i="0" u="none" strike="noStrike" cap="none" normalizeH="0" baseline="0" dirty="0">
              <a:ln>
                <a:noFill/>
              </a:ln>
              <a:solidFill>
                <a:schemeClr val="tx1"/>
              </a:solidFill>
              <a:effectLst/>
              <a:latin typeface="Arial" pitchFamily="-107"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1</a:t>
            </a:r>
            <a:r>
              <a:rPr lang="en-US" baseline="30000" dirty="0"/>
              <a:t>st</a:t>
            </a:r>
            <a:r>
              <a:rPr lang="en-US" dirty="0"/>
              <a:t> question – welding, healthcare, food preservation, steelwork, rocket fu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CEF2937A-1FBE-481C-9E6D-CFE733719999}" type="slidenum">
              <a:rPr lang="en-US" smtClean="0">
                <a:solidFill>
                  <a:prstClr val="black"/>
                </a:solidFill>
              </a:rPr>
              <a:pPr/>
              <a:t>146</a:t>
            </a:fld>
            <a:endParaRPr lang="en-US" dirty="0">
              <a:solidFill>
                <a:prstClr val="black"/>
              </a:solidFill>
            </a:endParaRPr>
          </a:p>
        </p:txBody>
      </p:sp>
    </p:spTree>
    <p:extLst>
      <p:ext uri="{BB962C8B-B14F-4D97-AF65-F5344CB8AC3E}">
        <p14:creationId xmlns:p14="http://schemas.microsoft.com/office/powerpoint/2010/main" val="277622798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latin typeface="Arial" pitchFamily="-107" charset="0"/>
              </a:rPr>
              <a:t>This slide is the ‘activation slide’. Aims to build on existing knowledge of </a:t>
            </a:r>
            <a:r>
              <a:rPr lang="en-US" b="1" dirty="0" err="1">
                <a:latin typeface="Arial" pitchFamily="-107" charset="0"/>
              </a:rPr>
              <a:t>POx</a:t>
            </a:r>
            <a:r>
              <a:rPr lang="en-US" b="1" dirty="0">
                <a:latin typeface="Arial" pitchFamily="-107" charset="0"/>
              </a:rPr>
              <a:t> before going into the meat of the training. </a:t>
            </a:r>
            <a:endParaRPr kumimoji="0" lang="en-US" sz="1200" b="1" i="0" u="none" strike="noStrike" cap="none" normalizeH="0" baseline="0" dirty="0">
              <a:ln>
                <a:noFill/>
              </a:ln>
              <a:solidFill>
                <a:schemeClr val="tx1"/>
              </a:solidFill>
              <a:effectLst/>
              <a:latin typeface="Arial" pitchFamily="-107"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1</a:t>
            </a:r>
            <a:r>
              <a:rPr lang="en-US" baseline="30000" dirty="0"/>
              <a:t>st</a:t>
            </a:r>
            <a:r>
              <a:rPr lang="en-US" dirty="0"/>
              <a:t> question – welding, healthcare, food preservation, steelwork, rocket fu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CEF2937A-1FBE-481C-9E6D-CFE733719999}" type="slidenum">
              <a:rPr lang="en-US" smtClean="0">
                <a:solidFill>
                  <a:prstClr val="black"/>
                </a:solidFill>
              </a:rPr>
              <a:pPr/>
              <a:t>147</a:t>
            </a:fld>
            <a:endParaRPr lang="en-US" dirty="0">
              <a:solidFill>
                <a:prstClr val="black"/>
              </a:solidFill>
            </a:endParaRPr>
          </a:p>
        </p:txBody>
      </p:sp>
    </p:spTree>
    <p:extLst>
      <p:ext uri="{BB962C8B-B14F-4D97-AF65-F5344CB8AC3E}">
        <p14:creationId xmlns:p14="http://schemas.microsoft.com/office/powerpoint/2010/main" val="296321173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latin typeface="Arial" pitchFamily="-107" charset="0"/>
              </a:rPr>
              <a:t>This slide is the ‘activation slide’. Aims to build on existing knowledge of </a:t>
            </a:r>
            <a:r>
              <a:rPr lang="en-US" b="1" dirty="0" err="1">
                <a:latin typeface="Arial" pitchFamily="-107" charset="0"/>
              </a:rPr>
              <a:t>POx</a:t>
            </a:r>
            <a:r>
              <a:rPr lang="en-US" b="1" dirty="0">
                <a:latin typeface="Arial" pitchFamily="-107" charset="0"/>
              </a:rPr>
              <a:t> before going into the meat of the training. </a:t>
            </a:r>
            <a:endParaRPr kumimoji="0" lang="en-US" sz="1200" b="1" i="0" u="none" strike="noStrike" cap="none" normalizeH="0" baseline="0" dirty="0">
              <a:ln>
                <a:noFill/>
              </a:ln>
              <a:solidFill>
                <a:schemeClr val="tx1"/>
              </a:solidFill>
              <a:effectLst/>
              <a:latin typeface="Arial" pitchFamily="-107"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1</a:t>
            </a:r>
            <a:r>
              <a:rPr lang="en-US" baseline="30000" dirty="0"/>
              <a:t>st</a:t>
            </a:r>
            <a:r>
              <a:rPr lang="en-US" dirty="0"/>
              <a:t> question – welding, healthcare, food preservation, steelwork, rocket fu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CEF2937A-1FBE-481C-9E6D-CFE733719999}" type="slidenum">
              <a:rPr lang="en-US" smtClean="0">
                <a:solidFill>
                  <a:prstClr val="black"/>
                </a:solidFill>
              </a:rPr>
              <a:pPr/>
              <a:t>148</a:t>
            </a:fld>
            <a:endParaRPr lang="en-US" dirty="0">
              <a:solidFill>
                <a:prstClr val="black"/>
              </a:solidFill>
            </a:endParaRPr>
          </a:p>
        </p:txBody>
      </p:sp>
    </p:spTree>
    <p:extLst>
      <p:ext uri="{BB962C8B-B14F-4D97-AF65-F5344CB8AC3E}">
        <p14:creationId xmlns:p14="http://schemas.microsoft.com/office/powerpoint/2010/main" val="1664081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dirty="0"/>
              <a:t>Pound per sq inch: PSA</a:t>
            </a:r>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9</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228721354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latin typeface="Arial" pitchFamily="-107" charset="0"/>
              </a:rPr>
              <a:t>This slide is the ‘activation slide’. Aims to build on existing knowledge of </a:t>
            </a:r>
            <a:r>
              <a:rPr lang="en-US" b="1" dirty="0" err="1">
                <a:latin typeface="Arial" pitchFamily="-107" charset="0"/>
              </a:rPr>
              <a:t>POx</a:t>
            </a:r>
            <a:r>
              <a:rPr lang="en-US" b="1" dirty="0">
                <a:latin typeface="Arial" pitchFamily="-107" charset="0"/>
              </a:rPr>
              <a:t> before going into the meat of the training. </a:t>
            </a:r>
            <a:endParaRPr kumimoji="0" lang="en-US" sz="1200" b="1" i="0" u="none" strike="noStrike" cap="none" normalizeH="0" baseline="0" dirty="0">
              <a:ln>
                <a:noFill/>
              </a:ln>
              <a:solidFill>
                <a:schemeClr val="tx1"/>
              </a:solidFill>
              <a:effectLst/>
              <a:latin typeface="Arial" pitchFamily="-107"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1</a:t>
            </a:r>
            <a:r>
              <a:rPr lang="en-US" baseline="30000" dirty="0"/>
              <a:t>st</a:t>
            </a:r>
            <a:r>
              <a:rPr lang="en-US" dirty="0"/>
              <a:t> question – welding, healthcare, food preservation, steelwork, rocket fu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CEF2937A-1FBE-481C-9E6D-CFE733719999}" type="slidenum">
              <a:rPr lang="en-US" smtClean="0">
                <a:solidFill>
                  <a:prstClr val="black"/>
                </a:solidFill>
              </a:rPr>
              <a:pPr/>
              <a:t>149</a:t>
            </a:fld>
            <a:endParaRPr lang="en-US" dirty="0">
              <a:solidFill>
                <a:prstClr val="black"/>
              </a:solidFill>
            </a:endParaRPr>
          </a:p>
        </p:txBody>
      </p:sp>
    </p:spTree>
    <p:extLst>
      <p:ext uri="{BB962C8B-B14F-4D97-AF65-F5344CB8AC3E}">
        <p14:creationId xmlns:p14="http://schemas.microsoft.com/office/powerpoint/2010/main" val="341376231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latin typeface="Arial" pitchFamily="-107" charset="0"/>
              </a:rPr>
              <a:t>This slide is the ‘activation slide’. Aims to build on existing knowledge of </a:t>
            </a:r>
            <a:r>
              <a:rPr lang="en-US" b="1" dirty="0" err="1">
                <a:latin typeface="Arial" pitchFamily="-107" charset="0"/>
              </a:rPr>
              <a:t>POx</a:t>
            </a:r>
            <a:r>
              <a:rPr lang="en-US" b="1" dirty="0">
                <a:latin typeface="Arial" pitchFamily="-107" charset="0"/>
              </a:rPr>
              <a:t> before going into the meat of the training. </a:t>
            </a:r>
            <a:endParaRPr kumimoji="0" lang="en-US" sz="1200" b="1" i="0" u="none" strike="noStrike" cap="none" normalizeH="0" baseline="0" dirty="0">
              <a:ln>
                <a:noFill/>
              </a:ln>
              <a:solidFill>
                <a:schemeClr val="tx1"/>
              </a:solidFill>
              <a:effectLst/>
              <a:latin typeface="Arial" pitchFamily="-107"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1</a:t>
            </a:r>
            <a:r>
              <a:rPr lang="en-US" baseline="30000" dirty="0"/>
              <a:t>st</a:t>
            </a:r>
            <a:r>
              <a:rPr lang="en-US" dirty="0"/>
              <a:t> question – welding, healthcare, food preservation, steelwork, rocket fu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CEF2937A-1FBE-481C-9E6D-CFE733719999}" type="slidenum">
              <a:rPr lang="en-US" smtClean="0">
                <a:solidFill>
                  <a:prstClr val="black"/>
                </a:solidFill>
              </a:rPr>
              <a:pPr/>
              <a:t>150</a:t>
            </a:fld>
            <a:endParaRPr lang="en-US" dirty="0">
              <a:solidFill>
                <a:prstClr val="black"/>
              </a:solidFill>
            </a:endParaRPr>
          </a:p>
        </p:txBody>
      </p:sp>
    </p:spTree>
    <p:extLst>
      <p:ext uri="{BB962C8B-B14F-4D97-AF65-F5344CB8AC3E}">
        <p14:creationId xmlns:p14="http://schemas.microsoft.com/office/powerpoint/2010/main" val="159992090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latin typeface="Arial" pitchFamily="-107" charset="0"/>
              </a:rPr>
              <a:t>This slide is the ‘activation slide’. Aims to build on existing knowledge of </a:t>
            </a:r>
            <a:r>
              <a:rPr lang="en-US" b="1" dirty="0" err="1">
                <a:latin typeface="Arial" pitchFamily="-107" charset="0"/>
              </a:rPr>
              <a:t>POx</a:t>
            </a:r>
            <a:r>
              <a:rPr lang="en-US" b="1" dirty="0">
                <a:latin typeface="Arial" pitchFamily="-107" charset="0"/>
              </a:rPr>
              <a:t> before going into the meat of the training. </a:t>
            </a:r>
            <a:endParaRPr kumimoji="0" lang="en-US" sz="1200" b="1" i="0" u="none" strike="noStrike" cap="none" normalizeH="0" baseline="0" dirty="0">
              <a:ln>
                <a:noFill/>
              </a:ln>
              <a:solidFill>
                <a:schemeClr val="tx1"/>
              </a:solidFill>
              <a:effectLst/>
              <a:latin typeface="Arial" pitchFamily="-107"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1</a:t>
            </a:r>
            <a:r>
              <a:rPr lang="en-US" baseline="30000" dirty="0"/>
              <a:t>st</a:t>
            </a:r>
            <a:r>
              <a:rPr lang="en-US" dirty="0"/>
              <a:t> question – welding, healthcare, food preservation, steelwork, rocket fu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CEF2937A-1FBE-481C-9E6D-CFE733719999}" type="slidenum">
              <a:rPr lang="en-US" smtClean="0">
                <a:solidFill>
                  <a:prstClr val="black"/>
                </a:solidFill>
              </a:rPr>
              <a:pPr/>
              <a:t>151</a:t>
            </a:fld>
            <a:endParaRPr lang="en-US" dirty="0">
              <a:solidFill>
                <a:prstClr val="black"/>
              </a:solidFill>
            </a:endParaRPr>
          </a:p>
        </p:txBody>
      </p:sp>
    </p:spTree>
    <p:extLst>
      <p:ext uri="{BB962C8B-B14F-4D97-AF65-F5344CB8AC3E}">
        <p14:creationId xmlns:p14="http://schemas.microsoft.com/office/powerpoint/2010/main" val="92152201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a:latin typeface="Arial" pitchFamily="-107" charset="0"/>
              </a:rPr>
              <a:t>This slide is the ‘activation slide’. Aims to build on existing knowledge of </a:t>
            </a:r>
            <a:r>
              <a:rPr lang="en-US" b="1" dirty="0" err="1">
                <a:latin typeface="Arial" pitchFamily="-107" charset="0"/>
              </a:rPr>
              <a:t>POx</a:t>
            </a:r>
            <a:r>
              <a:rPr lang="en-US" b="1" dirty="0">
                <a:latin typeface="Arial" pitchFamily="-107" charset="0"/>
              </a:rPr>
              <a:t> before going into the meat of the training. </a:t>
            </a:r>
            <a:endParaRPr kumimoji="0" lang="en-US" sz="1200" b="1" i="0" u="none" strike="noStrike" cap="none" normalizeH="0" baseline="0" dirty="0">
              <a:ln>
                <a:noFill/>
              </a:ln>
              <a:solidFill>
                <a:schemeClr val="tx1"/>
              </a:solidFill>
              <a:effectLst/>
              <a:latin typeface="Arial" pitchFamily="-107"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1</a:t>
            </a:r>
            <a:r>
              <a:rPr lang="en-US" baseline="30000" dirty="0"/>
              <a:t>st</a:t>
            </a:r>
            <a:r>
              <a:rPr lang="en-US" dirty="0"/>
              <a:t> question – welding, healthcare, food preservation, steelwork, rocket fuel</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CEF2937A-1FBE-481C-9E6D-CFE733719999}" type="slidenum">
              <a:rPr lang="en-US" smtClean="0">
                <a:solidFill>
                  <a:prstClr val="black"/>
                </a:solidFill>
              </a:rPr>
              <a:pPr/>
              <a:t>152</a:t>
            </a:fld>
            <a:endParaRPr lang="en-US" dirty="0">
              <a:solidFill>
                <a:prstClr val="black"/>
              </a:solidFill>
            </a:endParaRPr>
          </a:p>
        </p:txBody>
      </p:sp>
    </p:spTree>
    <p:extLst>
      <p:ext uri="{BB962C8B-B14F-4D97-AF65-F5344CB8AC3E}">
        <p14:creationId xmlns:p14="http://schemas.microsoft.com/office/powerpoint/2010/main" val="262862724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ee notes for further safety &amp; signs, this is not a comprehensive list</a:t>
            </a:r>
          </a:p>
          <a:p>
            <a:endParaRPr lang="en-US" dirty="0">
              <a:cs typeface="Calibri"/>
            </a:endParaRPr>
          </a:p>
          <a:p>
            <a:r>
              <a:rPr lang="en-US" dirty="0">
                <a:cs typeface="Calibri"/>
              </a:rPr>
              <a:t>Work with the hospital administrator or appropriate staff to ensure signs are visibly placed anywhere oxygen is in use</a:t>
            </a:r>
          </a:p>
        </p:txBody>
      </p:sp>
      <p:sp>
        <p:nvSpPr>
          <p:cNvPr id="4" name="Slide Number Placeholder 3"/>
          <p:cNvSpPr>
            <a:spLocks noGrp="1"/>
          </p:cNvSpPr>
          <p:nvPr>
            <p:ph type="sldNum" sz="quarter" idx="10"/>
          </p:nvPr>
        </p:nvSpPr>
        <p:spPr/>
        <p:txBody>
          <a:bodyPr/>
          <a:lstStyle/>
          <a:p>
            <a:fld id="{4032AD04-AF77-42A2-80B0-F898BB4D4F2B}" type="slidenum">
              <a:rPr lang="fr-FR" smtClean="0"/>
              <a:t>153</a:t>
            </a:fld>
            <a:endParaRPr lang="fr-FR"/>
          </a:p>
        </p:txBody>
      </p:sp>
    </p:spTree>
    <p:extLst>
      <p:ext uri="{BB962C8B-B14F-4D97-AF65-F5344CB8AC3E}">
        <p14:creationId xmlns:p14="http://schemas.microsoft.com/office/powerpoint/2010/main" val="148558150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154</a:t>
            </a:fld>
            <a:endParaRPr lang="en-US" altLang="en-US"/>
          </a:p>
        </p:txBody>
      </p:sp>
    </p:spTree>
    <p:extLst>
      <p:ext uri="{BB962C8B-B14F-4D97-AF65-F5344CB8AC3E}">
        <p14:creationId xmlns:p14="http://schemas.microsoft.com/office/powerpoint/2010/main" val="216270305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rgbClr val="FF0000"/>
                </a:solidFill>
                <a:latin typeface="Arial" pitchFamily="34" charset="0"/>
                <a:ea typeface="MS PGothic" panose="020B0600070205080204" pitchFamily="34" charset="-128"/>
                <a:cs typeface="+mn-cs"/>
              </a:rPr>
              <a:t>May add the MOH logo if required/requested by host country government </a:t>
            </a:r>
          </a:p>
          <a:p>
            <a:endParaRPr lang="en-US" dirty="0">
              <a:solidFill>
                <a:srgbClr val="FF0000"/>
              </a:solidFill>
            </a:endParaRPr>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155</a:t>
            </a:fld>
            <a:endParaRPr lang="en-US" altLang="en-US" dirty="0"/>
          </a:p>
        </p:txBody>
      </p:sp>
    </p:spTree>
    <p:extLst>
      <p:ext uri="{BB962C8B-B14F-4D97-AF65-F5344CB8AC3E}">
        <p14:creationId xmlns:p14="http://schemas.microsoft.com/office/powerpoint/2010/main" val="52643618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dirty="0"/>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A8CAC4-F2AC-41F8-A2C3-F99E9FC388DD}"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7</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874127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dirty="0"/>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159</a:t>
            </a:fld>
            <a:endParaRPr lang="en-US" alt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420235102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dirty="0"/>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162</a:t>
            </a:fld>
            <a:endParaRPr lang="en-US" alt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039707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2"/>
        <p:cNvGrpSpPr/>
        <p:nvPr/>
      </p:nvGrpSpPr>
      <p:grpSpPr>
        <a:xfrm>
          <a:off x="0" y="0"/>
          <a:ext cx="0" cy="0"/>
          <a:chOff x="0" y="0"/>
          <a:chExt cx="0" cy="0"/>
        </a:xfrm>
      </p:grpSpPr>
      <p:sp>
        <p:nvSpPr>
          <p:cNvPr id="573" name="Google Shape;573;gb8677dd733_1_8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endParaRPr sz="1100" dirty="0">
              <a:solidFill>
                <a:srgbClr val="464F61"/>
              </a:solidFill>
              <a:latin typeface="Arial"/>
              <a:ea typeface="Arial"/>
              <a:cs typeface="Arial"/>
              <a:sym typeface="Arial"/>
            </a:endParaRPr>
          </a:p>
        </p:txBody>
      </p:sp>
      <p:sp>
        <p:nvSpPr>
          <p:cNvPr id="574" name="Google Shape;574;gb8677dd733_1_83: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dirty="0"/>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165</a:t>
            </a:fld>
            <a:endParaRPr lang="en-US" alt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35299573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dirty="0"/>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168</a:t>
            </a:fld>
            <a:endParaRPr lang="en-US" alt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38154405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dirty="0"/>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171</a:t>
            </a:fld>
            <a:endParaRPr lang="en-US" alt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81416104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dirty="0"/>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60A8CAC4-F2AC-41F8-A2C3-F99E9FC388DD}" type="slidenum">
              <a:rPr lang="en-US" altLang="en-US">
                <a:solidFill>
                  <a:srgbClr val="000000"/>
                </a:solidFill>
                <a:latin typeface="Calibri" panose="020F0502020204030204" pitchFamily="34" charset="0"/>
              </a:rPr>
              <a:pPr/>
              <a:t>174</a:t>
            </a:fld>
            <a:endParaRPr lang="en-US" alt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406940634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D655DE05-5FD4-4FAA-8B5D-02F41F3B7EB9}"/>
              </a:ext>
            </a:extLst>
          </p:cNvPr>
          <p:cNvSpPr>
            <a:spLocks noGrp="1" noRot="1" noChangeAspect="1" noChangeArrowheads="1" noTextEdit="1"/>
          </p:cNvSpPr>
          <p:nvPr>
            <p:ph type="sldImg"/>
          </p:nvPr>
        </p:nvSpPr>
        <p:spPr>
          <a:ln/>
        </p:spPr>
      </p:sp>
      <p:sp>
        <p:nvSpPr>
          <p:cNvPr id="16387" name="Notes Placeholder 2">
            <a:extLst>
              <a:ext uri="{FF2B5EF4-FFF2-40B4-BE49-F238E27FC236}">
                <a16:creationId xmlns:a16="http://schemas.microsoft.com/office/drawing/2014/main" id="{F81E2EA0-527B-4974-9CF6-172DB53CC87F}"/>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dirty="0"/>
          </a:p>
        </p:txBody>
      </p:sp>
      <p:sp>
        <p:nvSpPr>
          <p:cNvPr id="16388" name="Slide Number Placeholder 3">
            <a:extLst>
              <a:ext uri="{FF2B5EF4-FFF2-40B4-BE49-F238E27FC236}">
                <a16:creationId xmlns:a16="http://schemas.microsoft.com/office/drawing/2014/main" id="{647F3704-37CB-4DE6-8D5C-F432E43AC979}"/>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A8CAC4-F2AC-41F8-A2C3-F99E9FC388DD}"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7</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88282267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F9EDA-F266-42C4-ACEE-B2F97896B32F}" type="slidenum">
              <a:rPr lang="en-US" altLang="en-US" smtClean="0"/>
              <a:pPr/>
              <a:t>180</a:t>
            </a:fld>
            <a:endParaRPr lang="en-US" altLang="en-US"/>
          </a:p>
        </p:txBody>
      </p:sp>
    </p:spTree>
    <p:extLst>
      <p:ext uri="{BB962C8B-B14F-4D97-AF65-F5344CB8AC3E}">
        <p14:creationId xmlns:p14="http://schemas.microsoft.com/office/powerpoint/2010/main" val="2290020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0"/>
        <p:cNvGrpSpPr/>
        <p:nvPr/>
      </p:nvGrpSpPr>
      <p:grpSpPr>
        <a:xfrm>
          <a:off x="0" y="0"/>
          <a:ext cx="0" cy="0"/>
          <a:chOff x="0" y="0"/>
          <a:chExt cx="0" cy="0"/>
        </a:xfrm>
      </p:grpSpPr>
      <p:sp>
        <p:nvSpPr>
          <p:cNvPr id="581" name="Google Shape;581;ge9eb37db0a_0_2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20000"/>
              </a:lnSpc>
              <a:spcBef>
                <a:spcPts val="0"/>
              </a:spcBef>
              <a:spcAft>
                <a:spcPts val="0"/>
              </a:spcAft>
              <a:buClr>
                <a:schemeClr val="dk1"/>
              </a:buClr>
              <a:buSzPts val="1100"/>
              <a:buFont typeface="Arial"/>
              <a:buNone/>
            </a:pPr>
            <a:r>
              <a:rPr lang="en-GB" sz="1100" dirty="0">
                <a:solidFill>
                  <a:srgbClr val="464F61"/>
                </a:solidFill>
                <a:latin typeface="Arial"/>
                <a:ea typeface="Arial"/>
                <a:cs typeface="Arial"/>
                <a:sym typeface="Arial"/>
              </a:rPr>
              <a:t>Explain the terminologies.</a:t>
            </a:r>
            <a:endParaRPr sz="1100" dirty="0">
              <a:solidFill>
                <a:srgbClr val="464F61"/>
              </a:solidFill>
              <a:latin typeface="Arial"/>
              <a:ea typeface="Arial"/>
              <a:cs typeface="Arial"/>
              <a:sym typeface="Arial"/>
            </a:endParaRPr>
          </a:p>
        </p:txBody>
      </p:sp>
      <p:sp>
        <p:nvSpPr>
          <p:cNvPr id="582" name="Google Shape;582;ge9eb37db0a_0_25: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arget="../media/image2.png" Type="http://schemas.openxmlformats.org/officeDocument/2006/relationships/image"/><Relationship Id="rId2" Target="../media/image1.jpeg" Type="http://schemas.openxmlformats.org/officeDocument/2006/relationships/image"/><Relationship Id="rId1" Target="../slideMasters/slideMaster1.xml" Type="http://schemas.openxmlformats.org/officeDocument/2006/relationships/slideMaster"/></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FCE274-A9F0-4625-97A9-ED7529B83C8C}"/>
              </a:ext>
            </a:extLst>
          </p:cNvPr>
          <p:cNvSpPr/>
          <p:nvPr userDrawn="1"/>
        </p:nvSpPr>
        <p:spPr>
          <a:xfrm>
            <a:off x="0" y="6400800"/>
            <a:ext cx="9144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a:extLst>
              <a:ext uri="{FF2B5EF4-FFF2-40B4-BE49-F238E27FC236}">
                <a16:creationId xmlns:a16="http://schemas.microsoft.com/office/drawing/2014/main" id="{0B2E8617-B8EB-49D7-96B4-A6C9DA6E3A9B}"/>
              </a:ext>
            </a:extLst>
          </p:cNvPr>
          <p:cNvSpPr/>
          <p:nvPr/>
        </p:nvSpPr>
        <p:spPr>
          <a:xfrm>
            <a:off x="0" y="6334125"/>
            <a:ext cx="9144000" cy="6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5">
            <a:extLst>
              <a:ext uri="{FF2B5EF4-FFF2-40B4-BE49-F238E27FC236}">
                <a16:creationId xmlns:a16="http://schemas.microsoft.com/office/drawing/2014/main" id="{4678FBD5-F2F9-437D-94E3-6737A76C4CCF}"/>
              </a:ext>
            </a:extLst>
          </p:cNvPr>
          <p:cNvCxnSpPr/>
          <p:nvPr/>
        </p:nvCxnSpPr>
        <p:spPr>
          <a:xfrm>
            <a:off x="906463" y="4343400"/>
            <a:ext cx="740568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12" descr="A picture containing drawing&#10;&#10;Description generated with very high confidence">
            <a:extLst>
              <a:ext uri="{FF2B5EF4-FFF2-40B4-BE49-F238E27FC236}">
                <a16:creationId xmlns:a16="http://schemas.microsoft.com/office/drawing/2014/main" id="{96950530-DE10-41EA-B01B-1DE8EE8DF5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17813" y="5251450"/>
            <a:ext cx="1492250" cy="80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4" descr="A close up of a sign&#10;&#10;Description generated with very high confidence">
            <a:extLst>
              <a:ext uri="{FF2B5EF4-FFF2-40B4-BE49-F238E27FC236}">
                <a16:creationId xmlns:a16="http://schemas.microsoft.com/office/drawing/2014/main" id="{ECA03FF2-B9B9-45C0-9985-FE9726605CD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97400" y="5249863"/>
            <a:ext cx="1600200" cy="896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822960" y="758952"/>
            <a:ext cx="7543800" cy="3566160"/>
          </a:xfrm>
        </p:spPr>
        <p:txBody>
          <a:bodyPr/>
          <a:lstStyle>
            <a:lvl1pPr algn="l">
              <a:lnSpc>
                <a:spcPct val="85000"/>
              </a:lnSpc>
              <a:defRPr sz="6000" spc="-38"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825038" y="4455621"/>
            <a:ext cx="7543800" cy="1143000"/>
          </a:xfrm>
        </p:spPr>
        <p:txBody>
          <a:bodyPr lIns="91440" rIns="91440"/>
          <a:lstStyle>
            <a:lvl1pPr marL="0" indent="0" algn="l">
              <a:buNone/>
              <a:defRPr sz="1800" cap="all" spc="150" baseline="0">
                <a:solidFill>
                  <a:schemeClr val="tx2"/>
                </a:solidFill>
                <a:latin typeface="+mj-lt"/>
              </a:defRPr>
            </a:lvl1pPr>
            <a:lvl2pPr marL="342900" indent="0" algn="ctr">
              <a:buNone/>
              <a:defRPr sz="18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a:t>Click to edit Master subtitle style</a:t>
            </a:r>
            <a:endParaRPr lang="en-US" dirty="0"/>
          </a:p>
        </p:txBody>
      </p:sp>
      <p:sp>
        <p:nvSpPr>
          <p:cNvPr id="11" name="Slide Number Placeholder 5">
            <a:extLst>
              <a:ext uri="{FF2B5EF4-FFF2-40B4-BE49-F238E27FC236}">
                <a16:creationId xmlns:a16="http://schemas.microsoft.com/office/drawing/2014/main" id="{24C21234-8744-40B6-A2D9-CA5907FBEC29}"/>
              </a:ext>
            </a:extLst>
          </p:cNvPr>
          <p:cNvSpPr>
            <a:spLocks noGrp="1"/>
          </p:cNvSpPr>
          <p:nvPr>
            <p:ph type="sldNum" sz="quarter" idx="12"/>
          </p:nvPr>
        </p:nvSpPr>
        <p:spPr/>
        <p:txBody>
          <a:bodyPr/>
          <a:lstStyle>
            <a:lvl1pPr>
              <a:defRPr/>
            </a:lvl1pPr>
          </a:lstStyle>
          <a:p>
            <a:fld id="{91875705-4EB7-4052-941D-FB671504DE81}" type="slidenum">
              <a:rPr lang="en-US" altLang="en-US"/>
              <a:pPr/>
              <a:t>‹#›</a:t>
            </a:fld>
            <a:endParaRPr lang="en-US" altLang="en-US"/>
          </a:p>
        </p:txBody>
      </p:sp>
    </p:spTree>
    <p:extLst>
      <p:ext uri="{BB962C8B-B14F-4D97-AF65-F5344CB8AC3E}">
        <p14:creationId xmlns:p14="http://schemas.microsoft.com/office/powerpoint/2010/main" val="26733521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F209926A-CACE-4D61-88B3-F36EBEA533EB}"/>
              </a:ext>
            </a:extLst>
          </p:cNvPr>
          <p:cNvSpPr>
            <a:spLocks noGrp="1"/>
          </p:cNvSpPr>
          <p:nvPr>
            <p:ph type="dt" sz="half" idx="10"/>
          </p:nvPr>
        </p:nvSpPr>
        <p:spPr/>
        <p:txBody>
          <a:bodyPr/>
          <a:lstStyle>
            <a:lvl1pPr>
              <a:defRPr/>
            </a:lvl1pPr>
          </a:lstStyle>
          <a:p>
            <a:pPr>
              <a:defRPr/>
            </a:pPr>
            <a:fld id="{0846EC9B-4D38-445B-810E-16156BC74C04}" type="datetime1">
              <a:rPr lang="en-US"/>
              <a:pPr>
                <a:defRPr/>
              </a:pPr>
              <a:t>2/2/2022</a:t>
            </a:fld>
            <a:endParaRPr lang="en-US"/>
          </a:p>
        </p:txBody>
      </p:sp>
      <p:sp>
        <p:nvSpPr>
          <p:cNvPr id="4" name="Footer Placeholder 4">
            <a:extLst>
              <a:ext uri="{FF2B5EF4-FFF2-40B4-BE49-F238E27FC236}">
                <a16:creationId xmlns:a16="http://schemas.microsoft.com/office/drawing/2014/main" id="{69FE0168-4467-458F-9302-0BF125133731}"/>
              </a:ext>
            </a:extLst>
          </p:cNvPr>
          <p:cNvSpPr>
            <a:spLocks noGrp="1"/>
          </p:cNvSpPr>
          <p:nvPr>
            <p:ph type="ftr" sz="quarter" idx="11"/>
          </p:nvPr>
        </p:nvSpPr>
        <p:spPr/>
        <p:txBody>
          <a:bodyPr/>
          <a:lstStyle>
            <a:lvl1pPr>
              <a:defRPr/>
            </a:lvl1pPr>
          </a:lstStyle>
          <a:p>
            <a:pPr>
              <a:defRPr/>
            </a:pPr>
            <a:r>
              <a:rPr lang="en-US"/>
              <a:t>Reaching Impact, Saturation, and Epidemic Control (RISE)</a:t>
            </a:r>
          </a:p>
        </p:txBody>
      </p:sp>
      <p:sp>
        <p:nvSpPr>
          <p:cNvPr id="5" name="Slide Number Placeholder 5">
            <a:extLst>
              <a:ext uri="{FF2B5EF4-FFF2-40B4-BE49-F238E27FC236}">
                <a16:creationId xmlns:a16="http://schemas.microsoft.com/office/drawing/2014/main" id="{ADEC7BE4-5BF3-4A4F-B7CC-D98A32A54DF3}"/>
              </a:ext>
            </a:extLst>
          </p:cNvPr>
          <p:cNvSpPr>
            <a:spLocks noGrp="1"/>
          </p:cNvSpPr>
          <p:nvPr>
            <p:ph type="sldNum" sz="quarter" idx="12"/>
          </p:nvPr>
        </p:nvSpPr>
        <p:spPr/>
        <p:txBody>
          <a:bodyPr/>
          <a:lstStyle>
            <a:lvl1pPr>
              <a:defRPr/>
            </a:lvl1pPr>
          </a:lstStyle>
          <a:p>
            <a:fld id="{9F941C2A-6BAB-4279-B849-D6389F34E1CF}" type="slidenum">
              <a:rPr lang="en-US" altLang="en-US"/>
              <a:pPr/>
              <a:t>‹#›</a:t>
            </a:fld>
            <a:endParaRPr lang="en-US" altLang="en-US"/>
          </a:p>
        </p:txBody>
      </p:sp>
    </p:spTree>
    <p:extLst>
      <p:ext uri="{BB962C8B-B14F-4D97-AF65-F5344CB8AC3E}">
        <p14:creationId xmlns:p14="http://schemas.microsoft.com/office/powerpoint/2010/main" val="41047562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3"/>
          <p:cNvSpPr>
            <a:spLocks noGrp="1"/>
          </p:cNvSpPr>
          <p:nvPr>
            <p:ph sz="half" idx="2"/>
          </p:nvPr>
        </p:nvSpPr>
        <p:spPr>
          <a:xfrm>
            <a:off x="933104" y="2037126"/>
            <a:ext cx="6492240" cy="32867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F417B0ED-9D25-494A-9879-2269D48D7443}"/>
              </a:ext>
            </a:extLst>
          </p:cNvPr>
          <p:cNvSpPr>
            <a:spLocks noGrp="1"/>
          </p:cNvSpPr>
          <p:nvPr>
            <p:ph type="ftr" sz="quarter" idx="10"/>
          </p:nvPr>
        </p:nvSpPr>
        <p:spPr/>
        <p:txBody>
          <a:bodyPr/>
          <a:lstStyle>
            <a:lvl1pPr>
              <a:defRPr>
                <a:solidFill>
                  <a:schemeClr val="tx1"/>
                </a:solidFill>
              </a:defRPr>
            </a:lvl1pPr>
          </a:lstStyle>
          <a:p>
            <a:pPr>
              <a:defRPr/>
            </a:pPr>
            <a:r>
              <a:rPr lang="en-US"/>
              <a:t>Reaching Impact, Saturation, and Epidemic Control (RISE)</a:t>
            </a:r>
          </a:p>
        </p:txBody>
      </p:sp>
    </p:spTree>
    <p:extLst>
      <p:ext uri="{BB962C8B-B14F-4D97-AF65-F5344CB8AC3E}">
        <p14:creationId xmlns:p14="http://schemas.microsoft.com/office/powerpoint/2010/main" val="34201056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Rectangle 4"/>
          <p:cNvSpPr/>
          <p:nvPr/>
        </p:nvSpPr>
        <p:spPr>
          <a:xfrm>
            <a:off x="2382" y="6400800"/>
            <a:ext cx="9141619"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2" y="6334316"/>
            <a:ext cx="9141619"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pPr>
              <a:defRPr/>
            </a:pPr>
            <a:fld id="{7998CB1D-5B25-49BE-BA87-B7C0C85D5B87}" type="datetime1">
              <a:rPr lang="en-US" smtClean="0"/>
              <a:pPr>
                <a:defRPr/>
              </a:pPr>
              <a:t>2/2/2022</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pPr>
              <a:defRPr/>
            </a:pPr>
            <a:r>
              <a:rPr lang="en-US"/>
              <a:t>Reaching Impact, Saturation, and Epidemic Control (RISE)</a:t>
            </a:r>
          </a:p>
        </p:txBody>
      </p:sp>
      <p:sp>
        <p:nvSpPr>
          <p:cNvPr id="9" name="Slide Number Placeholder 8"/>
          <p:cNvSpPr>
            <a:spLocks noGrp="1"/>
          </p:cNvSpPr>
          <p:nvPr>
            <p:ph type="sldNum" sz="quarter" idx="12"/>
          </p:nvPr>
        </p:nvSpPr>
        <p:spPr/>
        <p:txBody>
          <a:bodyPr/>
          <a:lstStyle/>
          <a:p>
            <a:fld id="{8C08E338-08F7-4E01-BA68-085849FBC9B9}" type="slidenum">
              <a:rPr lang="en-US" altLang="en-US" smtClean="0"/>
              <a:pPr/>
              <a:t>‹#›</a:t>
            </a:fld>
            <a:endParaRPr lang="en-US" altLang="en-US"/>
          </a:p>
        </p:txBody>
      </p:sp>
    </p:spTree>
    <p:extLst>
      <p:ext uri="{BB962C8B-B14F-4D97-AF65-F5344CB8AC3E}">
        <p14:creationId xmlns:p14="http://schemas.microsoft.com/office/powerpoint/2010/main" val="876338126"/>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PATH: Blank page with Header/Footer">
  <p:cSld name="PATH: Blank page with Header/Footer">
    <p:spTree>
      <p:nvGrpSpPr>
        <p:cNvPr id="1" name="Shape 30"/>
        <p:cNvGrpSpPr/>
        <p:nvPr/>
      </p:nvGrpSpPr>
      <p:grpSpPr>
        <a:xfrm>
          <a:off x="0" y="0"/>
          <a:ext cx="0" cy="0"/>
          <a:chOff x="0" y="0"/>
          <a:chExt cx="0" cy="0"/>
        </a:xfrm>
      </p:grpSpPr>
      <p:sp>
        <p:nvSpPr>
          <p:cNvPr id="31" name="Google Shape;31;p18"/>
          <p:cNvSpPr txBox="1">
            <a:spLocks noGrp="1"/>
          </p:cNvSpPr>
          <p:nvPr>
            <p:ph type="ftr" idx="11"/>
          </p:nvPr>
        </p:nvSpPr>
        <p:spPr>
          <a:xfrm>
            <a:off x="707362" y="6460651"/>
            <a:ext cx="3086100" cy="1651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 name="Google Shape;32;p18"/>
          <p:cNvSpPr txBox="1">
            <a:spLocks noGrp="1"/>
          </p:cNvSpPr>
          <p:nvPr>
            <p:ph type="dt" idx="10"/>
          </p:nvPr>
        </p:nvSpPr>
        <p:spPr>
          <a:xfrm>
            <a:off x="573467" y="402517"/>
            <a:ext cx="3353889" cy="173736"/>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18"/>
          <p:cNvSpPr txBox="1">
            <a:spLocks noGrp="1"/>
          </p:cNvSpPr>
          <p:nvPr>
            <p:ph type="sldNum" idx="12"/>
          </p:nvPr>
        </p:nvSpPr>
        <p:spPr>
          <a:xfrm>
            <a:off x="571500" y="6460651"/>
            <a:ext cx="135862" cy="164592"/>
          </a:xfrm>
          <a:prstGeom prst="rect">
            <a:avLst/>
          </a:prstGeom>
          <a:noFill/>
          <a:ln>
            <a:noFill/>
          </a:ln>
        </p:spPr>
        <p:txBody>
          <a:bodyPr spcFirstLastPara="1" wrap="square" lIns="0" tIns="0" rIns="0" bIns="0" anchor="ctr" anchorCtr="0">
            <a:noAutofit/>
          </a:bodyPr>
          <a:lstStyle>
            <a:lvl1pPr marL="0" marR="0" lvl="0" indent="0" algn="l">
              <a:lnSpc>
                <a:spcPct val="100000"/>
              </a:lnSpc>
              <a:spcBef>
                <a:spcPts val="0"/>
              </a:spcBef>
              <a:spcAft>
                <a:spcPts val="0"/>
              </a:spcAft>
              <a:buClr>
                <a:srgbClr val="000000"/>
              </a:buClr>
              <a:buSzPts val="700"/>
              <a:buFont typeface="Arial"/>
              <a:buNone/>
              <a:defRPr sz="525"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700"/>
              <a:buFont typeface="Arial"/>
              <a:buNone/>
              <a:defRPr sz="525"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700"/>
              <a:buFont typeface="Arial"/>
              <a:buNone/>
              <a:defRPr sz="525"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700"/>
              <a:buFont typeface="Arial"/>
              <a:buNone/>
              <a:defRPr sz="525"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700"/>
              <a:buFont typeface="Arial"/>
              <a:buNone/>
              <a:defRPr sz="525"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700"/>
              <a:buFont typeface="Arial"/>
              <a:buNone/>
              <a:defRPr sz="525"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700"/>
              <a:buFont typeface="Arial"/>
              <a:buNone/>
              <a:defRPr sz="525"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700"/>
              <a:buFont typeface="Arial"/>
              <a:buNone/>
              <a:defRPr sz="525"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700"/>
              <a:buFont typeface="Arial"/>
              <a:buNone/>
              <a:defRPr sz="525"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736155788"/>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PATH: DataVis - one column text box and half page graphic">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Content Placeholder 5"/>
          <p:cNvSpPr>
            <a:spLocks noGrp="1"/>
          </p:cNvSpPr>
          <p:nvPr>
            <p:ph sz="quarter" idx="13"/>
          </p:nvPr>
        </p:nvSpPr>
        <p:spPr>
          <a:xfrm>
            <a:off x="4743450" y="838201"/>
            <a:ext cx="4207669" cy="5114731"/>
          </a:xfrm>
          <a:prstGeom prst="rect">
            <a:avLst/>
          </a:prstGeom>
          <a:noFill/>
          <a:ln>
            <a:noFill/>
          </a:ln>
        </p:spPr>
        <p:txBody>
          <a:bodyPr/>
          <a:lstStyle>
            <a:lvl1pPr marL="0" indent="0">
              <a:buNone/>
              <a:defRPr/>
            </a:lvl1pPr>
          </a:lstStyle>
          <a:p>
            <a:pPr lvl="0"/>
            <a:r>
              <a:rPr lang="en-US"/>
              <a:t>Edit Master text styles</a:t>
            </a:r>
          </a:p>
        </p:txBody>
      </p:sp>
      <p:sp>
        <p:nvSpPr>
          <p:cNvPr id="7" name="Text Placeholder 4"/>
          <p:cNvSpPr>
            <a:spLocks noGrp="1"/>
          </p:cNvSpPr>
          <p:nvPr>
            <p:ph type="body" sz="quarter" idx="14" hasCustomPrompt="1"/>
          </p:nvPr>
        </p:nvSpPr>
        <p:spPr>
          <a:xfrm>
            <a:off x="571500" y="837816"/>
            <a:ext cx="3829050" cy="1061105"/>
          </a:xfrm>
          <a:prstGeom prst="rect">
            <a:avLst/>
          </a:prstGeom>
        </p:spPr>
        <p:txBody>
          <a:bodyPr lIns="0" tIns="0" rIns="0" bIns="0"/>
          <a:lstStyle>
            <a:lvl1pPr marL="0" indent="0">
              <a:buNone/>
              <a:defRPr sz="2400">
                <a:solidFill>
                  <a:schemeClr val="accent1"/>
                </a:solidFill>
              </a:defRPr>
            </a:lvl1pPr>
          </a:lstStyle>
          <a:p>
            <a:pPr lvl="0"/>
            <a:r>
              <a:rPr lang="en-US" sz="2400" dirty="0">
                <a:solidFill>
                  <a:srgbClr val="F65050"/>
                </a:solidFill>
                <a:latin typeface="Arial" panose="020B0604020202020204" pitchFamily="34" charset="0"/>
                <a:cs typeface="Arial" panose="020B0604020202020204" pitchFamily="34" charset="0"/>
              </a:rPr>
              <a:t>H1 – Arial 32pt red: </a:t>
            </a:r>
            <a:r>
              <a:rPr lang="en-US" dirty="0"/>
              <a:t>Data vis, half-page graphic</a:t>
            </a:r>
          </a:p>
        </p:txBody>
      </p:sp>
      <p:sp>
        <p:nvSpPr>
          <p:cNvPr id="8" name="Text Placeholder 6"/>
          <p:cNvSpPr>
            <a:spLocks noGrp="1"/>
          </p:cNvSpPr>
          <p:nvPr>
            <p:ph type="body" sz="quarter" idx="15" hasCustomPrompt="1"/>
          </p:nvPr>
        </p:nvSpPr>
        <p:spPr>
          <a:xfrm>
            <a:off x="571500" y="2019300"/>
            <a:ext cx="3829050" cy="3924300"/>
          </a:xfrm>
          <a:prstGeom prst="rect">
            <a:avLst/>
          </a:prstGeom>
        </p:spPr>
        <p:txBody>
          <a:bodyPr lIns="0" tIns="0" rIns="0" bIns="0"/>
          <a:lstStyle>
            <a:lvl1pPr marL="0" indent="0">
              <a:spcBef>
                <a:spcPts val="0"/>
              </a:spcBef>
              <a:spcAft>
                <a:spcPts val="1350"/>
              </a:spcAft>
              <a:buNone/>
              <a:defRPr sz="1200">
                <a:solidFill>
                  <a:schemeClr val="tx1"/>
                </a:solidFill>
              </a:defRPr>
            </a:lvl1pPr>
            <a:lvl2pPr>
              <a:defRPr sz="1050"/>
            </a:lvl2pPr>
            <a:lvl3pPr>
              <a:defRPr sz="1050"/>
            </a:lvl3pPr>
            <a:lvl4pPr>
              <a:defRPr sz="1050"/>
            </a:lvl4pPr>
            <a:lvl5pPr>
              <a:defRPr sz="1050"/>
            </a:lvl5pPr>
          </a:lstStyle>
          <a:p>
            <a:pPr lvl="0"/>
            <a:r>
              <a:rPr lang="en-US" dirty="0"/>
              <a:t>Body text – Arial 16pt, black, 18pt paragraph spacing after: This is used for a smaller amount of text to accompany a data visualization. It’s intended to hold a few talking points. Aim for clear and concise. </a:t>
            </a:r>
          </a:p>
        </p:txBody>
      </p:sp>
    </p:spTree>
    <p:extLst>
      <p:ext uri="{BB962C8B-B14F-4D97-AF65-F5344CB8AC3E}">
        <p14:creationId xmlns:p14="http://schemas.microsoft.com/office/powerpoint/2010/main" val="3038221218"/>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PATH: DataVis -  Small table and tex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able Placeholder 3"/>
          <p:cNvSpPr>
            <a:spLocks noGrp="1"/>
          </p:cNvSpPr>
          <p:nvPr>
            <p:ph type="tbl" sz="quarter" idx="16" hasCustomPrompt="1"/>
          </p:nvPr>
        </p:nvSpPr>
        <p:spPr>
          <a:xfrm>
            <a:off x="571500" y="2743200"/>
            <a:ext cx="8039100" cy="3200400"/>
          </a:xfrm>
          <a:prstGeom prst="rect">
            <a:avLst/>
          </a:prstGeom>
        </p:spPr>
        <p:txBody>
          <a:bodyPr/>
          <a:lstStyle>
            <a:lvl1pPr marL="0" indent="0">
              <a:buNone/>
              <a:defRPr baseline="0">
                <a:solidFill>
                  <a:schemeClr val="tx1"/>
                </a:solidFill>
              </a:defRPr>
            </a:lvl1pPr>
          </a:lstStyle>
          <a:p>
            <a:r>
              <a:rPr lang="en-US" dirty="0"/>
              <a:t>Small Table – Red is the preferred color for tables; however, you can change the color within the data visualization palette if needed</a:t>
            </a:r>
          </a:p>
        </p:txBody>
      </p:sp>
      <p:sp>
        <p:nvSpPr>
          <p:cNvPr id="7" name="Text Placeholder 5"/>
          <p:cNvSpPr>
            <a:spLocks noGrp="1"/>
          </p:cNvSpPr>
          <p:nvPr>
            <p:ph type="body" sz="quarter" idx="17" hasCustomPrompt="1"/>
          </p:nvPr>
        </p:nvSpPr>
        <p:spPr>
          <a:xfrm>
            <a:off x="571500" y="2019300"/>
            <a:ext cx="8039100" cy="647700"/>
          </a:xfrm>
          <a:prstGeom prst="rect">
            <a:avLst/>
          </a:prstGeom>
        </p:spPr>
        <p:txBody>
          <a:bodyPr anchor="b" anchorCtr="0"/>
          <a:lstStyle>
            <a:lvl1pPr marL="0" indent="0">
              <a:spcBef>
                <a:spcPts val="0"/>
              </a:spcBef>
              <a:spcAft>
                <a:spcPts val="1350"/>
              </a:spcAft>
              <a:buNone/>
              <a:defRPr sz="1200" baseline="0">
                <a:solidFill>
                  <a:schemeClr val="tx1"/>
                </a:solidFill>
                <a:latin typeface="+mn-lt"/>
              </a:defRPr>
            </a:lvl1pPr>
            <a:lvl2pPr marL="342900" indent="0">
              <a:buNone/>
              <a:defRPr sz="1500">
                <a:latin typeface="+mn-lt"/>
              </a:defRPr>
            </a:lvl2pPr>
            <a:lvl3pPr marL="685800" indent="0">
              <a:buNone/>
              <a:defRPr sz="1350">
                <a:latin typeface="+mn-lt"/>
              </a:defRPr>
            </a:lvl3pPr>
            <a:lvl4pPr marL="1028700" indent="0">
              <a:buNone/>
              <a:defRPr sz="1200">
                <a:latin typeface="+mn-lt"/>
              </a:defRPr>
            </a:lvl4pPr>
            <a:lvl5pPr marL="1371600" indent="0">
              <a:buNone/>
              <a:defRPr sz="1200">
                <a:latin typeface="+mn-lt"/>
              </a:defRPr>
            </a:lvl5pPr>
          </a:lstStyle>
          <a:p>
            <a:pPr lvl="0"/>
            <a:r>
              <a:rPr lang="en-US" dirty="0"/>
              <a:t>Body text – Arial 16 pt., black, 18 pt. paragraph spacing after: This text is used for a small description or title to accompany the table below. The page should look clear and concise. </a:t>
            </a:r>
          </a:p>
        </p:txBody>
      </p:sp>
      <p:sp>
        <p:nvSpPr>
          <p:cNvPr id="8" name="Text Placeholder 4"/>
          <p:cNvSpPr>
            <a:spLocks noGrp="1"/>
          </p:cNvSpPr>
          <p:nvPr>
            <p:ph type="body" sz="quarter" idx="18" hasCustomPrompt="1"/>
          </p:nvPr>
        </p:nvSpPr>
        <p:spPr>
          <a:xfrm>
            <a:off x="571501" y="847225"/>
            <a:ext cx="8039100" cy="1012465"/>
          </a:xfrm>
          <a:prstGeom prst="rect">
            <a:avLst/>
          </a:prstGeom>
        </p:spPr>
        <p:txBody>
          <a:bodyPr lIns="0" tIns="0" rIns="0" bIns="0"/>
          <a:lstStyle>
            <a:lvl1pPr marL="0" indent="0">
              <a:buNone/>
              <a:defRPr sz="2400" baseline="0">
                <a:solidFill>
                  <a:schemeClr val="accent1"/>
                </a:solidFill>
              </a:defRPr>
            </a:lvl1pPr>
          </a:lstStyle>
          <a:p>
            <a:pPr lvl="0"/>
            <a:r>
              <a:rPr lang="en-US" sz="2400" dirty="0">
                <a:solidFill>
                  <a:srgbClr val="F65050"/>
                </a:solidFill>
                <a:latin typeface="Arial" panose="020B0604020202020204" pitchFamily="34" charset="0"/>
                <a:cs typeface="Arial" panose="020B0604020202020204" pitchFamily="34" charset="0"/>
              </a:rPr>
              <a:t>H1 – Arial 32 pt. red: </a:t>
            </a:r>
            <a:r>
              <a:rPr lang="en-US" dirty="0"/>
              <a:t>Data Vis, Title with body text and small table graphic</a:t>
            </a:r>
          </a:p>
        </p:txBody>
      </p:sp>
    </p:spTree>
    <p:extLst>
      <p:ext uri="{BB962C8B-B14F-4D97-AF65-F5344CB8AC3E}">
        <p14:creationId xmlns:p14="http://schemas.microsoft.com/office/powerpoint/2010/main" val="304614178"/>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PATH: One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6"/>
          <p:cNvSpPr>
            <a:spLocks noGrp="1"/>
          </p:cNvSpPr>
          <p:nvPr>
            <p:ph type="body" sz="quarter" idx="13" hasCustomPrompt="1"/>
          </p:nvPr>
        </p:nvSpPr>
        <p:spPr>
          <a:xfrm>
            <a:off x="571500" y="2019300"/>
            <a:ext cx="8029576" cy="3924300"/>
          </a:xfrm>
          <a:prstGeom prst="rect">
            <a:avLst/>
          </a:prstGeom>
        </p:spPr>
        <p:txBody>
          <a:bodyPr lIns="0" tIns="0" rIns="0" bIns="0"/>
          <a:lstStyle>
            <a:lvl1pPr marL="0" marR="0" indent="0" algn="l" defTabSz="457189" rtl="0" eaLnBrk="1" fontAlgn="base" latinLnBrk="0" hangingPunct="1">
              <a:lnSpc>
                <a:spcPct val="100000"/>
              </a:lnSpc>
              <a:spcBef>
                <a:spcPts val="0"/>
              </a:spcBef>
              <a:spcAft>
                <a:spcPts val="1350"/>
              </a:spcAft>
              <a:buClrTx/>
              <a:buSzTx/>
              <a:buFont typeface="Arial" panose="020B0604020202020204" pitchFamily="34" charset="0"/>
              <a:buNone/>
              <a:tabLst/>
              <a:defRPr sz="1200" baseline="0">
                <a:solidFill>
                  <a:schemeClr val="tx1"/>
                </a:solidFill>
              </a:defRPr>
            </a:lvl1pPr>
            <a:lvl2pPr>
              <a:defRPr sz="1050"/>
            </a:lvl2pPr>
            <a:lvl3pPr>
              <a:defRPr sz="1050"/>
            </a:lvl3pPr>
            <a:lvl4pPr>
              <a:defRPr sz="1050"/>
            </a:lvl4pPr>
            <a:lvl5pPr>
              <a:defRPr sz="1050"/>
            </a:lvl5pPr>
          </a:lstStyle>
          <a:p>
            <a:pPr lvl="0"/>
            <a:r>
              <a:rPr lang="en-US" dirty="0"/>
              <a:t>Body text – Arial 16 pt., black, 18 pt. paragraph spacing after: This is used for a dense information page with a large amount of copy. Two column text box makes for easier reading; however, you may find a single column is necessary in certain situation. Use your discretion. </a:t>
            </a:r>
          </a:p>
          <a:p>
            <a:pPr marL="0" marR="0" lvl="0" indent="0" algn="l" defTabSz="457189" rtl="0" eaLnBrk="1" fontAlgn="base" latinLnBrk="0" hangingPunct="1">
              <a:lnSpc>
                <a:spcPct val="100000"/>
              </a:lnSpc>
              <a:spcBef>
                <a:spcPts val="0"/>
              </a:spcBef>
              <a:spcAft>
                <a:spcPts val="135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This is used for a dense information page with a large amount of copy. Two column text box makes for easier reading; however, you may find a single column is necessary in certain situation. Use your discretion. </a:t>
            </a:r>
          </a:p>
          <a:p>
            <a:pPr marL="0" marR="0" lvl="0" indent="0" algn="l" defTabSz="457189" rtl="0" eaLnBrk="1" fontAlgn="base" latinLnBrk="0" hangingPunct="1">
              <a:lnSpc>
                <a:spcPct val="100000"/>
              </a:lnSpc>
              <a:spcBef>
                <a:spcPts val="0"/>
              </a:spcBef>
              <a:spcAft>
                <a:spcPts val="1350"/>
              </a:spcAft>
              <a:buClrTx/>
              <a:buSzTx/>
              <a:buFont typeface="Arial" panose="020B0604020202020204" pitchFamily="34" charset="0"/>
              <a:buNone/>
              <a:tabLst/>
              <a:defRPr/>
            </a:pPr>
            <a:r>
              <a:rPr lang="en-US" dirty="0"/>
              <a:t>This is used for a dense information page with a large amount of copy. Two column text box makes for easier reading; however, you may find a single column is necessary in certain situation. Use your discretion. </a:t>
            </a:r>
          </a:p>
          <a:p>
            <a:pPr marL="0" marR="0" lvl="0" indent="0" algn="l" defTabSz="457189" rtl="0" eaLnBrk="1" fontAlgn="base" latinLnBrk="0" hangingPunct="1">
              <a:lnSpc>
                <a:spcPct val="100000"/>
              </a:lnSpc>
              <a:spcBef>
                <a:spcPts val="0"/>
              </a:spcBef>
              <a:spcAft>
                <a:spcPts val="1350"/>
              </a:spcAft>
              <a:buClrTx/>
              <a:buSzTx/>
              <a:buFont typeface="Arial" panose="020B0604020202020204" pitchFamily="34" charset="0"/>
              <a:buNone/>
              <a:tabLst/>
              <a:defRPr/>
            </a:pPr>
            <a:endParaRPr lang="en-US" dirty="0"/>
          </a:p>
          <a:p>
            <a:pPr lvl="0"/>
            <a:endParaRPr lang="en-US" dirty="0"/>
          </a:p>
        </p:txBody>
      </p:sp>
      <p:sp>
        <p:nvSpPr>
          <p:cNvPr id="7" name="Text Placeholder 4"/>
          <p:cNvSpPr>
            <a:spLocks noGrp="1"/>
          </p:cNvSpPr>
          <p:nvPr>
            <p:ph type="body" sz="quarter" idx="14" hasCustomPrompt="1"/>
          </p:nvPr>
        </p:nvSpPr>
        <p:spPr>
          <a:xfrm>
            <a:off x="571500" y="847224"/>
            <a:ext cx="8039100" cy="1095876"/>
          </a:xfrm>
          <a:prstGeom prst="rect">
            <a:avLst/>
          </a:prstGeom>
        </p:spPr>
        <p:txBody>
          <a:bodyPr lIns="0" tIns="0" rIns="0" bIns="0"/>
          <a:lstStyle>
            <a:lvl1pPr>
              <a:lnSpc>
                <a:spcPts val="3000"/>
              </a:lnSpc>
              <a:spcAft>
                <a:spcPts val="1350"/>
              </a:spcAft>
              <a:defRPr sz="2400" baseline="0">
                <a:solidFill>
                  <a:schemeClr val="accent1"/>
                </a:solidFill>
              </a:defRPr>
            </a:lvl1pPr>
          </a:lstStyle>
          <a:p>
            <a:pPr>
              <a:lnSpc>
                <a:spcPts val="4000"/>
              </a:lnSpc>
              <a:spcAft>
                <a:spcPts val="1800"/>
              </a:spcAft>
            </a:pPr>
            <a:r>
              <a:rPr lang="en-US" sz="2400" dirty="0">
                <a:solidFill>
                  <a:srgbClr val="F65050"/>
                </a:solidFill>
                <a:latin typeface="Arial" panose="020B0604020202020204" pitchFamily="34" charset="0"/>
                <a:cs typeface="Arial" panose="020B0604020202020204" pitchFamily="34" charset="0"/>
              </a:rPr>
              <a:t>H1 – Arial 32 pt. red: One column with dense body copy. The header can fit on two lines if needed</a:t>
            </a:r>
          </a:p>
        </p:txBody>
      </p:sp>
    </p:spTree>
    <p:extLst>
      <p:ext uri="{BB962C8B-B14F-4D97-AF65-F5344CB8AC3E}">
        <p14:creationId xmlns:p14="http://schemas.microsoft.com/office/powerpoint/2010/main" val="908272120"/>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PATH: One column text box, Half page photo">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Picture Placeholder 2"/>
          <p:cNvSpPr>
            <a:spLocks noGrp="1"/>
          </p:cNvSpPr>
          <p:nvPr>
            <p:ph type="pic" sz="quarter" idx="15"/>
          </p:nvPr>
        </p:nvSpPr>
        <p:spPr>
          <a:xfrm>
            <a:off x="4743450" y="0"/>
            <a:ext cx="4400550" cy="6858000"/>
          </a:xfrm>
          <a:prstGeom prst="rect">
            <a:avLst/>
          </a:prstGeom>
        </p:spPr>
        <p:txBody>
          <a:bodyPr/>
          <a:lstStyle/>
          <a:p>
            <a:r>
              <a:rPr lang="en-US"/>
              <a:t>Click icon to add picture</a:t>
            </a:r>
          </a:p>
        </p:txBody>
      </p:sp>
      <p:sp>
        <p:nvSpPr>
          <p:cNvPr id="7" name="Text Placeholder 4"/>
          <p:cNvSpPr>
            <a:spLocks noGrp="1"/>
          </p:cNvSpPr>
          <p:nvPr>
            <p:ph type="body" sz="quarter" idx="16" hasCustomPrompt="1"/>
          </p:nvPr>
        </p:nvSpPr>
        <p:spPr>
          <a:xfrm>
            <a:off x="571501" y="837816"/>
            <a:ext cx="3829050" cy="1014891"/>
          </a:xfrm>
          <a:prstGeom prst="rect">
            <a:avLst/>
          </a:prstGeom>
        </p:spPr>
        <p:txBody>
          <a:bodyPr lIns="0" tIns="0" rIns="0" bIns="0"/>
          <a:lstStyle>
            <a:lvl1pPr>
              <a:defRPr sz="2400" baseline="0">
                <a:solidFill>
                  <a:schemeClr val="accent1"/>
                </a:solidFill>
              </a:defRPr>
            </a:lvl1pPr>
          </a:lstStyle>
          <a:p>
            <a:pPr lvl="0"/>
            <a:r>
              <a:rPr lang="en-US" sz="2400" dirty="0">
                <a:solidFill>
                  <a:srgbClr val="F65050"/>
                </a:solidFill>
                <a:latin typeface="Arial" panose="020B0604020202020204" pitchFamily="34" charset="0"/>
                <a:cs typeface="Arial" panose="020B0604020202020204" pitchFamily="34" charset="0"/>
              </a:rPr>
              <a:t>H1 – Arial 32 pt. red: </a:t>
            </a:r>
            <a:r>
              <a:rPr lang="en-US" dirty="0"/>
              <a:t>Single col of </a:t>
            </a:r>
            <a:r>
              <a:rPr lang="en-US" dirty="0" err="1"/>
              <a:t>text,half</a:t>
            </a:r>
            <a:r>
              <a:rPr lang="en-US" dirty="0"/>
              <a:t>-page photo</a:t>
            </a:r>
          </a:p>
        </p:txBody>
      </p:sp>
      <p:sp>
        <p:nvSpPr>
          <p:cNvPr id="8" name="Text Placeholder 6"/>
          <p:cNvSpPr>
            <a:spLocks noGrp="1"/>
          </p:cNvSpPr>
          <p:nvPr>
            <p:ph type="body" sz="quarter" idx="17" hasCustomPrompt="1"/>
          </p:nvPr>
        </p:nvSpPr>
        <p:spPr>
          <a:xfrm>
            <a:off x="571500" y="2019300"/>
            <a:ext cx="3829051" cy="3905251"/>
          </a:xfrm>
          <a:prstGeom prst="rect">
            <a:avLst/>
          </a:prstGeom>
        </p:spPr>
        <p:txBody>
          <a:bodyPr lIns="0" tIns="0" rIns="0" bIns="0"/>
          <a:lstStyle>
            <a:lvl1pPr marL="0" marR="0" indent="0" algn="l" defTabSz="457189" rtl="0" eaLnBrk="1" fontAlgn="base" latinLnBrk="0" hangingPunct="1">
              <a:lnSpc>
                <a:spcPct val="100000"/>
              </a:lnSpc>
              <a:spcBef>
                <a:spcPts val="0"/>
              </a:spcBef>
              <a:spcAft>
                <a:spcPts val="1350"/>
              </a:spcAft>
              <a:buClrTx/>
              <a:buSzTx/>
              <a:buFont typeface="Arial" panose="020B0604020202020204" pitchFamily="34" charset="0"/>
              <a:buNone/>
              <a:tabLst/>
              <a:defRPr sz="1200">
                <a:solidFill>
                  <a:schemeClr val="tx1"/>
                </a:solidFill>
              </a:defRPr>
            </a:lvl1pPr>
            <a:lvl2pPr>
              <a:defRPr sz="1050"/>
            </a:lvl2pPr>
            <a:lvl3pPr>
              <a:defRPr sz="1050"/>
            </a:lvl3pPr>
            <a:lvl4pPr>
              <a:defRPr sz="1050"/>
            </a:lvl4pPr>
            <a:lvl5pPr>
              <a:defRPr sz="1050"/>
            </a:lvl5pPr>
          </a:lstStyle>
          <a:p>
            <a:pPr lvl="0"/>
            <a:r>
              <a:rPr lang="en-US" dirty="0"/>
              <a:t>Body text – Arial 16 pt., black, 18 pt. paragraph spacing after: This is used for a smaller amount of text to accompany an image. It’s intended to hold a few talking points. Aim for clear and concise.  </a:t>
            </a:r>
          </a:p>
          <a:p>
            <a:pPr marL="0" marR="0" lvl="0" indent="0" algn="l" defTabSz="457189" rtl="0" eaLnBrk="1" fontAlgn="base" latinLnBrk="0" hangingPunct="1">
              <a:lnSpc>
                <a:spcPct val="100000"/>
              </a:lnSpc>
              <a:spcBef>
                <a:spcPts val="0"/>
              </a:spcBef>
              <a:spcAft>
                <a:spcPts val="1350"/>
              </a:spcAft>
              <a:buClrTx/>
              <a:buSzTx/>
              <a:buFont typeface="Arial" panose="020B0604020202020204" pitchFamily="34" charset="0"/>
              <a:buNone/>
              <a:tabLst/>
              <a:defRPr/>
            </a:pPr>
            <a:r>
              <a:rPr lang="en-US" dirty="0"/>
              <a:t>This is used for a smaller amount of text to accompany an image. It’s intended to hold a few talking points. Aim for clear and concise. This is used for a smaller amount of text to accompany an image. It’s intended to hold a few talking points. Aim for clear and concise.  </a:t>
            </a:r>
          </a:p>
        </p:txBody>
      </p:sp>
    </p:spTree>
    <p:extLst>
      <p:ext uri="{BB962C8B-B14F-4D97-AF65-F5344CB8AC3E}">
        <p14:creationId xmlns:p14="http://schemas.microsoft.com/office/powerpoint/2010/main" val="2581752044"/>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PATH: DataVis - Large 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able Placeholder 3"/>
          <p:cNvSpPr>
            <a:spLocks noGrp="1"/>
          </p:cNvSpPr>
          <p:nvPr>
            <p:ph type="tbl" sz="quarter" idx="16" hasCustomPrompt="1"/>
          </p:nvPr>
        </p:nvSpPr>
        <p:spPr>
          <a:xfrm>
            <a:off x="571500" y="849086"/>
            <a:ext cx="8039100" cy="5094514"/>
          </a:xfrm>
          <a:prstGeom prst="rect">
            <a:avLst/>
          </a:prstGeom>
        </p:spPr>
        <p:txBody>
          <a:bodyPr/>
          <a:lstStyle>
            <a:lvl1pPr marL="0" indent="0">
              <a:buNone/>
              <a:defRPr baseline="0">
                <a:solidFill>
                  <a:schemeClr val="tx1"/>
                </a:solidFill>
              </a:defRPr>
            </a:lvl1pPr>
          </a:lstStyle>
          <a:p>
            <a:r>
              <a:rPr lang="en-US" dirty="0"/>
              <a:t>Full page Table – Red is the preferred color for tables; however, you can change the color within the data visualization palette if needed</a:t>
            </a:r>
          </a:p>
        </p:txBody>
      </p:sp>
    </p:spTree>
    <p:extLst>
      <p:ext uri="{BB962C8B-B14F-4D97-AF65-F5344CB8AC3E}">
        <p14:creationId xmlns:p14="http://schemas.microsoft.com/office/powerpoint/2010/main" val="3658703625"/>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A0237-107F-4A5E-BBC8-11D791F5BB90}"/>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1F1DEF5-A067-4DFE-B5F6-537AAEF9224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BA876AF8-C25C-430C-B21A-FF594DDF0F88}"/>
              </a:ext>
            </a:extLst>
          </p:cNvPr>
          <p:cNvSpPr>
            <a:spLocks noGrp="1"/>
          </p:cNvSpPr>
          <p:nvPr>
            <p:ph type="dt" sz="half" idx="10"/>
          </p:nvPr>
        </p:nvSpPr>
        <p:spPr/>
        <p:txBody>
          <a:bodyPr/>
          <a:lstStyle/>
          <a:p>
            <a:fld id="{7ED16FE0-12B2-4343-9B63-2228EE4D519B}" type="datetimeFigureOut">
              <a:rPr lang="en-IN" smtClean="0"/>
              <a:t>02-02-2022</a:t>
            </a:fld>
            <a:endParaRPr lang="en-IN"/>
          </a:p>
        </p:txBody>
      </p:sp>
      <p:sp>
        <p:nvSpPr>
          <p:cNvPr id="5" name="Footer Placeholder 4">
            <a:extLst>
              <a:ext uri="{FF2B5EF4-FFF2-40B4-BE49-F238E27FC236}">
                <a16:creationId xmlns:a16="http://schemas.microsoft.com/office/drawing/2014/main" id="{59F2925C-3C38-4271-9229-DC0705C4438B}"/>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837FAD0A-BB00-4F85-B8A9-2AC563270A9F}"/>
              </a:ext>
            </a:extLst>
          </p:cNvPr>
          <p:cNvSpPr>
            <a:spLocks noGrp="1"/>
          </p:cNvSpPr>
          <p:nvPr>
            <p:ph type="sldNum" sz="quarter" idx="12"/>
          </p:nvPr>
        </p:nvSpPr>
        <p:spPr/>
        <p:txBody>
          <a:bodyPr/>
          <a:lstStyle/>
          <a:p>
            <a:fld id="{F8CF8FC9-CE59-4045-9FF2-5CA7A8176081}" type="slidenum">
              <a:rPr lang="en-IN" smtClean="0"/>
              <a:t>‹#›</a:t>
            </a:fld>
            <a:endParaRPr lang="en-IN"/>
          </a:p>
        </p:txBody>
      </p:sp>
    </p:spTree>
    <p:extLst>
      <p:ext uri="{BB962C8B-B14F-4D97-AF65-F5344CB8AC3E}">
        <p14:creationId xmlns:p14="http://schemas.microsoft.com/office/powerpoint/2010/main" val="12295290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9921F0-C1FF-4CC9-8E71-1A99DD2CB89D}"/>
              </a:ext>
            </a:extLst>
          </p:cNvPr>
          <p:cNvSpPr/>
          <p:nvPr userDrawn="1"/>
        </p:nvSpPr>
        <p:spPr>
          <a:xfrm>
            <a:off x="3175" y="6400800"/>
            <a:ext cx="9140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a:extLst>
              <a:ext uri="{FF2B5EF4-FFF2-40B4-BE49-F238E27FC236}">
                <a16:creationId xmlns:a16="http://schemas.microsoft.com/office/drawing/2014/main" id="{2417A853-4067-47D9-B20E-EE5ED4FE9030}"/>
              </a:ext>
            </a:extLst>
          </p:cNvPr>
          <p:cNvSpPr/>
          <p:nvPr/>
        </p:nvSpPr>
        <p:spPr>
          <a:xfrm>
            <a:off x="0" y="6334125"/>
            <a:ext cx="9142413"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5">
            <a:extLst>
              <a:ext uri="{FF2B5EF4-FFF2-40B4-BE49-F238E27FC236}">
                <a16:creationId xmlns:a16="http://schemas.microsoft.com/office/drawing/2014/main" id="{B94ABD97-F27F-446E-96FB-FF339087E177}"/>
              </a:ext>
            </a:extLst>
          </p:cNvPr>
          <p:cNvCxnSpPr/>
          <p:nvPr/>
        </p:nvCxnSpPr>
        <p:spPr>
          <a:xfrm>
            <a:off x="906463" y="4343400"/>
            <a:ext cx="740568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22960" y="758952"/>
            <a:ext cx="7543800" cy="3566160"/>
          </a:xfrm>
        </p:spPr>
        <p:txBody>
          <a:bodyPr anchorCtr="0"/>
          <a:lstStyle>
            <a:lvl1pPr>
              <a:lnSpc>
                <a:spcPct val="85000"/>
              </a:lnSpc>
              <a:defRPr sz="6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22960" y="4453128"/>
            <a:ext cx="7543800" cy="1143000"/>
          </a:xfrm>
        </p:spPr>
        <p:txBody>
          <a:bodyPr lIns="91440" rIns="91440"/>
          <a:lstStyle>
            <a:lvl1pPr marL="0" indent="0">
              <a:buNone/>
              <a:defRPr sz="1800" cap="all" spc="150" baseline="0">
                <a:solidFill>
                  <a:schemeClr val="tx2"/>
                </a:solidFill>
                <a:latin typeface="+mj-lt"/>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9" name="Slide Number Placeholder 5">
            <a:extLst>
              <a:ext uri="{FF2B5EF4-FFF2-40B4-BE49-F238E27FC236}">
                <a16:creationId xmlns:a16="http://schemas.microsoft.com/office/drawing/2014/main" id="{B52697D0-5DBD-447C-9225-17BE3DF9F996}"/>
              </a:ext>
            </a:extLst>
          </p:cNvPr>
          <p:cNvSpPr>
            <a:spLocks noGrp="1"/>
          </p:cNvSpPr>
          <p:nvPr>
            <p:ph type="sldNum" sz="quarter" idx="12"/>
          </p:nvPr>
        </p:nvSpPr>
        <p:spPr/>
        <p:txBody>
          <a:bodyPr/>
          <a:lstStyle>
            <a:lvl1pPr>
              <a:defRPr/>
            </a:lvl1pPr>
          </a:lstStyle>
          <a:p>
            <a:fld id="{64D462C5-3F1D-49E6-BCE8-D7EE55007787}" type="slidenum">
              <a:rPr lang="en-US" altLang="en-US"/>
              <a:pPr/>
              <a:t>‹#›</a:t>
            </a:fld>
            <a:endParaRPr lang="en-US" altLang="en-US"/>
          </a:p>
        </p:txBody>
      </p:sp>
    </p:spTree>
    <p:extLst>
      <p:ext uri="{BB962C8B-B14F-4D97-AF65-F5344CB8AC3E}">
        <p14:creationId xmlns:p14="http://schemas.microsoft.com/office/powerpoint/2010/main" val="31263586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5750" y="274640"/>
            <a:ext cx="8172450" cy="511575"/>
          </a:xfrm>
        </p:spPr>
        <p:txBody>
          <a:bodyPr>
            <a:noAutofit/>
          </a:bodyPr>
          <a:lstStyle>
            <a:lvl1pPr>
              <a:defRPr sz="2700">
                <a:solidFill>
                  <a:srgbClr val="003440"/>
                </a:solidFill>
              </a:defRPr>
            </a:lvl1pPr>
          </a:lstStyle>
          <a:p>
            <a:r>
              <a:rPr lang="en-US" dirty="0"/>
              <a:t>CLICK TO EDIT MASTER TITLE STYLE</a:t>
            </a:r>
          </a:p>
        </p:txBody>
      </p:sp>
      <p:sp>
        <p:nvSpPr>
          <p:cNvPr id="3" name="Content Placeholder 2"/>
          <p:cNvSpPr>
            <a:spLocks noGrp="1"/>
          </p:cNvSpPr>
          <p:nvPr>
            <p:ph idx="1"/>
          </p:nvPr>
        </p:nvSpPr>
        <p:spPr>
          <a:xfrm>
            <a:off x="285750" y="1457778"/>
            <a:ext cx="8172450" cy="1946275"/>
          </a:xfrm>
        </p:spPr>
        <p:txBody>
          <a:bodyPr/>
          <a:lstStyle>
            <a:lvl1pPr>
              <a:defRPr sz="2100" baseline="0"/>
            </a:lvl1pPr>
            <a:lvl2pPr>
              <a:buSzPct val="75000"/>
              <a:defRPr baseline="0"/>
            </a:lvl2pPr>
            <a:lvl3pPr>
              <a:buSzPct val="75000"/>
              <a:defRPr baseline="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0"/>
          </p:nvPr>
        </p:nvSpPr>
        <p:spPr>
          <a:xfrm>
            <a:off x="285750" y="786213"/>
            <a:ext cx="7886700" cy="367810"/>
          </a:xfrm>
        </p:spPr>
        <p:txBody>
          <a:bodyPr/>
          <a:lstStyle>
            <a:lvl1pPr marL="0" indent="0">
              <a:buNone/>
              <a:defRPr sz="1350">
                <a:solidFill>
                  <a:schemeClr val="tx2">
                    <a:lumMod val="75000"/>
                  </a:schemeClr>
                </a:solidFill>
              </a:defRPr>
            </a:lvl1pPr>
          </a:lstStyle>
          <a:p>
            <a:pPr lvl="0"/>
            <a:r>
              <a:rPr lang="en-US" dirty="0"/>
              <a:t>Edit Master text styles</a:t>
            </a:r>
          </a:p>
        </p:txBody>
      </p:sp>
      <p:sp>
        <p:nvSpPr>
          <p:cNvPr id="6" name="Slide Number Placeholder 3"/>
          <p:cNvSpPr txBox="1">
            <a:spLocks/>
          </p:cNvSpPr>
          <p:nvPr userDrawn="1"/>
        </p:nvSpPr>
        <p:spPr>
          <a:xfrm>
            <a:off x="6457950" y="6356351"/>
            <a:ext cx="2057400" cy="365125"/>
          </a:xfrm>
          <a:prstGeom prst="rect">
            <a:avLst/>
          </a:prstGeom>
        </p:spPr>
        <p:txBody>
          <a:bodyPr vert="horz" lIns="68580" tIns="34290" rIns="68580" bIns="3429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8BD2BE-9007-424F-A2A8-DD983EAFC47D}" type="slidenum">
              <a:rPr lang="en-US" sz="900" smtClean="0"/>
              <a:pPr/>
              <a:t>‹#›</a:t>
            </a:fld>
            <a:endParaRPr lang="en-US" sz="900"/>
          </a:p>
        </p:txBody>
      </p:sp>
      <p:sp>
        <p:nvSpPr>
          <p:cNvPr id="8" name="Slide Number Placeholder 5">
            <a:extLst>
              <a:ext uri="{FF2B5EF4-FFF2-40B4-BE49-F238E27FC236}">
                <a16:creationId xmlns:a16="http://schemas.microsoft.com/office/drawing/2014/main" id="{ADFA9B04-6ABC-4A2F-AED5-29B9386F49D4}"/>
              </a:ext>
            </a:extLst>
          </p:cNvPr>
          <p:cNvSpPr>
            <a:spLocks noGrp="1"/>
          </p:cNvSpPr>
          <p:nvPr>
            <p:ph type="sldNum" sz="quarter" idx="4"/>
          </p:nvPr>
        </p:nvSpPr>
        <p:spPr>
          <a:xfrm>
            <a:off x="285750" y="6469064"/>
            <a:ext cx="2057400" cy="180975"/>
          </a:xfrm>
          <a:prstGeom prst="rect">
            <a:avLst/>
          </a:prstGeom>
        </p:spPr>
        <p:txBody>
          <a:bodyPr lIns="0" tIns="0" rIns="0" bIns="0"/>
          <a:lstStyle>
            <a:lvl1pPr>
              <a:defRPr sz="750">
                <a:solidFill>
                  <a:schemeClr val="bg1"/>
                </a:solidFill>
              </a:defRPr>
            </a:lvl1pPr>
          </a:lstStyle>
          <a:p>
            <a:r>
              <a:rPr lang="en-US" dirty="0"/>
              <a:t>Slide </a:t>
            </a:r>
            <a:fld id="{169D5D48-03A9-4E7B-A5D6-79B86BF9AD52}" type="slidenum">
              <a:rPr lang="en-US" smtClean="0"/>
              <a:pPr/>
              <a:t>‹#›</a:t>
            </a:fld>
            <a:endParaRPr lang="en-US" dirty="0"/>
          </a:p>
        </p:txBody>
      </p:sp>
    </p:spTree>
    <p:extLst>
      <p:ext uri="{BB962C8B-B14F-4D97-AF65-F5344CB8AC3E}">
        <p14:creationId xmlns:p14="http://schemas.microsoft.com/office/powerpoint/2010/main" val="42339102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_PATH: Two column text box">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Optional footer (program team name, etc.)</a:t>
            </a:r>
            <a:endParaRPr lang="en-US" dirty="0"/>
          </a:p>
        </p:txBody>
      </p:sp>
      <p:sp>
        <p:nvSpPr>
          <p:cNvPr id="4" name="Date Placeholder 3"/>
          <p:cNvSpPr>
            <a:spLocks noGrp="1"/>
          </p:cNvSpPr>
          <p:nvPr>
            <p:ph type="dt" sz="half" idx="11"/>
          </p:nvPr>
        </p:nvSpPr>
        <p:spPr/>
        <p:txBody>
          <a:bodyPr/>
          <a:lstStyle/>
          <a:p>
            <a:r>
              <a:rPr lang="en-US"/>
              <a:t>Presentation Title | Section Title</a:t>
            </a:r>
            <a:endParaRPr lang="en-US" dirty="0"/>
          </a:p>
        </p:txBody>
      </p:sp>
      <p:sp>
        <p:nvSpPr>
          <p:cNvPr id="5" name="Slide Number Placeholder 4"/>
          <p:cNvSpPr>
            <a:spLocks noGrp="1"/>
          </p:cNvSpPr>
          <p:nvPr>
            <p:ph type="sldNum" sz="quarter" idx="12"/>
          </p:nvPr>
        </p:nvSpPr>
        <p:spPr/>
        <p:txBody>
          <a:bodyPr/>
          <a:lstStyle/>
          <a:p>
            <a:fld id="{E28D367D-202E-4BB0-8243-51A46362D732}" type="slidenum">
              <a:rPr lang="en-US" smtClean="0"/>
              <a:pPr/>
              <a:t>‹#›</a:t>
            </a:fld>
            <a:endParaRPr lang="en-US" dirty="0"/>
          </a:p>
        </p:txBody>
      </p:sp>
      <p:sp>
        <p:nvSpPr>
          <p:cNvPr id="6" name="Text Placeholder 4"/>
          <p:cNvSpPr>
            <a:spLocks noGrp="1"/>
          </p:cNvSpPr>
          <p:nvPr>
            <p:ph type="body" sz="quarter" idx="13" hasCustomPrompt="1"/>
          </p:nvPr>
        </p:nvSpPr>
        <p:spPr>
          <a:xfrm>
            <a:off x="571500" y="847225"/>
            <a:ext cx="8039100" cy="1045371"/>
          </a:xfrm>
          <a:prstGeom prst="rect">
            <a:avLst/>
          </a:prstGeom>
        </p:spPr>
        <p:txBody>
          <a:bodyPr lIns="0" tIns="0" rIns="0" bIns="0"/>
          <a:lstStyle>
            <a:lvl1pPr>
              <a:lnSpc>
                <a:spcPts val="3000"/>
              </a:lnSpc>
              <a:spcAft>
                <a:spcPts val="1350"/>
              </a:spcAft>
              <a:defRPr sz="2400" baseline="0">
                <a:solidFill>
                  <a:schemeClr val="accent1"/>
                </a:solidFill>
              </a:defRPr>
            </a:lvl1pPr>
          </a:lstStyle>
          <a:p>
            <a:pPr>
              <a:lnSpc>
                <a:spcPts val="4000"/>
              </a:lnSpc>
              <a:spcAft>
                <a:spcPts val="1800"/>
              </a:spcAft>
            </a:pPr>
            <a:r>
              <a:rPr lang="en-US" sz="2400" dirty="0">
                <a:solidFill>
                  <a:srgbClr val="F65050"/>
                </a:solidFill>
                <a:latin typeface="Arial" panose="020B0604020202020204" pitchFamily="34" charset="0"/>
                <a:cs typeface="Arial" panose="020B0604020202020204" pitchFamily="34" charset="0"/>
              </a:rPr>
              <a:t>H1 – Arial 32 pt. red: Two column with dense body copy. The header can fit on two lines if needed</a:t>
            </a:r>
          </a:p>
        </p:txBody>
      </p:sp>
      <p:sp>
        <p:nvSpPr>
          <p:cNvPr id="7" name="Text Placeholder 6"/>
          <p:cNvSpPr>
            <a:spLocks noGrp="1"/>
          </p:cNvSpPr>
          <p:nvPr>
            <p:ph type="body" sz="quarter" idx="14" hasCustomPrompt="1"/>
          </p:nvPr>
        </p:nvSpPr>
        <p:spPr>
          <a:xfrm>
            <a:off x="571501" y="2019300"/>
            <a:ext cx="8029575" cy="3924300"/>
          </a:xfrm>
          <a:prstGeom prst="rect">
            <a:avLst/>
          </a:prstGeom>
        </p:spPr>
        <p:txBody>
          <a:bodyPr lIns="0" tIns="0" rIns="0" bIns="0" numCol="2" spcCol="457200"/>
          <a:lstStyle>
            <a:lvl1pPr marL="0" marR="0" indent="0" algn="l" defTabSz="457189" rtl="0" eaLnBrk="1" fontAlgn="base" latinLnBrk="0" hangingPunct="1">
              <a:lnSpc>
                <a:spcPts val="1350"/>
              </a:lnSpc>
              <a:spcBef>
                <a:spcPts val="0"/>
              </a:spcBef>
              <a:spcAft>
                <a:spcPts val="1350"/>
              </a:spcAft>
              <a:buClrTx/>
              <a:buSzTx/>
              <a:buFont typeface="Arial" panose="020B0604020202020204" pitchFamily="34" charset="0"/>
              <a:buNone/>
              <a:tabLst/>
              <a:defRPr sz="1200" baseline="0">
                <a:solidFill>
                  <a:schemeClr val="tx1"/>
                </a:solidFill>
              </a:defRPr>
            </a:lvl1pPr>
            <a:lvl2pPr>
              <a:defRPr sz="1050"/>
            </a:lvl2pPr>
            <a:lvl3pPr>
              <a:defRPr sz="1050"/>
            </a:lvl3pPr>
            <a:lvl4pPr>
              <a:defRPr sz="1050"/>
            </a:lvl4pPr>
            <a:lvl5pPr>
              <a:defRPr sz="1050"/>
            </a:lvl5pPr>
          </a:lstStyle>
          <a:p>
            <a:pPr>
              <a:lnSpc>
                <a:spcPts val="1800"/>
              </a:lnSpc>
              <a:spcAft>
                <a:spcPts val="1800"/>
              </a:spcAft>
            </a:pPr>
            <a:r>
              <a:rPr lang="en-US" dirty="0"/>
              <a:t>Body text – Arial 16 pt., black, 18 pt. paragraph spacing after: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p>
          <a:p>
            <a:pPr>
              <a:lnSpc>
                <a:spcPts val="1800"/>
              </a:lnSpc>
              <a:spcAft>
                <a:spcPts val="1800"/>
              </a:spcAft>
            </a:pPr>
            <a:r>
              <a:rPr lang="en-US" dirty="0"/>
              <a:t>This is used for a dense information page with a large amount of copy. This is used for a dense information page with a large amount of copy. This is used for a dense information page with a large amount of copy. This is used for a dense information page with a large amount of copy. </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9064027"/>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F209926A-CACE-4D61-88B3-F36EBEA533EB}"/>
              </a:ext>
            </a:extLst>
          </p:cNvPr>
          <p:cNvSpPr>
            <a:spLocks noGrp="1"/>
          </p:cNvSpPr>
          <p:nvPr>
            <p:ph type="dt" sz="half" idx="10"/>
          </p:nvPr>
        </p:nvSpPr>
        <p:spPr/>
        <p:txBody>
          <a:bodyPr/>
          <a:lstStyle>
            <a:lvl1pPr>
              <a:defRPr/>
            </a:lvl1pPr>
          </a:lstStyle>
          <a:p>
            <a:pPr>
              <a:defRPr/>
            </a:pPr>
            <a:fld id="{0846EC9B-4D38-445B-810E-16156BC74C04}" type="datetime1">
              <a:rPr lang="en-US"/>
              <a:pPr>
                <a:defRPr/>
              </a:pPr>
              <a:t>2/2/2022</a:t>
            </a:fld>
            <a:endParaRPr lang="en-US"/>
          </a:p>
        </p:txBody>
      </p:sp>
      <p:sp>
        <p:nvSpPr>
          <p:cNvPr id="4" name="Footer Placeholder 4">
            <a:extLst>
              <a:ext uri="{FF2B5EF4-FFF2-40B4-BE49-F238E27FC236}">
                <a16:creationId xmlns:a16="http://schemas.microsoft.com/office/drawing/2014/main" id="{69FE0168-4467-458F-9302-0BF125133731}"/>
              </a:ext>
            </a:extLst>
          </p:cNvPr>
          <p:cNvSpPr>
            <a:spLocks noGrp="1"/>
          </p:cNvSpPr>
          <p:nvPr>
            <p:ph type="ftr" sz="quarter" idx="11"/>
          </p:nvPr>
        </p:nvSpPr>
        <p:spPr/>
        <p:txBody>
          <a:bodyPr/>
          <a:lstStyle>
            <a:lvl1pPr>
              <a:defRPr/>
            </a:lvl1pPr>
          </a:lstStyle>
          <a:p>
            <a:pPr>
              <a:defRPr/>
            </a:pPr>
            <a:r>
              <a:rPr lang="en-US"/>
              <a:t>Reaching Impact, Saturation, and Epidemic Control (RISE)</a:t>
            </a:r>
          </a:p>
        </p:txBody>
      </p:sp>
      <p:sp>
        <p:nvSpPr>
          <p:cNvPr id="5" name="Slide Number Placeholder 5">
            <a:extLst>
              <a:ext uri="{FF2B5EF4-FFF2-40B4-BE49-F238E27FC236}">
                <a16:creationId xmlns:a16="http://schemas.microsoft.com/office/drawing/2014/main" id="{ADEC7BE4-5BF3-4A4F-B7CC-D98A32A54DF3}"/>
              </a:ext>
            </a:extLst>
          </p:cNvPr>
          <p:cNvSpPr>
            <a:spLocks noGrp="1"/>
          </p:cNvSpPr>
          <p:nvPr>
            <p:ph type="sldNum" sz="quarter" idx="12"/>
          </p:nvPr>
        </p:nvSpPr>
        <p:spPr/>
        <p:txBody>
          <a:bodyPr/>
          <a:lstStyle>
            <a:lvl1pPr>
              <a:defRPr/>
            </a:lvl1pPr>
          </a:lstStyle>
          <a:p>
            <a:fld id="{9F941C2A-6BAB-4279-B849-D6389F34E1CF}" type="slidenum">
              <a:rPr lang="en-US" altLang="en-US"/>
              <a:pPr/>
              <a:t>‹#›</a:t>
            </a:fld>
            <a:endParaRPr lang="en-US" altLang="en-US"/>
          </a:p>
        </p:txBody>
      </p:sp>
    </p:spTree>
    <p:extLst>
      <p:ext uri="{BB962C8B-B14F-4D97-AF65-F5344CB8AC3E}">
        <p14:creationId xmlns:p14="http://schemas.microsoft.com/office/powerpoint/2010/main" val="30374397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8DAC6-FB0D-4C78-B87E-1D5D99935D1A}"/>
              </a:ext>
            </a:extLst>
          </p:cNvPr>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0736BD-170E-4C29-A10E-AEEBAA1C6DA3}"/>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5B601F1-D114-420E-A072-DDE9EB5A1816}"/>
              </a:ext>
            </a:extLst>
          </p:cNvPr>
          <p:cNvSpPr>
            <a:spLocks noGrp="1"/>
          </p:cNvSpPr>
          <p:nvPr>
            <p:ph type="dt" sz="half" idx="10"/>
          </p:nvPr>
        </p:nvSpPr>
        <p:spPr/>
        <p:txBody>
          <a:bodyPr/>
          <a:lstStyle/>
          <a:p>
            <a:fld id="{7A21DE32-92D5-476E-B74E-5E0EBA320909}" type="datetimeFigureOut">
              <a:rPr lang="en-US" smtClean="0"/>
              <a:t>2/2/2022</a:t>
            </a:fld>
            <a:endParaRPr lang="en-US"/>
          </a:p>
        </p:txBody>
      </p:sp>
      <p:sp>
        <p:nvSpPr>
          <p:cNvPr id="5" name="Footer Placeholder 4">
            <a:extLst>
              <a:ext uri="{FF2B5EF4-FFF2-40B4-BE49-F238E27FC236}">
                <a16:creationId xmlns:a16="http://schemas.microsoft.com/office/drawing/2014/main" id="{26B79464-9408-4FEF-8371-6B5C54D1A9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584897-8BE8-4254-A4E5-9EDA884B40FE}"/>
              </a:ext>
            </a:extLst>
          </p:cNvPr>
          <p:cNvSpPr>
            <a:spLocks noGrp="1"/>
          </p:cNvSpPr>
          <p:nvPr>
            <p:ph type="sldNum" sz="quarter" idx="12"/>
          </p:nvPr>
        </p:nvSpPr>
        <p:spPr/>
        <p:txBody>
          <a:bodyPr/>
          <a:lstStyle/>
          <a:p>
            <a:fld id="{DCA8D7EE-9FFF-4FBD-B9AF-9636F3811D48}" type="slidenum">
              <a:rPr lang="en-US" smtClean="0"/>
              <a:t>‹#›</a:t>
            </a:fld>
            <a:endParaRPr lang="en-US"/>
          </a:p>
        </p:txBody>
      </p:sp>
    </p:spTree>
    <p:extLst>
      <p:ext uri="{BB962C8B-B14F-4D97-AF65-F5344CB8AC3E}">
        <p14:creationId xmlns:p14="http://schemas.microsoft.com/office/powerpoint/2010/main" val="9366398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63EB76-FE53-48E7-BB58-C1F68CC45A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87E484-ED60-4C94-90C0-71F9AB1A1C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6E0BFC-1061-4F72-A208-854EA59065EB}"/>
              </a:ext>
            </a:extLst>
          </p:cNvPr>
          <p:cNvSpPr>
            <a:spLocks noGrp="1"/>
          </p:cNvSpPr>
          <p:nvPr>
            <p:ph type="dt" sz="half" idx="10"/>
          </p:nvPr>
        </p:nvSpPr>
        <p:spPr/>
        <p:txBody>
          <a:bodyPr/>
          <a:lstStyle/>
          <a:p>
            <a:fld id="{7A21DE32-92D5-476E-B74E-5E0EBA320909}" type="datetimeFigureOut">
              <a:rPr lang="en-US" smtClean="0"/>
              <a:t>2/2/2022</a:t>
            </a:fld>
            <a:endParaRPr lang="en-US"/>
          </a:p>
        </p:txBody>
      </p:sp>
      <p:sp>
        <p:nvSpPr>
          <p:cNvPr id="5" name="Footer Placeholder 4">
            <a:extLst>
              <a:ext uri="{FF2B5EF4-FFF2-40B4-BE49-F238E27FC236}">
                <a16:creationId xmlns:a16="http://schemas.microsoft.com/office/drawing/2014/main" id="{B01E6CC6-43F0-4838-AB87-877906AF6E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57FCAC-79BA-4AA7-ACB9-D2CCCC79313D}"/>
              </a:ext>
            </a:extLst>
          </p:cNvPr>
          <p:cNvSpPr>
            <a:spLocks noGrp="1"/>
          </p:cNvSpPr>
          <p:nvPr>
            <p:ph type="sldNum" sz="quarter" idx="12"/>
          </p:nvPr>
        </p:nvSpPr>
        <p:spPr/>
        <p:txBody>
          <a:bodyPr/>
          <a:lstStyle/>
          <a:p>
            <a:fld id="{DCA8D7EE-9FFF-4FBD-B9AF-9636F3811D48}" type="slidenum">
              <a:rPr lang="en-US" smtClean="0"/>
              <a:t>‹#›</a:t>
            </a:fld>
            <a:endParaRPr lang="en-US"/>
          </a:p>
        </p:txBody>
      </p:sp>
    </p:spTree>
    <p:extLst>
      <p:ext uri="{BB962C8B-B14F-4D97-AF65-F5344CB8AC3E}">
        <p14:creationId xmlns:p14="http://schemas.microsoft.com/office/powerpoint/2010/main" val="9667044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5BCDC-BBC7-4352-BB10-74967235C990}"/>
              </a:ext>
            </a:extLst>
          </p:cNvPr>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5AFE552-5958-4BDE-91F8-8B3779995DCD}"/>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C8709D-6DBF-4C93-8E18-B8E79AE2F7A0}"/>
              </a:ext>
            </a:extLst>
          </p:cNvPr>
          <p:cNvSpPr>
            <a:spLocks noGrp="1"/>
          </p:cNvSpPr>
          <p:nvPr>
            <p:ph type="dt" sz="half" idx="10"/>
          </p:nvPr>
        </p:nvSpPr>
        <p:spPr/>
        <p:txBody>
          <a:bodyPr/>
          <a:lstStyle/>
          <a:p>
            <a:fld id="{7A21DE32-92D5-476E-B74E-5E0EBA320909}" type="datetimeFigureOut">
              <a:rPr lang="en-US" smtClean="0"/>
              <a:t>2/2/2022</a:t>
            </a:fld>
            <a:endParaRPr lang="en-US"/>
          </a:p>
        </p:txBody>
      </p:sp>
      <p:sp>
        <p:nvSpPr>
          <p:cNvPr id="5" name="Footer Placeholder 4">
            <a:extLst>
              <a:ext uri="{FF2B5EF4-FFF2-40B4-BE49-F238E27FC236}">
                <a16:creationId xmlns:a16="http://schemas.microsoft.com/office/drawing/2014/main" id="{DC28EB04-3C09-4AA5-99D3-A1D3BFBC1A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79FFA0-C549-48E4-B3F9-0A0FAD919DBC}"/>
              </a:ext>
            </a:extLst>
          </p:cNvPr>
          <p:cNvSpPr>
            <a:spLocks noGrp="1"/>
          </p:cNvSpPr>
          <p:nvPr>
            <p:ph type="sldNum" sz="quarter" idx="12"/>
          </p:nvPr>
        </p:nvSpPr>
        <p:spPr/>
        <p:txBody>
          <a:bodyPr/>
          <a:lstStyle/>
          <a:p>
            <a:fld id="{DCA8D7EE-9FFF-4FBD-B9AF-9636F3811D48}" type="slidenum">
              <a:rPr lang="en-US" smtClean="0"/>
              <a:t>‹#›</a:t>
            </a:fld>
            <a:endParaRPr lang="en-US"/>
          </a:p>
        </p:txBody>
      </p:sp>
    </p:spTree>
    <p:extLst>
      <p:ext uri="{BB962C8B-B14F-4D97-AF65-F5344CB8AC3E}">
        <p14:creationId xmlns:p14="http://schemas.microsoft.com/office/powerpoint/2010/main" val="4076336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800740-2CAE-4F6B-8EA8-46B103EA8D2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94B0AE-F9CA-4436-8D68-918323E2930C}"/>
              </a:ext>
            </a:extLst>
          </p:cNvPr>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67F0EFC-FC44-4CDD-A0E5-ACE6A99AAC65}"/>
              </a:ext>
            </a:extLst>
          </p:cNvPr>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2A9E59-4D49-49DC-90B7-C94FDB659F16}"/>
              </a:ext>
            </a:extLst>
          </p:cNvPr>
          <p:cNvSpPr>
            <a:spLocks noGrp="1"/>
          </p:cNvSpPr>
          <p:nvPr>
            <p:ph type="dt" sz="half" idx="10"/>
          </p:nvPr>
        </p:nvSpPr>
        <p:spPr/>
        <p:txBody>
          <a:bodyPr/>
          <a:lstStyle/>
          <a:p>
            <a:fld id="{7A21DE32-92D5-476E-B74E-5E0EBA320909}" type="datetimeFigureOut">
              <a:rPr lang="en-US" smtClean="0"/>
              <a:t>2/2/2022</a:t>
            </a:fld>
            <a:endParaRPr lang="en-US"/>
          </a:p>
        </p:txBody>
      </p:sp>
      <p:sp>
        <p:nvSpPr>
          <p:cNvPr id="6" name="Footer Placeholder 5">
            <a:extLst>
              <a:ext uri="{FF2B5EF4-FFF2-40B4-BE49-F238E27FC236}">
                <a16:creationId xmlns:a16="http://schemas.microsoft.com/office/drawing/2014/main" id="{EA072721-5107-4CBD-99BD-BB29BBED51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5CDB8C2-7F95-4379-8984-5D8AAD84BEF7}"/>
              </a:ext>
            </a:extLst>
          </p:cNvPr>
          <p:cNvSpPr>
            <a:spLocks noGrp="1"/>
          </p:cNvSpPr>
          <p:nvPr>
            <p:ph type="sldNum" sz="quarter" idx="12"/>
          </p:nvPr>
        </p:nvSpPr>
        <p:spPr/>
        <p:txBody>
          <a:bodyPr/>
          <a:lstStyle/>
          <a:p>
            <a:fld id="{DCA8D7EE-9FFF-4FBD-B9AF-9636F3811D48}" type="slidenum">
              <a:rPr lang="en-US" smtClean="0"/>
              <a:t>‹#›</a:t>
            </a:fld>
            <a:endParaRPr lang="en-US"/>
          </a:p>
        </p:txBody>
      </p:sp>
    </p:spTree>
    <p:extLst>
      <p:ext uri="{BB962C8B-B14F-4D97-AF65-F5344CB8AC3E}">
        <p14:creationId xmlns:p14="http://schemas.microsoft.com/office/powerpoint/2010/main" val="1124996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4B7757-FC40-4300-8D81-A631DB2E111A}"/>
              </a:ext>
            </a:extLst>
          </p:cNvPr>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07BC2B3-DAE4-49D9-B5A8-45E223E81FDA}"/>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3F260E1-DA4D-4DB7-8D8C-CD2CF32617FA}"/>
              </a:ext>
            </a:extLst>
          </p:cNvPr>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49BE80C-827B-4834-8D1C-1E60288F4936}"/>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73B292E-3103-45D1-98AA-38F5F47A975A}"/>
              </a:ext>
            </a:extLst>
          </p:cNvPr>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97A318E-C25F-4CF3-9895-F49C8420C3A0}"/>
              </a:ext>
            </a:extLst>
          </p:cNvPr>
          <p:cNvSpPr>
            <a:spLocks noGrp="1"/>
          </p:cNvSpPr>
          <p:nvPr>
            <p:ph type="dt" sz="half" idx="10"/>
          </p:nvPr>
        </p:nvSpPr>
        <p:spPr/>
        <p:txBody>
          <a:bodyPr/>
          <a:lstStyle/>
          <a:p>
            <a:fld id="{7A21DE32-92D5-476E-B74E-5E0EBA320909}" type="datetimeFigureOut">
              <a:rPr lang="en-US" smtClean="0"/>
              <a:t>2/2/2022</a:t>
            </a:fld>
            <a:endParaRPr lang="en-US"/>
          </a:p>
        </p:txBody>
      </p:sp>
      <p:sp>
        <p:nvSpPr>
          <p:cNvPr id="8" name="Footer Placeholder 7">
            <a:extLst>
              <a:ext uri="{FF2B5EF4-FFF2-40B4-BE49-F238E27FC236}">
                <a16:creationId xmlns:a16="http://schemas.microsoft.com/office/drawing/2014/main" id="{1289AA03-4F43-411F-BEF0-6D1C69E6047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BD9B8E8-8132-433A-8A57-7D7C79AC7004}"/>
              </a:ext>
            </a:extLst>
          </p:cNvPr>
          <p:cNvSpPr>
            <a:spLocks noGrp="1"/>
          </p:cNvSpPr>
          <p:nvPr>
            <p:ph type="sldNum" sz="quarter" idx="12"/>
          </p:nvPr>
        </p:nvSpPr>
        <p:spPr/>
        <p:txBody>
          <a:bodyPr/>
          <a:lstStyle/>
          <a:p>
            <a:fld id="{DCA8D7EE-9FFF-4FBD-B9AF-9636F3811D48}" type="slidenum">
              <a:rPr lang="en-US" smtClean="0"/>
              <a:t>‹#›</a:t>
            </a:fld>
            <a:endParaRPr lang="en-US"/>
          </a:p>
        </p:txBody>
      </p:sp>
    </p:spTree>
    <p:extLst>
      <p:ext uri="{BB962C8B-B14F-4D97-AF65-F5344CB8AC3E}">
        <p14:creationId xmlns:p14="http://schemas.microsoft.com/office/powerpoint/2010/main" val="35969175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722FC-8446-44DB-A644-92AB576EF03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4EC50F-40F6-42EB-B585-4B99C727CB61}"/>
              </a:ext>
            </a:extLst>
          </p:cNvPr>
          <p:cNvSpPr>
            <a:spLocks noGrp="1"/>
          </p:cNvSpPr>
          <p:nvPr>
            <p:ph type="dt" sz="half" idx="10"/>
          </p:nvPr>
        </p:nvSpPr>
        <p:spPr/>
        <p:txBody>
          <a:bodyPr/>
          <a:lstStyle/>
          <a:p>
            <a:fld id="{7A21DE32-92D5-476E-B74E-5E0EBA320909}" type="datetimeFigureOut">
              <a:rPr lang="en-US" smtClean="0"/>
              <a:t>2/2/2022</a:t>
            </a:fld>
            <a:endParaRPr lang="en-US"/>
          </a:p>
        </p:txBody>
      </p:sp>
      <p:sp>
        <p:nvSpPr>
          <p:cNvPr id="4" name="Footer Placeholder 3">
            <a:extLst>
              <a:ext uri="{FF2B5EF4-FFF2-40B4-BE49-F238E27FC236}">
                <a16:creationId xmlns:a16="http://schemas.microsoft.com/office/drawing/2014/main" id="{0C52F662-7FE3-4BF2-B72C-6B0D0D998CC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0951CF6-A2DC-418A-BE2F-AA3F3A7B8D3B}"/>
              </a:ext>
            </a:extLst>
          </p:cNvPr>
          <p:cNvSpPr>
            <a:spLocks noGrp="1"/>
          </p:cNvSpPr>
          <p:nvPr>
            <p:ph type="sldNum" sz="quarter" idx="12"/>
          </p:nvPr>
        </p:nvSpPr>
        <p:spPr/>
        <p:txBody>
          <a:bodyPr/>
          <a:lstStyle/>
          <a:p>
            <a:fld id="{DCA8D7EE-9FFF-4FBD-B9AF-9636F3811D48}" type="slidenum">
              <a:rPr lang="en-US" smtClean="0"/>
              <a:t>‹#›</a:t>
            </a:fld>
            <a:endParaRPr lang="en-US"/>
          </a:p>
        </p:txBody>
      </p:sp>
    </p:spTree>
    <p:extLst>
      <p:ext uri="{BB962C8B-B14F-4D97-AF65-F5344CB8AC3E}">
        <p14:creationId xmlns:p14="http://schemas.microsoft.com/office/powerpoint/2010/main" val="40763975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834A47-AB77-4306-8329-35213ED3CC02}"/>
              </a:ext>
            </a:extLst>
          </p:cNvPr>
          <p:cNvSpPr>
            <a:spLocks noGrp="1"/>
          </p:cNvSpPr>
          <p:nvPr>
            <p:ph type="dt" sz="half" idx="10"/>
          </p:nvPr>
        </p:nvSpPr>
        <p:spPr/>
        <p:txBody>
          <a:bodyPr/>
          <a:lstStyle/>
          <a:p>
            <a:fld id="{7A21DE32-92D5-476E-B74E-5E0EBA320909}" type="datetimeFigureOut">
              <a:rPr lang="en-US" smtClean="0"/>
              <a:t>2/2/2022</a:t>
            </a:fld>
            <a:endParaRPr lang="en-US"/>
          </a:p>
        </p:txBody>
      </p:sp>
      <p:sp>
        <p:nvSpPr>
          <p:cNvPr id="3" name="Footer Placeholder 2">
            <a:extLst>
              <a:ext uri="{FF2B5EF4-FFF2-40B4-BE49-F238E27FC236}">
                <a16:creationId xmlns:a16="http://schemas.microsoft.com/office/drawing/2014/main" id="{D85FC8E3-32B7-4233-BFF5-376F07EA1BF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1D689AB-0125-4829-A5F7-B001424FD21E}"/>
              </a:ext>
            </a:extLst>
          </p:cNvPr>
          <p:cNvSpPr>
            <a:spLocks noGrp="1"/>
          </p:cNvSpPr>
          <p:nvPr>
            <p:ph type="sldNum" sz="quarter" idx="12"/>
          </p:nvPr>
        </p:nvSpPr>
        <p:spPr/>
        <p:txBody>
          <a:bodyPr/>
          <a:lstStyle/>
          <a:p>
            <a:fld id="{DCA8D7EE-9FFF-4FBD-B9AF-9636F3811D48}" type="slidenum">
              <a:rPr lang="en-US" smtClean="0"/>
              <a:t>‹#›</a:t>
            </a:fld>
            <a:endParaRPr lang="en-US"/>
          </a:p>
        </p:txBody>
      </p:sp>
    </p:spTree>
    <p:extLst>
      <p:ext uri="{BB962C8B-B14F-4D97-AF65-F5344CB8AC3E}">
        <p14:creationId xmlns:p14="http://schemas.microsoft.com/office/powerpoint/2010/main" val="744847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Higher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0DDF0D-AB9E-4926-946C-32BDC0E2A274}"/>
              </a:ext>
            </a:extLst>
          </p:cNvPr>
          <p:cNvSpPr/>
          <p:nvPr/>
        </p:nvSpPr>
        <p:spPr>
          <a:xfrm>
            <a:off x="3175" y="6400800"/>
            <a:ext cx="9140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5" name="Rectangle 4">
            <a:extLst>
              <a:ext uri="{FF2B5EF4-FFF2-40B4-BE49-F238E27FC236}">
                <a16:creationId xmlns:a16="http://schemas.microsoft.com/office/drawing/2014/main" id="{2C9A599E-432C-4DFC-A1ED-029C85FCA214}"/>
              </a:ext>
            </a:extLst>
          </p:cNvPr>
          <p:cNvSpPr/>
          <p:nvPr/>
        </p:nvSpPr>
        <p:spPr>
          <a:xfrm>
            <a:off x="0" y="6334125"/>
            <a:ext cx="9142413"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5">
            <a:extLst>
              <a:ext uri="{FF2B5EF4-FFF2-40B4-BE49-F238E27FC236}">
                <a16:creationId xmlns:a16="http://schemas.microsoft.com/office/drawing/2014/main" id="{C7E77387-1CD7-4AB4-9335-D5717C57F6EB}"/>
              </a:ext>
            </a:extLst>
          </p:cNvPr>
          <p:cNvCxnSpPr/>
          <p:nvPr userDrawn="1"/>
        </p:nvCxnSpPr>
        <p:spPr>
          <a:xfrm>
            <a:off x="822325" y="1027113"/>
            <a:ext cx="7081838" cy="0"/>
          </a:xfrm>
          <a:prstGeom prst="line">
            <a:avLst/>
          </a:prstGeom>
        </p:spPr>
        <p:style>
          <a:lnRef idx="1">
            <a:schemeClr val="dk1"/>
          </a:lnRef>
          <a:fillRef idx="0">
            <a:schemeClr val="dk1"/>
          </a:fillRef>
          <a:effectRef idx="0">
            <a:schemeClr val="dk1"/>
          </a:effectRef>
          <a:fontRef idx="minor">
            <a:schemeClr val="tx1"/>
          </a:fontRef>
        </p:style>
      </p:cxnSp>
      <p:sp>
        <p:nvSpPr>
          <p:cNvPr id="10" name="Content Placeholder 3"/>
          <p:cNvSpPr>
            <a:spLocks noGrp="1"/>
          </p:cNvSpPr>
          <p:nvPr>
            <p:ph sz="half" idx="2"/>
          </p:nvPr>
        </p:nvSpPr>
        <p:spPr>
          <a:xfrm>
            <a:off x="933104" y="2037126"/>
            <a:ext cx="6492240" cy="32867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p:nvPr>
        </p:nvSpPr>
        <p:spPr>
          <a:xfrm>
            <a:off x="822960" y="286604"/>
            <a:ext cx="7080584" cy="707002"/>
          </a:xfrm>
        </p:spPr>
        <p:txBody>
          <a:bodyPr/>
          <a:lstStyle/>
          <a:p>
            <a:r>
              <a:rPr lang="en-US"/>
              <a:t>Click to edit Master title style</a:t>
            </a:r>
            <a:endParaRPr lang="en-US" dirty="0"/>
          </a:p>
        </p:txBody>
      </p:sp>
      <p:sp>
        <p:nvSpPr>
          <p:cNvPr id="9" name="Slide Number Placeholder 8">
            <a:extLst>
              <a:ext uri="{FF2B5EF4-FFF2-40B4-BE49-F238E27FC236}">
                <a16:creationId xmlns:a16="http://schemas.microsoft.com/office/drawing/2014/main" id="{9A89EB62-5AEB-488A-AA66-F75D21882AB4}"/>
              </a:ext>
            </a:extLst>
          </p:cNvPr>
          <p:cNvSpPr>
            <a:spLocks noGrp="1"/>
          </p:cNvSpPr>
          <p:nvPr>
            <p:ph type="sldNum" sz="quarter" idx="12"/>
          </p:nvPr>
        </p:nvSpPr>
        <p:spPr/>
        <p:txBody>
          <a:bodyPr/>
          <a:lstStyle>
            <a:lvl1pPr>
              <a:defRPr/>
            </a:lvl1pPr>
          </a:lstStyle>
          <a:p>
            <a:fld id="{93499085-2CFE-4487-B1C9-7205B032ABA1}" type="slidenum">
              <a:rPr lang="en-US" altLang="en-US"/>
              <a:pPr/>
              <a:t>‹#›</a:t>
            </a:fld>
            <a:endParaRPr lang="en-US" altLang="en-US"/>
          </a:p>
        </p:txBody>
      </p:sp>
    </p:spTree>
    <p:extLst>
      <p:ext uri="{BB962C8B-B14F-4D97-AF65-F5344CB8AC3E}">
        <p14:creationId xmlns:p14="http://schemas.microsoft.com/office/powerpoint/2010/main" val="23620031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0F402-7B2A-4784-8CF4-68DBAA5DBEEA}"/>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9453372-3212-4C2F-86FE-C6F09901571C}"/>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5281D03-43DA-4414-8AE1-BA43CAA44D90}"/>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4FADE75-C476-4307-9B68-E450A0E7D7E9}"/>
              </a:ext>
            </a:extLst>
          </p:cNvPr>
          <p:cNvSpPr>
            <a:spLocks noGrp="1"/>
          </p:cNvSpPr>
          <p:nvPr>
            <p:ph type="dt" sz="half" idx="10"/>
          </p:nvPr>
        </p:nvSpPr>
        <p:spPr/>
        <p:txBody>
          <a:bodyPr/>
          <a:lstStyle/>
          <a:p>
            <a:fld id="{7A21DE32-92D5-476E-B74E-5E0EBA320909}" type="datetimeFigureOut">
              <a:rPr lang="en-US" smtClean="0"/>
              <a:t>2/2/2022</a:t>
            </a:fld>
            <a:endParaRPr lang="en-US"/>
          </a:p>
        </p:txBody>
      </p:sp>
      <p:sp>
        <p:nvSpPr>
          <p:cNvPr id="6" name="Footer Placeholder 5">
            <a:extLst>
              <a:ext uri="{FF2B5EF4-FFF2-40B4-BE49-F238E27FC236}">
                <a16:creationId xmlns:a16="http://schemas.microsoft.com/office/drawing/2014/main" id="{481E5B48-09AE-4F1B-982C-1EAE926A45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9D7E8F6-4326-4DB3-A8AA-6F7E61CEBFF3}"/>
              </a:ext>
            </a:extLst>
          </p:cNvPr>
          <p:cNvSpPr>
            <a:spLocks noGrp="1"/>
          </p:cNvSpPr>
          <p:nvPr>
            <p:ph type="sldNum" sz="quarter" idx="12"/>
          </p:nvPr>
        </p:nvSpPr>
        <p:spPr/>
        <p:txBody>
          <a:bodyPr/>
          <a:lstStyle/>
          <a:p>
            <a:fld id="{DCA8D7EE-9FFF-4FBD-B9AF-9636F3811D48}" type="slidenum">
              <a:rPr lang="en-US" smtClean="0"/>
              <a:t>‹#›</a:t>
            </a:fld>
            <a:endParaRPr lang="en-US"/>
          </a:p>
        </p:txBody>
      </p:sp>
    </p:spTree>
    <p:extLst>
      <p:ext uri="{BB962C8B-B14F-4D97-AF65-F5344CB8AC3E}">
        <p14:creationId xmlns:p14="http://schemas.microsoft.com/office/powerpoint/2010/main" val="21138614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FF5CF-2B38-4A53-89D2-7F163E80CA90}"/>
              </a:ext>
            </a:extLst>
          </p:cNvPr>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337382A-F0B1-4E7A-B6F8-1625ACF5523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728CB86-4180-486D-B5D6-459A705D13DD}"/>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2946F8C-1EA0-472D-8D40-8F53BCC9BC5E}"/>
              </a:ext>
            </a:extLst>
          </p:cNvPr>
          <p:cNvSpPr>
            <a:spLocks noGrp="1"/>
          </p:cNvSpPr>
          <p:nvPr>
            <p:ph type="dt" sz="half" idx="10"/>
          </p:nvPr>
        </p:nvSpPr>
        <p:spPr/>
        <p:txBody>
          <a:bodyPr/>
          <a:lstStyle/>
          <a:p>
            <a:fld id="{7A21DE32-92D5-476E-B74E-5E0EBA320909}" type="datetimeFigureOut">
              <a:rPr lang="en-US" smtClean="0"/>
              <a:t>2/2/2022</a:t>
            </a:fld>
            <a:endParaRPr lang="en-US"/>
          </a:p>
        </p:txBody>
      </p:sp>
      <p:sp>
        <p:nvSpPr>
          <p:cNvPr id="6" name="Footer Placeholder 5">
            <a:extLst>
              <a:ext uri="{FF2B5EF4-FFF2-40B4-BE49-F238E27FC236}">
                <a16:creationId xmlns:a16="http://schemas.microsoft.com/office/drawing/2014/main" id="{15B18AF7-474A-4E35-AC27-DC61D227ADE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F13EF6-3E92-4502-8F2E-F14E93B852A0}"/>
              </a:ext>
            </a:extLst>
          </p:cNvPr>
          <p:cNvSpPr>
            <a:spLocks noGrp="1"/>
          </p:cNvSpPr>
          <p:nvPr>
            <p:ph type="sldNum" sz="quarter" idx="12"/>
          </p:nvPr>
        </p:nvSpPr>
        <p:spPr/>
        <p:txBody>
          <a:bodyPr/>
          <a:lstStyle/>
          <a:p>
            <a:fld id="{DCA8D7EE-9FFF-4FBD-B9AF-9636F3811D48}" type="slidenum">
              <a:rPr lang="en-US" smtClean="0"/>
              <a:t>‹#›</a:t>
            </a:fld>
            <a:endParaRPr lang="en-US"/>
          </a:p>
        </p:txBody>
      </p:sp>
    </p:spTree>
    <p:extLst>
      <p:ext uri="{BB962C8B-B14F-4D97-AF65-F5344CB8AC3E}">
        <p14:creationId xmlns:p14="http://schemas.microsoft.com/office/powerpoint/2010/main" val="2737242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AEB09-2690-4960-BCF2-FFE78BCCA1E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D0BFA3-EF3D-40F3-869C-9764E1BF114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ECBCF9-0FDF-4394-ABC0-0BE35EF15EF4}"/>
              </a:ext>
            </a:extLst>
          </p:cNvPr>
          <p:cNvSpPr>
            <a:spLocks noGrp="1"/>
          </p:cNvSpPr>
          <p:nvPr>
            <p:ph type="dt" sz="half" idx="10"/>
          </p:nvPr>
        </p:nvSpPr>
        <p:spPr/>
        <p:txBody>
          <a:bodyPr/>
          <a:lstStyle/>
          <a:p>
            <a:fld id="{7A21DE32-92D5-476E-B74E-5E0EBA320909}" type="datetimeFigureOut">
              <a:rPr lang="en-US" smtClean="0"/>
              <a:t>2/2/2022</a:t>
            </a:fld>
            <a:endParaRPr lang="en-US"/>
          </a:p>
        </p:txBody>
      </p:sp>
      <p:sp>
        <p:nvSpPr>
          <p:cNvPr id="5" name="Footer Placeholder 4">
            <a:extLst>
              <a:ext uri="{FF2B5EF4-FFF2-40B4-BE49-F238E27FC236}">
                <a16:creationId xmlns:a16="http://schemas.microsoft.com/office/drawing/2014/main" id="{AF07CA3E-724C-457E-911F-27DE4EB9A7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FA0382-5612-46A3-9DDD-5F18A1E36058}"/>
              </a:ext>
            </a:extLst>
          </p:cNvPr>
          <p:cNvSpPr>
            <a:spLocks noGrp="1"/>
          </p:cNvSpPr>
          <p:nvPr>
            <p:ph type="sldNum" sz="quarter" idx="12"/>
          </p:nvPr>
        </p:nvSpPr>
        <p:spPr/>
        <p:txBody>
          <a:bodyPr/>
          <a:lstStyle/>
          <a:p>
            <a:fld id="{DCA8D7EE-9FFF-4FBD-B9AF-9636F3811D48}" type="slidenum">
              <a:rPr lang="en-US" smtClean="0"/>
              <a:t>‹#›</a:t>
            </a:fld>
            <a:endParaRPr lang="en-US"/>
          </a:p>
        </p:txBody>
      </p:sp>
    </p:spTree>
    <p:extLst>
      <p:ext uri="{BB962C8B-B14F-4D97-AF65-F5344CB8AC3E}">
        <p14:creationId xmlns:p14="http://schemas.microsoft.com/office/powerpoint/2010/main" val="11912247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6A76CED-63B4-41F9-B3A4-41693F312F12}"/>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F7A639B-6DCF-440B-8E8F-3087D2D314AD}"/>
              </a:ext>
            </a:extLst>
          </p:cNvPr>
          <p:cNvSpPr>
            <a:spLocks noGrp="1"/>
          </p:cNvSpPr>
          <p:nvPr>
            <p:ph type="body" orient="vert" idx="1"/>
          </p:nvPr>
        </p:nvSpPr>
        <p:spPr>
          <a:xfrm>
            <a:off x="628650" y="365125"/>
            <a:ext cx="57626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9308EF-1EA3-4627-BC8E-76A95D375394}"/>
              </a:ext>
            </a:extLst>
          </p:cNvPr>
          <p:cNvSpPr>
            <a:spLocks noGrp="1"/>
          </p:cNvSpPr>
          <p:nvPr>
            <p:ph type="dt" sz="half" idx="10"/>
          </p:nvPr>
        </p:nvSpPr>
        <p:spPr/>
        <p:txBody>
          <a:bodyPr/>
          <a:lstStyle/>
          <a:p>
            <a:fld id="{7A21DE32-92D5-476E-B74E-5E0EBA320909}" type="datetimeFigureOut">
              <a:rPr lang="en-US" smtClean="0"/>
              <a:t>2/2/2022</a:t>
            </a:fld>
            <a:endParaRPr lang="en-US"/>
          </a:p>
        </p:txBody>
      </p:sp>
      <p:sp>
        <p:nvSpPr>
          <p:cNvPr id="5" name="Footer Placeholder 4">
            <a:extLst>
              <a:ext uri="{FF2B5EF4-FFF2-40B4-BE49-F238E27FC236}">
                <a16:creationId xmlns:a16="http://schemas.microsoft.com/office/drawing/2014/main" id="{E9524A4A-BA74-46BD-80D3-853CBCA821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798099-4929-4E38-BF89-3AF86994A7E7}"/>
              </a:ext>
            </a:extLst>
          </p:cNvPr>
          <p:cNvSpPr>
            <a:spLocks noGrp="1"/>
          </p:cNvSpPr>
          <p:nvPr>
            <p:ph type="sldNum" sz="quarter" idx="12"/>
          </p:nvPr>
        </p:nvSpPr>
        <p:spPr/>
        <p:txBody>
          <a:bodyPr/>
          <a:lstStyle/>
          <a:p>
            <a:fld id="{DCA8D7EE-9FFF-4FBD-B9AF-9636F3811D48}" type="slidenum">
              <a:rPr lang="en-US" smtClean="0"/>
              <a:t>‹#›</a:t>
            </a:fld>
            <a:endParaRPr lang="en-US"/>
          </a:p>
        </p:txBody>
      </p:sp>
    </p:spTree>
    <p:extLst>
      <p:ext uri="{BB962C8B-B14F-4D97-AF65-F5344CB8AC3E}">
        <p14:creationId xmlns:p14="http://schemas.microsoft.com/office/powerpoint/2010/main" val="6305522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63526"/>
            <a:ext cx="75438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22960" y="1845735"/>
            <a:ext cx="370332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845735"/>
            <a:ext cx="370332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a:extLst>
              <a:ext uri="{FF2B5EF4-FFF2-40B4-BE49-F238E27FC236}">
                <a16:creationId xmlns:a16="http://schemas.microsoft.com/office/drawing/2014/main" id="{D1B2FE1A-2A5E-42DF-9479-EADA8D27A637}"/>
              </a:ext>
            </a:extLst>
          </p:cNvPr>
          <p:cNvSpPr>
            <a:spLocks noGrp="1"/>
          </p:cNvSpPr>
          <p:nvPr>
            <p:ph type="sldNum" sz="quarter" idx="12"/>
          </p:nvPr>
        </p:nvSpPr>
        <p:spPr/>
        <p:txBody>
          <a:bodyPr/>
          <a:lstStyle>
            <a:lvl1pPr>
              <a:defRPr/>
            </a:lvl1pPr>
          </a:lstStyle>
          <a:p>
            <a:fld id="{69B92879-FB93-48B0-A498-33A0AC062574}" type="slidenum">
              <a:rPr lang="en-US" altLang="en-US"/>
              <a:pPr/>
              <a:t>‹#›</a:t>
            </a:fld>
            <a:endParaRPr lang="en-US" altLang="en-US"/>
          </a:p>
        </p:txBody>
      </p:sp>
    </p:spTree>
    <p:extLst>
      <p:ext uri="{BB962C8B-B14F-4D97-AF65-F5344CB8AC3E}">
        <p14:creationId xmlns:p14="http://schemas.microsoft.com/office/powerpoint/2010/main" val="26606636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86604"/>
            <a:ext cx="75438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822960" y="1846052"/>
            <a:ext cx="3703320" cy="736282"/>
          </a:xfrm>
        </p:spPr>
        <p:txBody>
          <a:bodyPr lIns="91440" rIns="91440" anchor="ct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822960" y="2582335"/>
            <a:ext cx="3703320" cy="32867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63440" y="1846052"/>
            <a:ext cx="3703320" cy="736282"/>
          </a:xfrm>
        </p:spPr>
        <p:txBody>
          <a:bodyPr lIns="91440" rIns="91440" anchor="ctr"/>
          <a:lstStyle>
            <a:lvl1pPr marL="0" indent="0">
              <a:buNone/>
              <a:defRPr sz="1500" b="0" cap="all" baseline="0">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63440" y="2582334"/>
            <a:ext cx="370332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a:extLst>
              <a:ext uri="{FF2B5EF4-FFF2-40B4-BE49-F238E27FC236}">
                <a16:creationId xmlns:a16="http://schemas.microsoft.com/office/drawing/2014/main" id="{8C7DE63D-F74C-47AD-956C-3BCA9E21DB1B}"/>
              </a:ext>
            </a:extLst>
          </p:cNvPr>
          <p:cNvSpPr>
            <a:spLocks noGrp="1"/>
          </p:cNvSpPr>
          <p:nvPr>
            <p:ph type="sldNum" sz="quarter" idx="12"/>
          </p:nvPr>
        </p:nvSpPr>
        <p:spPr/>
        <p:txBody>
          <a:bodyPr/>
          <a:lstStyle>
            <a:lvl1pPr>
              <a:defRPr/>
            </a:lvl1pPr>
          </a:lstStyle>
          <a:p>
            <a:fld id="{4724C2EF-B2AB-4DC8-BC35-A47F52399D93}" type="slidenum">
              <a:rPr lang="en-US" altLang="en-US"/>
              <a:pPr/>
              <a:t>‹#›</a:t>
            </a:fld>
            <a:endParaRPr lang="en-US" altLang="en-US"/>
          </a:p>
        </p:txBody>
      </p:sp>
    </p:spTree>
    <p:extLst>
      <p:ext uri="{BB962C8B-B14F-4D97-AF65-F5344CB8AC3E}">
        <p14:creationId xmlns:p14="http://schemas.microsoft.com/office/powerpoint/2010/main" val="6246699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7E6BCB-A9ED-4050-8CF4-BA02E15FFA6C}"/>
              </a:ext>
            </a:extLst>
          </p:cNvPr>
          <p:cNvSpPr/>
          <p:nvPr/>
        </p:nvSpPr>
        <p:spPr>
          <a:xfrm>
            <a:off x="0" y="0"/>
            <a:ext cx="30384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a:extLst>
              <a:ext uri="{FF2B5EF4-FFF2-40B4-BE49-F238E27FC236}">
                <a16:creationId xmlns:a16="http://schemas.microsoft.com/office/drawing/2014/main" id="{121F7E5F-CA1F-457B-9D7D-0A4B786D69C5}"/>
              </a:ext>
            </a:extLst>
          </p:cNvPr>
          <p:cNvSpPr/>
          <p:nvPr/>
        </p:nvSpPr>
        <p:spPr>
          <a:xfrm>
            <a:off x="3030538" y="0"/>
            <a:ext cx="476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594359"/>
            <a:ext cx="2400300" cy="2286000"/>
          </a:xfrm>
        </p:spPr>
        <p:txBody>
          <a:bodyPr/>
          <a:lstStyle>
            <a:lvl1pPr>
              <a:defRPr sz="27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600450" y="731520"/>
            <a:ext cx="486918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926080"/>
            <a:ext cx="2400300" cy="3379124"/>
          </a:xfrm>
        </p:spPr>
        <p:txBody>
          <a:bodyPr lIns="91440" rIns="91440"/>
          <a:lstStyle>
            <a:lvl1pPr marL="0" indent="0">
              <a:buNone/>
              <a:defRPr sz="1125">
                <a:solidFill>
                  <a:srgbClr val="FFFFFF"/>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9" name="Slide Number Placeholder 6">
            <a:extLst>
              <a:ext uri="{FF2B5EF4-FFF2-40B4-BE49-F238E27FC236}">
                <a16:creationId xmlns:a16="http://schemas.microsoft.com/office/drawing/2014/main" id="{BA3A2A8F-C19D-418B-8C1E-75A20C9EE157}"/>
              </a:ext>
            </a:extLst>
          </p:cNvPr>
          <p:cNvSpPr>
            <a:spLocks noGrp="1"/>
          </p:cNvSpPr>
          <p:nvPr>
            <p:ph type="sldNum" sz="quarter" idx="12"/>
          </p:nvPr>
        </p:nvSpPr>
        <p:spPr/>
        <p:txBody>
          <a:bodyPr/>
          <a:lstStyle>
            <a:lvl1pPr>
              <a:defRPr>
                <a:solidFill>
                  <a:schemeClr val="tx2"/>
                </a:solidFill>
              </a:defRPr>
            </a:lvl1pPr>
          </a:lstStyle>
          <a:p>
            <a:fld id="{5C8AF9E4-5A90-4ABD-937D-370850A7384D}" type="slidenum">
              <a:rPr lang="en-US" altLang="en-US"/>
              <a:pPr/>
              <a:t>‹#›</a:t>
            </a:fld>
            <a:endParaRPr lang="en-US" altLang="en-US"/>
          </a:p>
        </p:txBody>
      </p:sp>
    </p:spTree>
    <p:extLst>
      <p:ext uri="{BB962C8B-B14F-4D97-AF65-F5344CB8AC3E}">
        <p14:creationId xmlns:p14="http://schemas.microsoft.com/office/powerpoint/2010/main" val="7642814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2D041DE-7CAA-4670-AC05-433D2F250CEE}"/>
              </a:ext>
            </a:extLst>
          </p:cNvPr>
          <p:cNvSpPr/>
          <p:nvPr/>
        </p:nvSpPr>
        <p:spPr>
          <a:xfrm>
            <a:off x="0" y="4953000"/>
            <a:ext cx="9142413"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a:extLst>
              <a:ext uri="{FF2B5EF4-FFF2-40B4-BE49-F238E27FC236}">
                <a16:creationId xmlns:a16="http://schemas.microsoft.com/office/drawing/2014/main" id="{4F05ABA4-B09C-45D7-AE77-58A5281041D0}"/>
              </a:ext>
            </a:extLst>
          </p:cNvPr>
          <p:cNvSpPr/>
          <p:nvPr/>
        </p:nvSpPr>
        <p:spPr>
          <a:xfrm>
            <a:off x="0" y="4914900"/>
            <a:ext cx="9142413"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5074920"/>
            <a:ext cx="7585234" cy="822960"/>
          </a:xfrm>
        </p:spPr>
        <p:txBody>
          <a:bodyPr tIns="0" bIns="0">
            <a:noAutofit/>
          </a:bodyPr>
          <a:lstStyle>
            <a:lvl1pPr>
              <a:defRPr sz="27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2" y="0"/>
            <a:ext cx="9143989" cy="4915076"/>
          </a:xfrm>
          <a:solidFill>
            <a:schemeClr val="bg2">
              <a:lumMod val="90000"/>
            </a:schemeClr>
          </a:solidFill>
        </p:spPr>
        <p:txBody>
          <a:bodyPr lIns="457200" tIns="457200"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822960" y="5907024"/>
            <a:ext cx="7584948" cy="594360"/>
          </a:xfrm>
        </p:spPr>
        <p:txBody>
          <a:bodyPr lIns="91440" tIns="0" rIns="91440" bIns="0"/>
          <a:lstStyle>
            <a:lvl1pPr marL="0" indent="0">
              <a:spcBef>
                <a:spcPts val="0"/>
              </a:spcBef>
              <a:spcAft>
                <a:spcPts val="450"/>
              </a:spcAft>
              <a:buNone/>
              <a:defRPr sz="1125">
                <a:solidFill>
                  <a:srgbClr val="FFFFFF"/>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9" name="Slide Number Placeholder 6">
            <a:extLst>
              <a:ext uri="{FF2B5EF4-FFF2-40B4-BE49-F238E27FC236}">
                <a16:creationId xmlns:a16="http://schemas.microsoft.com/office/drawing/2014/main" id="{6923EF0B-A821-49BA-8282-D225F57492F8}"/>
              </a:ext>
            </a:extLst>
          </p:cNvPr>
          <p:cNvSpPr>
            <a:spLocks noGrp="1"/>
          </p:cNvSpPr>
          <p:nvPr>
            <p:ph type="sldNum" sz="quarter" idx="12"/>
          </p:nvPr>
        </p:nvSpPr>
        <p:spPr/>
        <p:txBody>
          <a:bodyPr/>
          <a:lstStyle>
            <a:lvl1pPr>
              <a:defRPr/>
            </a:lvl1pPr>
          </a:lstStyle>
          <a:p>
            <a:fld id="{0D6F1A79-377C-490C-A83F-BDEB841F6595}" type="slidenum">
              <a:rPr lang="en-US" altLang="en-US"/>
              <a:pPr/>
              <a:t>‹#›</a:t>
            </a:fld>
            <a:endParaRPr lang="en-US" altLang="en-US"/>
          </a:p>
        </p:txBody>
      </p:sp>
    </p:spTree>
    <p:extLst>
      <p:ext uri="{BB962C8B-B14F-4D97-AF65-F5344CB8AC3E}">
        <p14:creationId xmlns:p14="http://schemas.microsoft.com/office/powerpoint/2010/main" val="22467432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8E66321C-66C4-4AB5-8AAB-9E319A371B0B}"/>
              </a:ext>
            </a:extLst>
          </p:cNvPr>
          <p:cNvSpPr>
            <a:spLocks noGrp="1"/>
          </p:cNvSpPr>
          <p:nvPr>
            <p:ph type="dt" sz="half" idx="10"/>
          </p:nvPr>
        </p:nvSpPr>
        <p:spPr/>
        <p:txBody>
          <a:bodyPr/>
          <a:lstStyle>
            <a:lvl1pPr>
              <a:defRPr/>
            </a:lvl1pPr>
          </a:lstStyle>
          <a:p>
            <a:pPr>
              <a:defRPr/>
            </a:pPr>
            <a:fld id="{9833B55E-D0FA-4C46-9BF4-5D095C47E04B}" type="datetime1">
              <a:rPr lang="en-US"/>
              <a:pPr>
                <a:defRPr/>
              </a:pPr>
              <a:t>2/2/2022</a:t>
            </a:fld>
            <a:endParaRPr lang="en-US"/>
          </a:p>
        </p:txBody>
      </p:sp>
      <p:sp>
        <p:nvSpPr>
          <p:cNvPr id="5" name="Footer Placeholder 4">
            <a:extLst>
              <a:ext uri="{FF2B5EF4-FFF2-40B4-BE49-F238E27FC236}">
                <a16:creationId xmlns:a16="http://schemas.microsoft.com/office/drawing/2014/main" id="{65914577-58DE-42B7-A2D4-DF2859164928}"/>
              </a:ext>
            </a:extLst>
          </p:cNvPr>
          <p:cNvSpPr>
            <a:spLocks noGrp="1"/>
          </p:cNvSpPr>
          <p:nvPr>
            <p:ph type="ftr" sz="quarter" idx="11"/>
          </p:nvPr>
        </p:nvSpPr>
        <p:spPr/>
        <p:txBody>
          <a:bodyPr/>
          <a:lstStyle>
            <a:lvl1pPr>
              <a:defRPr/>
            </a:lvl1pPr>
          </a:lstStyle>
          <a:p>
            <a:pPr>
              <a:defRPr/>
            </a:pPr>
            <a:r>
              <a:rPr lang="en-US"/>
              <a:t>Reaching Impact, Saturation, and Epidemic Control (RISE)</a:t>
            </a:r>
          </a:p>
        </p:txBody>
      </p:sp>
      <p:sp>
        <p:nvSpPr>
          <p:cNvPr id="6" name="Slide Number Placeholder 5">
            <a:extLst>
              <a:ext uri="{FF2B5EF4-FFF2-40B4-BE49-F238E27FC236}">
                <a16:creationId xmlns:a16="http://schemas.microsoft.com/office/drawing/2014/main" id="{0B9C70C5-7B84-4C84-8A2D-F71E9F8D00C8}"/>
              </a:ext>
            </a:extLst>
          </p:cNvPr>
          <p:cNvSpPr>
            <a:spLocks noGrp="1"/>
          </p:cNvSpPr>
          <p:nvPr>
            <p:ph type="sldNum" sz="quarter" idx="12"/>
          </p:nvPr>
        </p:nvSpPr>
        <p:spPr/>
        <p:txBody>
          <a:bodyPr/>
          <a:lstStyle>
            <a:lvl1pPr>
              <a:defRPr/>
            </a:lvl1pPr>
          </a:lstStyle>
          <a:p>
            <a:fld id="{AA04F2C4-EBE5-41A3-99D4-D15F2522DBC8}" type="slidenum">
              <a:rPr lang="en-US" altLang="en-US"/>
              <a:pPr/>
              <a:t>‹#›</a:t>
            </a:fld>
            <a:endParaRPr lang="en-US" altLang="en-US"/>
          </a:p>
        </p:txBody>
      </p:sp>
    </p:spTree>
    <p:extLst>
      <p:ext uri="{BB962C8B-B14F-4D97-AF65-F5344CB8AC3E}">
        <p14:creationId xmlns:p14="http://schemas.microsoft.com/office/powerpoint/2010/main" val="9912820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77531FE-1D37-445D-A179-49A872A3AD47}"/>
              </a:ext>
            </a:extLst>
          </p:cNvPr>
          <p:cNvSpPr/>
          <p:nvPr/>
        </p:nvSpPr>
        <p:spPr>
          <a:xfrm>
            <a:off x="3175" y="6400800"/>
            <a:ext cx="9140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a:extLst>
              <a:ext uri="{FF2B5EF4-FFF2-40B4-BE49-F238E27FC236}">
                <a16:creationId xmlns:a16="http://schemas.microsoft.com/office/drawing/2014/main" id="{4AFDA3A4-CCD8-46EF-8D7D-B289A1C51368}"/>
              </a:ext>
            </a:extLst>
          </p:cNvPr>
          <p:cNvSpPr/>
          <p:nvPr/>
        </p:nvSpPr>
        <p:spPr>
          <a:xfrm>
            <a:off x="0" y="6334125"/>
            <a:ext cx="9142413"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6543675" y="412302"/>
            <a:ext cx="1971675"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412302"/>
            <a:ext cx="5800725"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3">
            <a:extLst>
              <a:ext uri="{FF2B5EF4-FFF2-40B4-BE49-F238E27FC236}">
                <a16:creationId xmlns:a16="http://schemas.microsoft.com/office/drawing/2014/main" id="{7069C21B-8511-49F2-8D87-FC77002513C5}"/>
              </a:ext>
            </a:extLst>
          </p:cNvPr>
          <p:cNvSpPr>
            <a:spLocks noGrp="1"/>
          </p:cNvSpPr>
          <p:nvPr>
            <p:ph type="dt" sz="half" idx="10"/>
          </p:nvPr>
        </p:nvSpPr>
        <p:spPr/>
        <p:txBody>
          <a:bodyPr/>
          <a:lstStyle>
            <a:lvl1pPr>
              <a:defRPr/>
            </a:lvl1pPr>
          </a:lstStyle>
          <a:p>
            <a:pPr>
              <a:defRPr/>
            </a:pPr>
            <a:fld id="{0BCC588E-2D21-42C1-8956-C11296CA81F5}" type="datetime1">
              <a:rPr lang="en-US"/>
              <a:pPr>
                <a:defRPr/>
              </a:pPr>
              <a:t>2/2/2022</a:t>
            </a:fld>
            <a:endParaRPr lang="en-US"/>
          </a:p>
        </p:txBody>
      </p:sp>
      <p:sp>
        <p:nvSpPr>
          <p:cNvPr id="7" name="Footer Placeholder 4">
            <a:extLst>
              <a:ext uri="{FF2B5EF4-FFF2-40B4-BE49-F238E27FC236}">
                <a16:creationId xmlns:a16="http://schemas.microsoft.com/office/drawing/2014/main" id="{4EB5476F-6325-4F32-9769-9830E92B8116}"/>
              </a:ext>
            </a:extLst>
          </p:cNvPr>
          <p:cNvSpPr>
            <a:spLocks noGrp="1"/>
          </p:cNvSpPr>
          <p:nvPr>
            <p:ph type="ftr" sz="quarter" idx="11"/>
          </p:nvPr>
        </p:nvSpPr>
        <p:spPr/>
        <p:txBody>
          <a:bodyPr/>
          <a:lstStyle>
            <a:lvl1pPr>
              <a:defRPr/>
            </a:lvl1pPr>
          </a:lstStyle>
          <a:p>
            <a:pPr>
              <a:defRPr/>
            </a:pPr>
            <a:r>
              <a:rPr lang="en-US"/>
              <a:t>Reaching Impact, Saturation, and Epidemic Control (RISE)</a:t>
            </a:r>
          </a:p>
        </p:txBody>
      </p:sp>
      <p:sp>
        <p:nvSpPr>
          <p:cNvPr id="8" name="Slide Number Placeholder 5">
            <a:extLst>
              <a:ext uri="{FF2B5EF4-FFF2-40B4-BE49-F238E27FC236}">
                <a16:creationId xmlns:a16="http://schemas.microsoft.com/office/drawing/2014/main" id="{5ECFD5ED-3960-4826-800B-40919DE196D7}"/>
              </a:ext>
            </a:extLst>
          </p:cNvPr>
          <p:cNvSpPr>
            <a:spLocks noGrp="1"/>
          </p:cNvSpPr>
          <p:nvPr>
            <p:ph type="sldNum" sz="quarter" idx="12"/>
          </p:nvPr>
        </p:nvSpPr>
        <p:spPr/>
        <p:txBody>
          <a:bodyPr/>
          <a:lstStyle>
            <a:lvl1pPr>
              <a:defRPr/>
            </a:lvl1pPr>
          </a:lstStyle>
          <a:p>
            <a:fld id="{80A71C80-4140-4CF8-93BF-84BBD1FE09E5}" type="slidenum">
              <a:rPr lang="en-US" altLang="en-US"/>
              <a:pPr/>
              <a:t>‹#›</a:t>
            </a:fld>
            <a:endParaRPr lang="en-US" altLang="en-US"/>
          </a:p>
        </p:txBody>
      </p:sp>
    </p:spTree>
    <p:extLst>
      <p:ext uri="{BB962C8B-B14F-4D97-AF65-F5344CB8AC3E}">
        <p14:creationId xmlns:p14="http://schemas.microsoft.com/office/powerpoint/2010/main" val="37566843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2.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207463-3DB8-4BDC-BF1B-F4BC3AFF6F08}"/>
              </a:ext>
            </a:extLst>
          </p:cNvPr>
          <p:cNvSpPr/>
          <p:nvPr/>
        </p:nvSpPr>
        <p:spPr>
          <a:xfrm>
            <a:off x="3175" y="6400800"/>
            <a:ext cx="9140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a:extLst>
              <a:ext uri="{FF2B5EF4-FFF2-40B4-BE49-F238E27FC236}">
                <a16:creationId xmlns:a16="http://schemas.microsoft.com/office/drawing/2014/main" id="{1FCD8C77-C200-4487-A39C-C0DEA9B17FCD}"/>
              </a:ext>
            </a:extLst>
          </p:cNvPr>
          <p:cNvSpPr/>
          <p:nvPr/>
        </p:nvSpPr>
        <p:spPr>
          <a:xfrm>
            <a:off x="0" y="6334125"/>
            <a:ext cx="9142413"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a:extLst>
              <a:ext uri="{FF2B5EF4-FFF2-40B4-BE49-F238E27FC236}">
                <a16:creationId xmlns:a16="http://schemas.microsoft.com/office/drawing/2014/main" id="{259E566A-9244-4322-A325-D22DD33081D7}"/>
              </a:ext>
            </a:extLst>
          </p:cNvPr>
          <p:cNvSpPr>
            <a:spLocks noGrp="1"/>
          </p:cNvSpPr>
          <p:nvPr>
            <p:ph type="title"/>
          </p:nvPr>
        </p:nvSpPr>
        <p:spPr>
          <a:xfrm>
            <a:off x="822325" y="287338"/>
            <a:ext cx="7543800" cy="144938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1029" name="Text Placeholder 2">
            <a:extLst>
              <a:ext uri="{FF2B5EF4-FFF2-40B4-BE49-F238E27FC236}">
                <a16:creationId xmlns:a16="http://schemas.microsoft.com/office/drawing/2014/main" id="{24E00FE3-3D80-4F43-8716-87FC85F5E37D}"/>
              </a:ext>
            </a:extLst>
          </p:cNvPr>
          <p:cNvSpPr>
            <a:spLocks noGrp="1" noChangeArrowheads="1"/>
          </p:cNvSpPr>
          <p:nvPr>
            <p:ph type="body" idx="1"/>
          </p:nvPr>
        </p:nvSpPr>
        <p:spPr bwMode="auto">
          <a:xfrm>
            <a:off x="822325" y="1846263"/>
            <a:ext cx="7543800" cy="402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2D2037F7-53C0-420F-AF5E-2B7889EC81EB}"/>
              </a:ext>
            </a:extLst>
          </p:cNvPr>
          <p:cNvSpPr>
            <a:spLocks noGrp="1"/>
          </p:cNvSpPr>
          <p:nvPr>
            <p:ph type="dt" sz="half" idx="2"/>
          </p:nvPr>
        </p:nvSpPr>
        <p:spPr>
          <a:xfrm>
            <a:off x="822325" y="6459538"/>
            <a:ext cx="1854200" cy="365125"/>
          </a:xfrm>
          <a:prstGeom prst="rect">
            <a:avLst/>
          </a:prstGeom>
        </p:spPr>
        <p:txBody>
          <a:bodyPr vert="horz" lIns="91440" tIns="45720" rIns="91440" bIns="45720" rtlCol="0" anchor="ctr"/>
          <a:lstStyle>
            <a:lvl1pPr algn="l">
              <a:defRPr sz="675">
                <a:solidFill>
                  <a:srgbClr val="FFFFFF"/>
                </a:solidFill>
              </a:defRPr>
            </a:lvl1pPr>
          </a:lstStyle>
          <a:p>
            <a:pPr>
              <a:defRPr/>
            </a:pPr>
            <a:fld id="{7998CB1D-5B25-49BE-BA87-B7C0C85D5B87}" type="datetime1">
              <a:rPr lang="en-US"/>
              <a:pPr>
                <a:defRPr/>
              </a:pPr>
              <a:t>2/2/2022</a:t>
            </a:fld>
            <a:endParaRPr lang="en-US"/>
          </a:p>
        </p:txBody>
      </p:sp>
      <p:sp>
        <p:nvSpPr>
          <p:cNvPr id="5" name="Footer Placeholder 4">
            <a:extLst>
              <a:ext uri="{FF2B5EF4-FFF2-40B4-BE49-F238E27FC236}">
                <a16:creationId xmlns:a16="http://schemas.microsoft.com/office/drawing/2014/main" id="{CAD7F37F-0348-4032-BCE6-43FA03C2A594}"/>
              </a:ext>
            </a:extLst>
          </p:cNvPr>
          <p:cNvSpPr>
            <a:spLocks noGrp="1"/>
          </p:cNvSpPr>
          <p:nvPr>
            <p:ph type="ftr" sz="quarter" idx="3"/>
          </p:nvPr>
        </p:nvSpPr>
        <p:spPr>
          <a:xfrm>
            <a:off x="2765425" y="6459538"/>
            <a:ext cx="3616325" cy="365125"/>
          </a:xfrm>
          <a:prstGeom prst="rect">
            <a:avLst/>
          </a:prstGeom>
        </p:spPr>
        <p:txBody>
          <a:bodyPr vert="horz" lIns="91440" tIns="45720" rIns="91440" bIns="45720" rtlCol="0" anchor="ctr"/>
          <a:lstStyle>
            <a:lvl1pPr algn="ctr">
              <a:defRPr sz="675" cap="none" baseline="0">
                <a:solidFill>
                  <a:srgbClr val="FFFFFF"/>
                </a:solidFill>
              </a:defRPr>
            </a:lvl1pPr>
          </a:lstStyle>
          <a:p>
            <a:pPr>
              <a:defRPr/>
            </a:pPr>
            <a:r>
              <a:rPr lang="en-US"/>
              <a:t>Reaching Impact, Saturation, and Epidemic Control (RISE)</a:t>
            </a:r>
          </a:p>
        </p:txBody>
      </p:sp>
      <p:sp>
        <p:nvSpPr>
          <p:cNvPr id="6" name="Slide Number Placeholder 5">
            <a:extLst>
              <a:ext uri="{FF2B5EF4-FFF2-40B4-BE49-F238E27FC236}">
                <a16:creationId xmlns:a16="http://schemas.microsoft.com/office/drawing/2014/main" id="{4D7F1F61-88B7-44D8-AD90-BC5BCFED56C2}"/>
              </a:ext>
            </a:extLst>
          </p:cNvPr>
          <p:cNvSpPr>
            <a:spLocks noGrp="1"/>
          </p:cNvSpPr>
          <p:nvPr>
            <p:ph type="sldNum" sz="quarter" idx="4"/>
          </p:nvPr>
        </p:nvSpPr>
        <p:spPr>
          <a:xfrm>
            <a:off x="7424738" y="6459538"/>
            <a:ext cx="984250" cy="365125"/>
          </a:xfrm>
          <a:prstGeom prst="rect">
            <a:avLst/>
          </a:prstGeom>
        </p:spPr>
        <p:txBody>
          <a:bodyPr vert="horz" wrap="square" lIns="91440" tIns="45720" rIns="91440" bIns="45720" numCol="1" anchor="ctr" anchorCtr="0" compatLnSpc="1">
            <a:prstTxWarp prst="textNoShape">
              <a:avLst/>
            </a:prstTxWarp>
          </a:bodyPr>
          <a:lstStyle>
            <a:lvl1pPr algn="r">
              <a:defRPr sz="700">
                <a:solidFill>
                  <a:srgbClr val="FFFFFF"/>
                </a:solidFill>
              </a:defRPr>
            </a:lvl1pPr>
          </a:lstStyle>
          <a:p>
            <a:fld id="{8C08E338-08F7-4E01-BA68-085849FBC9B9}" type="slidenum">
              <a:rPr lang="en-US" altLang="en-US"/>
              <a:pPr/>
              <a:t>‹#›</a:t>
            </a:fld>
            <a:endParaRPr lang="en-US" altLang="en-US"/>
          </a:p>
        </p:txBody>
      </p:sp>
      <p:cxnSp>
        <p:nvCxnSpPr>
          <p:cNvPr id="10" name="Straight Connector 9">
            <a:extLst>
              <a:ext uri="{FF2B5EF4-FFF2-40B4-BE49-F238E27FC236}">
                <a16:creationId xmlns:a16="http://schemas.microsoft.com/office/drawing/2014/main" id="{2F53BAFC-4D07-4324-A797-8393256BAF31}"/>
              </a:ext>
            </a:extLst>
          </p:cNvPr>
          <p:cNvCxnSpPr/>
          <p:nvPr/>
        </p:nvCxnSpPr>
        <p:spPr>
          <a:xfrm>
            <a:off x="895350" y="1738313"/>
            <a:ext cx="7475538"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607" r:id="rId1"/>
    <p:sldLayoutId id="2147484608" r:id="rId2"/>
    <p:sldLayoutId id="2147484609" r:id="rId3"/>
    <p:sldLayoutId id="2147484601" r:id="rId4"/>
    <p:sldLayoutId id="2147484602" r:id="rId5"/>
    <p:sldLayoutId id="2147484610" r:id="rId6"/>
    <p:sldLayoutId id="2147484611" r:id="rId7"/>
    <p:sldLayoutId id="2147484605" r:id="rId8"/>
    <p:sldLayoutId id="2147484612" r:id="rId9"/>
    <p:sldLayoutId id="2147484606" r:id="rId10"/>
    <p:sldLayoutId id="2147484613" r:id="rId11"/>
    <p:sldLayoutId id="2147484616" r:id="rId12"/>
    <p:sldLayoutId id="2147484629" r:id="rId13"/>
    <p:sldLayoutId id="2147484630" r:id="rId14"/>
    <p:sldLayoutId id="2147484631" r:id="rId15"/>
    <p:sldLayoutId id="2147484632" r:id="rId16"/>
    <p:sldLayoutId id="2147484633" r:id="rId17"/>
    <p:sldLayoutId id="2147484634" r:id="rId18"/>
    <p:sldLayoutId id="2147484635" r:id="rId19"/>
    <p:sldLayoutId id="2147484636" r:id="rId20"/>
    <p:sldLayoutId id="2147484637" r:id="rId21"/>
    <p:sldLayoutId id="2147484638" r:id="rId22"/>
  </p:sldLayoutIdLst>
  <p:hf sldNum="0" hdr="0" dt="0"/>
  <p:txStyles>
    <p:titleStyle>
      <a:lvl1pPr algn="l" defTabSz="685800" rtl="0" eaLnBrk="0" fontAlgn="base" hangingPunct="0">
        <a:lnSpc>
          <a:spcPct val="85000"/>
        </a:lnSpc>
        <a:spcBef>
          <a:spcPct val="0"/>
        </a:spcBef>
        <a:spcAft>
          <a:spcPct val="0"/>
        </a:spcAft>
        <a:defRPr sz="3600" kern="1200" spc="-38">
          <a:solidFill>
            <a:srgbClr val="404040"/>
          </a:solidFill>
          <a:latin typeface="+mj-lt"/>
          <a:ea typeface="+mj-ea"/>
          <a:cs typeface="+mj-cs"/>
        </a:defRPr>
      </a:lvl1pPr>
      <a:lvl2pPr algn="l" defTabSz="685800" rtl="0" eaLnBrk="0" fontAlgn="base" hangingPunct="0">
        <a:lnSpc>
          <a:spcPct val="85000"/>
        </a:lnSpc>
        <a:spcBef>
          <a:spcPct val="0"/>
        </a:spcBef>
        <a:spcAft>
          <a:spcPct val="0"/>
        </a:spcAft>
        <a:defRPr sz="3600">
          <a:solidFill>
            <a:srgbClr val="404040"/>
          </a:solidFill>
          <a:latin typeface="Calibri Light" panose="020F0302020204030204" pitchFamily="34" charset="0"/>
        </a:defRPr>
      </a:lvl2pPr>
      <a:lvl3pPr algn="l" defTabSz="685800" rtl="0" eaLnBrk="0" fontAlgn="base" hangingPunct="0">
        <a:lnSpc>
          <a:spcPct val="85000"/>
        </a:lnSpc>
        <a:spcBef>
          <a:spcPct val="0"/>
        </a:spcBef>
        <a:spcAft>
          <a:spcPct val="0"/>
        </a:spcAft>
        <a:defRPr sz="3600">
          <a:solidFill>
            <a:srgbClr val="404040"/>
          </a:solidFill>
          <a:latin typeface="Calibri Light" panose="020F0302020204030204" pitchFamily="34" charset="0"/>
        </a:defRPr>
      </a:lvl3pPr>
      <a:lvl4pPr algn="l" defTabSz="685800" rtl="0" eaLnBrk="0" fontAlgn="base" hangingPunct="0">
        <a:lnSpc>
          <a:spcPct val="85000"/>
        </a:lnSpc>
        <a:spcBef>
          <a:spcPct val="0"/>
        </a:spcBef>
        <a:spcAft>
          <a:spcPct val="0"/>
        </a:spcAft>
        <a:defRPr sz="3600">
          <a:solidFill>
            <a:srgbClr val="404040"/>
          </a:solidFill>
          <a:latin typeface="Calibri Light" panose="020F0302020204030204" pitchFamily="34" charset="0"/>
        </a:defRPr>
      </a:lvl4pPr>
      <a:lvl5pPr algn="l" defTabSz="685800" rtl="0" eaLnBrk="0" fontAlgn="base" hangingPunct="0">
        <a:lnSpc>
          <a:spcPct val="85000"/>
        </a:lnSpc>
        <a:spcBef>
          <a:spcPct val="0"/>
        </a:spcBef>
        <a:spcAft>
          <a:spcPct val="0"/>
        </a:spcAft>
        <a:defRPr sz="3600">
          <a:solidFill>
            <a:srgbClr val="404040"/>
          </a:solidFill>
          <a:latin typeface="Calibri Light" panose="020F0302020204030204" pitchFamily="34" charset="0"/>
        </a:defRPr>
      </a:lvl5pPr>
      <a:lvl6pPr marL="457200" algn="l" defTabSz="685800" rtl="0" fontAlgn="base">
        <a:lnSpc>
          <a:spcPct val="85000"/>
        </a:lnSpc>
        <a:spcBef>
          <a:spcPct val="0"/>
        </a:spcBef>
        <a:spcAft>
          <a:spcPct val="0"/>
        </a:spcAft>
        <a:defRPr sz="3600">
          <a:solidFill>
            <a:srgbClr val="404040"/>
          </a:solidFill>
          <a:latin typeface="Calibri Light" panose="020F0302020204030204" pitchFamily="34" charset="0"/>
        </a:defRPr>
      </a:lvl6pPr>
      <a:lvl7pPr marL="914400" algn="l" defTabSz="685800" rtl="0" fontAlgn="base">
        <a:lnSpc>
          <a:spcPct val="85000"/>
        </a:lnSpc>
        <a:spcBef>
          <a:spcPct val="0"/>
        </a:spcBef>
        <a:spcAft>
          <a:spcPct val="0"/>
        </a:spcAft>
        <a:defRPr sz="3600">
          <a:solidFill>
            <a:srgbClr val="404040"/>
          </a:solidFill>
          <a:latin typeface="Calibri Light" panose="020F0302020204030204" pitchFamily="34" charset="0"/>
        </a:defRPr>
      </a:lvl7pPr>
      <a:lvl8pPr marL="1371600" algn="l" defTabSz="685800" rtl="0" fontAlgn="base">
        <a:lnSpc>
          <a:spcPct val="85000"/>
        </a:lnSpc>
        <a:spcBef>
          <a:spcPct val="0"/>
        </a:spcBef>
        <a:spcAft>
          <a:spcPct val="0"/>
        </a:spcAft>
        <a:defRPr sz="3600">
          <a:solidFill>
            <a:srgbClr val="404040"/>
          </a:solidFill>
          <a:latin typeface="Calibri Light" panose="020F0302020204030204" pitchFamily="34" charset="0"/>
        </a:defRPr>
      </a:lvl8pPr>
      <a:lvl9pPr marL="1828800" algn="l" defTabSz="685800" rtl="0" fontAlgn="base">
        <a:lnSpc>
          <a:spcPct val="85000"/>
        </a:lnSpc>
        <a:spcBef>
          <a:spcPct val="0"/>
        </a:spcBef>
        <a:spcAft>
          <a:spcPct val="0"/>
        </a:spcAft>
        <a:defRPr sz="3600">
          <a:solidFill>
            <a:srgbClr val="404040"/>
          </a:solidFill>
          <a:latin typeface="Calibri Light" panose="020F0302020204030204" pitchFamily="34" charset="0"/>
        </a:defRPr>
      </a:lvl9pPr>
    </p:titleStyle>
    <p:bodyStyle>
      <a:lvl1pPr marL="68263" indent="-68263"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Char char=" "/>
        <a:defRPr sz="1500" kern="1200">
          <a:solidFill>
            <a:srgbClr val="404040"/>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6BFCD9-36AD-402D-8FEA-C5DD0A2417A9}"/>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9CCCCF3A-0B7E-44B8-8EC7-0DF77FE19D22}"/>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D7350F99-2A5D-4F2D-9024-E309C20977B0}"/>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21DE32-92D5-476E-B74E-5E0EBA320909}" type="datetimeFigureOut">
              <a:rPr lang="en-US" smtClean="0"/>
              <a:t>2/2/2022</a:t>
            </a:fld>
            <a:endParaRPr lang="en-US"/>
          </a:p>
        </p:txBody>
      </p:sp>
      <p:sp>
        <p:nvSpPr>
          <p:cNvPr id="5" name="Footer Placeholder 4">
            <a:extLst>
              <a:ext uri="{FF2B5EF4-FFF2-40B4-BE49-F238E27FC236}">
                <a16:creationId xmlns:a16="http://schemas.microsoft.com/office/drawing/2014/main" id="{18312712-E049-484B-B268-19BD7FC1DAA9}"/>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D2B8CF3-E1C4-497A-943A-BBC572F4896A}"/>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A8D7EE-9FFF-4FBD-B9AF-9636F3811D48}" type="slidenum">
              <a:rPr lang="en-US" smtClean="0"/>
              <a:t>‹#›</a:t>
            </a:fld>
            <a:endParaRPr lang="en-US"/>
          </a:p>
        </p:txBody>
      </p:sp>
    </p:spTree>
    <p:extLst>
      <p:ext uri="{BB962C8B-B14F-4D97-AF65-F5344CB8AC3E}">
        <p14:creationId xmlns:p14="http://schemas.microsoft.com/office/powerpoint/2010/main" val="455645098"/>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Lst>
  <p:txStyles>
    <p:titleStyle>
      <a:lvl1pPr algn="l" defTabSz="914400" rtl="0" eaLnBrk="1" latinLnBrk="0" hangingPunct="1">
        <a:lnSpc>
          <a:spcPct val="90000"/>
        </a:lnSpc>
        <a:spcBef>
          <a:spcPct val="0"/>
        </a:spcBef>
        <a:buNone/>
        <a:defRPr sz="3600"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13.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3.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56.xml"/><Relationship Id="rId1" Type="http://schemas.openxmlformats.org/officeDocument/2006/relationships/slideLayout" Target="../slideLayouts/slideLayout6.xml"/><Relationship Id="rId4" Type="http://schemas.openxmlformats.org/officeDocument/2006/relationships/image" Target="../media/image145.jpeg"/></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5.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0.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8.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19.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110.xml.rels><?xml version="1.0" encoding="UTF-8" standalone="yes" ?><Relationships xmlns="http://schemas.openxmlformats.org/package/2006/relationships"><Relationship Id="rId2" Target="../media/image146.jpeg" Type="http://schemas.openxmlformats.org/officeDocument/2006/relationships/image"/><Relationship Id="rId1" Target="../slideLayouts/slideLayout4.xml" Type="http://schemas.openxmlformats.org/officeDocument/2006/relationships/slideLayout"/></Relationships>
</file>

<file path=ppt/slides/_rels/slide111.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9.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113.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9.xml"/></Relationships>
</file>

<file path=ppt/slides/_rels/slide114.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2.xml"/></Relationships>
</file>

<file path=ppt/slides/_rels/slide115.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2.xml"/></Relationships>
</file>

<file path=ppt/slides/_rels/slide116.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12.xml"/></Relationships>
</file>

<file path=ppt/slides/_rels/slide117.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2.xml"/></Relationships>
</file>

<file path=ppt/slides/_rels/slide118.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12.xml"/></Relationships>
</file>

<file path=ppt/slides/_rels/slide119.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6.png"/><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120.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12.xml"/></Relationships>
</file>

<file path=ppt/slides/_rels/slide121.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12.xml"/></Relationships>
</file>

<file path=ppt/slides/_rels/slide122.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12.xml"/></Relationships>
</file>

<file path=ppt/slides/_rels/slide123.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12.xml"/></Relationships>
</file>

<file path=ppt/slides/_rels/slide124.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12.xml"/></Relationships>
</file>

<file path=ppt/slides/_rels/slide125.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12.xml"/></Relationships>
</file>

<file path=ppt/slides/_rels/slide126.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12.xml"/></Relationships>
</file>

<file path=ppt/slides/_rels/slide127.xml.rels><?xml version="1.0" encoding="UTF-8" standalone="yes" ?><Relationships xmlns="http://schemas.openxmlformats.org/package/2006/relationships"><Relationship Id="rId3" Target="../media/image162.png" Type="http://schemas.openxmlformats.org/officeDocument/2006/relationships/image"/><Relationship Id="rId2" Target="../media/image161.jpeg" Type="http://schemas.openxmlformats.org/officeDocument/2006/relationships/image"/><Relationship Id="rId1" Target="../slideLayouts/slideLayout12.xml" Type="http://schemas.openxmlformats.org/officeDocument/2006/relationships/slideLayout"/></Relationships>
</file>

<file path=ppt/slides/_rels/slide128.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12.xml"/></Relationships>
</file>

<file path=ppt/slides/_rels/slide129.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8.jpg"/></Relationships>
</file>

<file path=ppt/slides/_rels/slide130.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12.xml"/></Relationships>
</file>

<file path=ppt/slides/_rels/slide131.xml.rels><?xml version="1.0" encoding="UTF-8" standalone="yes"?>
<Relationships xmlns="http://schemas.openxmlformats.org/package/2006/relationships"><Relationship Id="rId2" Type="http://schemas.openxmlformats.org/officeDocument/2006/relationships/image" Target="../media/image166.png"/><Relationship Id="rId1" Type="http://schemas.openxmlformats.org/officeDocument/2006/relationships/slideLayout" Target="../slideLayouts/slideLayout12.xml"/></Relationships>
</file>

<file path=ppt/slides/_rels/slide132.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1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59.xml"/><Relationship Id="rId1" Type="http://schemas.openxmlformats.org/officeDocument/2006/relationships/slideLayout" Target="../slideLayouts/slideLayout21.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13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60.xml"/><Relationship Id="rId1" Type="http://schemas.openxmlformats.org/officeDocument/2006/relationships/slideLayout" Target="../slideLayouts/slideLayout21.xml"/><Relationship Id="rId5" Type="http://schemas.openxmlformats.org/officeDocument/2006/relationships/image" Target="../media/image170.png"/><Relationship Id="rId4" Type="http://schemas.openxmlformats.org/officeDocument/2006/relationships/image" Target="../media/image16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141.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62.xml"/><Relationship Id="rId1" Type="http://schemas.openxmlformats.org/officeDocument/2006/relationships/slideLayout" Target="../slideLayouts/slideLayout2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142.xml.rels><?xml version="1.0" encoding="UTF-8" standalone="yes" ?><Relationships xmlns="http://schemas.openxmlformats.org/package/2006/relationships"><Relationship Id="rId3" Target="../media/image171.jpeg" Type="http://schemas.openxmlformats.org/officeDocument/2006/relationships/image"/><Relationship Id="rId2" Target="../notesSlides/notesSlide63.xml" Type="http://schemas.openxmlformats.org/officeDocument/2006/relationships/notesSlide"/><Relationship Id="rId1" Target="../slideLayouts/slideLayout21.xml" Type="http://schemas.openxmlformats.org/officeDocument/2006/relationships/slideLayout"/><Relationship Id="rId6" Target="../media/image174.png" Type="http://schemas.openxmlformats.org/officeDocument/2006/relationships/image"/><Relationship Id="rId5" Target="../media/image173.jpeg" Type="http://schemas.openxmlformats.org/officeDocument/2006/relationships/image"/><Relationship Id="rId4" Target="../media/image172.png" Type="http://schemas.openxmlformats.org/officeDocument/2006/relationships/image"/></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3.xml"/></Relationships>
</file>

<file path=ppt/slides/_rels/slide146.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67.xml"/><Relationship Id="rId1" Type="http://schemas.openxmlformats.org/officeDocument/2006/relationships/slideLayout" Target="../slideLayouts/slideLayout19.xml"/><Relationship Id="rId4" Type="http://schemas.openxmlformats.org/officeDocument/2006/relationships/image" Target="../media/image176.svg"/></Relationships>
</file>

<file path=ppt/slides/_rels/slide147.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68.xml"/><Relationship Id="rId1" Type="http://schemas.openxmlformats.org/officeDocument/2006/relationships/slideLayout" Target="../slideLayouts/slideLayout19.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9.xml"/></Relationships>
</file>

<file path=ppt/slides/_rels/slide149.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70.xml"/><Relationship Id="rId1" Type="http://schemas.openxmlformats.org/officeDocument/2006/relationships/slideLayout" Target="../slideLayouts/slideLayout19.xml"/><Relationship Id="rId4" Type="http://schemas.openxmlformats.org/officeDocument/2006/relationships/image" Target="../media/image179.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9.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9.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9.xml"/></Relationships>
</file>

<file path=ppt/slides/_rels/slide153.xml.rels><?xml version="1.0" encoding="UTF-8" standalone="yes" ?><Relationships xmlns="http://schemas.openxmlformats.org/package/2006/relationships"><Relationship Id="rId8" Target="../media/image185.jpeg" Type="http://schemas.openxmlformats.org/officeDocument/2006/relationships/image"/><Relationship Id="rId3" Target="../media/image180.jpeg" Type="http://schemas.openxmlformats.org/officeDocument/2006/relationships/image"/><Relationship Id="rId7" Target="../media/image184.jpeg" Type="http://schemas.openxmlformats.org/officeDocument/2006/relationships/image"/><Relationship Id="rId2" Target="../notesSlides/notesSlide74.xml" Type="http://schemas.openxmlformats.org/officeDocument/2006/relationships/notesSlide"/><Relationship Id="rId1" Target="../slideLayouts/slideLayout10.xml" Type="http://schemas.openxmlformats.org/officeDocument/2006/relationships/slideLayout"/><Relationship Id="rId6" Target="../media/image183.png" Type="http://schemas.openxmlformats.org/officeDocument/2006/relationships/image"/><Relationship Id="rId5" Target="../media/image182.jpeg" Type="http://schemas.openxmlformats.org/officeDocument/2006/relationships/image"/><Relationship Id="rId4" Target="../media/image181.jpeg" Type="http://schemas.openxmlformats.org/officeDocument/2006/relationships/image"/></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7.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77.xml"/><Relationship Id="rId1" Type="http://schemas.openxmlformats.org/officeDocument/2006/relationships/slideLayout" Target="../slideLayouts/slideLayout6.xml"/><Relationship Id="rId4" Type="http://schemas.openxmlformats.org/officeDocument/2006/relationships/image" Target="../media/image187.svg"/></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59.xml.rels><?xml version="1.0" encoding="UTF-8" standalone="yes"?>
<Relationships xmlns="http://schemas.openxmlformats.org/package/2006/relationships"><Relationship Id="rId3" Type="http://schemas.openxmlformats.org/officeDocument/2006/relationships/image" Target="../media/image188.emf"/><Relationship Id="rId2" Type="http://schemas.openxmlformats.org/officeDocument/2006/relationships/notesSlide" Target="../notesSlides/notesSlide78.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2.xml.rels><?xml version="1.0" encoding="UTF-8" standalone="yes"?>
<Relationships xmlns="http://schemas.openxmlformats.org/package/2006/relationships"><Relationship Id="rId3" Type="http://schemas.openxmlformats.org/officeDocument/2006/relationships/image" Target="../media/image189.emf"/><Relationship Id="rId2" Type="http://schemas.openxmlformats.org/officeDocument/2006/relationships/notesSlide" Target="../notesSlides/notesSlide79.xml"/><Relationship Id="rId1" Type="http://schemas.openxmlformats.org/officeDocument/2006/relationships/slideLayout" Target="../slideLayouts/slideLayout6.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5.xml.rels><?xml version="1.0" encoding="UTF-8" standalone="yes" ?><Relationships xmlns="http://schemas.openxmlformats.org/package/2006/relationships"><Relationship Id="rId3" Target="../media/image190.jpeg" Type="http://schemas.openxmlformats.org/officeDocument/2006/relationships/image"/><Relationship Id="rId2" Target="../notesSlides/notesSlide80.xml" Type="http://schemas.openxmlformats.org/officeDocument/2006/relationships/notesSlide"/><Relationship Id="rId1" Target="../slideLayouts/slideLayout6.xml" Type="http://schemas.openxmlformats.org/officeDocument/2006/relationships/slideLayout"/></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8.xml.rels><?xml version="1.0" encoding="UTF-8" standalone="yes" ?><Relationships xmlns="http://schemas.openxmlformats.org/package/2006/relationships"><Relationship Id="rId3" Target="../media/image191.jpeg" Type="http://schemas.openxmlformats.org/officeDocument/2006/relationships/image"/><Relationship Id="rId2" Target="../notesSlides/notesSlide81.xml" Type="http://schemas.openxmlformats.org/officeDocument/2006/relationships/notesSlide"/><Relationship Id="rId1" Target="../slideLayouts/slideLayout6.xml" Type="http://schemas.openxmlformats.org/officeDocument/2006/relationships/slideLayout"/></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1.xml.rels><?xml version="1.0" encoding="UTF-8" standalone="yes" ?><Relationships xmlns="http://schemas.openxmlformats.org/package/2006/relationships"><Relationship Id="rId3" Target="../media/image192.jpeg" Type="http://schemas.openxmlformats.org/officeDocument/2006/relationships/image"/><Relationship Id="rId2" Target="../notesSlides/notesSlide82.xml" Type="http://schemas.openxmlformats.org/officeDocument/2006/relationships/notesSlide"/><Relationship Id="rId1" Target="../slideLayouts/slideLayout6.xml" Type="http://schemas.openxmlformats.org/officeDocument/2006/relationships/slideLayout"/></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4.xml.rels><?xml version="1.0" encoding="UTF-8" standalone="yes" ?><Relationships xmlns="http://schemas.openxmlformats.org/package/2006/relationships"><Relationship Id="rId3" Target="../media/image193.jpeg" Type="http://schemas.openxmlformats.org/officeDocument/2006/relationships/image"/><Relationship Id="rId2" Target="../notesSlides/notesSlide83.xml" Type="http://schemas.openxmlformats.org/officeDocument/2006/relationships/notesSlide"/><Relationship Id="rId1" Target="../slideLayouts/slideLayout6.xml" Type="http://schemas.openxmlformats.org/officeDocument/2006/relationships/slideLayout"/></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7.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84.xml"/><Relationship Id="rId1" Type="http://schemas.openxmlformats.org/officeDocument/2006/relationships/slideLayout" Target="../slideLayouts/slideLayout6.xml"/><Relationship Id="rId4" Type="http://schemas.openxmlformats.org/officeDocument/2006/relationships/image" Target="../media/image195.svg"/></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0.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arget="../media/image39.jpeg" Type="http://schemas.openxmlformats.org/officeDocument/2006/relationships/image"/><Relationship Id="rId2" Target="../notesSlides/notesSlide22.xml" Type="http://schemas.openxmlformats.org/officeDocument/2006/relationships/notesSlide"/><Relationship Id="rId1" Target="../slideLayouts/slideLayout13.xml" Type="http://schemas.openxmlformats.org/officeDocument/2006/relationships/slideLayout"/></Relationships>
</file>

<file path=ppt/slides/_rels/slide27.xml.rels><?xml version="1.0" encoding="UTF-8" standalone="yes" ?><Relationships xmlns="http://schemas.openxmlformats.org/package/2006/relationships"><Relationship Id="rId3" Target="../media/image40.jpeg" Type="http://schemas.openxmlformats.org/officeDocument/2006/relationships/image"/><Relationship Id="rId2" Target="../notesSlides/notesSlide23.xml" Type="http://schemas.openxmlformats.org/officeDocument/2006/relationships/notesSlide"/><Relationship Id="rId1" Target="../slideLayouts/slideLayout13.xml" Type="http://schemas.openxmlformats.org/officeDocument/2006/relationships/slideLayout"/></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arget="../media/image42.jpeg" Type="http://schemas.openxmlformats.org/officeDocument/2006/relationships/image"/><Relationship Id="rId2" Target="../notesSlides/notesSlide27.xml" Type="http://schemas.openxmlformats.org/officeDocument/2006/relationships/notesSlide"/><Relationship Id="rId1" Target="../slideLayouts/slideLayout13.xml" Type="http://schemas.openxmlformats.org/officeDocument/2006/relationships/slideLayout"/><Relationship Id="rId4" Target="../media/image43.png" Type="http://schemas.openxmlformats.org/officeDocument/2006/relationships/image"/></Relationships>
</file>

<file path=ppt/slides/_rels/slide32.xml.rels><?xml version="1.0" encoding="UTF-8" standalone="yes" ?><Relationships xmlns="http://schemas.openxmlformats.org/package/2006/relationships"><Relationship Id="rId3" Target="../media/image44.jpeg" Type="http://schemas.openxmlformats.org/officeDocument/2006/relationships/image"/><Relationship Id="rId2" Target="../notesSlides/notesSlide28.xml" Type="http://schemas.openxmlformats.org/officeDocument/2006/relationships/notesSlide"/><Relationship Id="rId1" Target="../slideLayouts/slideLayout13.xml" Type="http://schemas.openxmlformats.org/officeDocument/2006/relationships/slideLayout"/></Relationships>
</file>

<file path=ppt/slides/_rels/slide33.xml.rels><?xml version="1.0" encoding="UTF-8" standalone="yes" ?><Relationships xmlns="http://schemas.openxmlformats.org/package/2006/relationships"><Relationship Id="rId3" Target="../media/image46.jpg" Type="http://schemas.openxmlformats.org/officeDocument/2006/relationships/image"/><Relationship Id="rId2" Target="../media/image45.jpeg" Type="http://schemas.openxmlformats.org/officeDocument/2006/relationships/image"/><Relationship Id="rId1" Target="../slideLayouts/slideLayout13.xml" Type="http://schemas.openxmlformats.org/officeDocument/2006/relationships/slideLayout"/></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arget="../media/image47.jpeg" Type="http://schemas.openxmlformats.org/officeDocument/2006/relationships/image"/><Relationship Id="rId2" Target="../notesSlides/notesSlide30.xml" Type="http://schemas.openxmlformats.org/officeDocument/2006/relationships/notesSlide"/><Relationship Id="rId1" Target="../slideLayouts/slideLayout13.xml" Type="http://schemas.openxmlformats.org/officeDocument/2006/relationships/slideLayout"/></Relationships>
</file>

<file path=ppt/slides/_rels/slide36.xml.rels><?xml version="1.0" encoding="UTF-8" standalone="yes" ?><Relationships xmlns="http://schemas.openxmlformats.org/package/2006/relationships"><Relationship Id="rId3" Target="../media/image48.jpeg" Type="http://schemas.openxmlformats.org/officeDocument/2006/relationships/image"/><Relationship Id="rId2" Target="../notesSlides/notesSlide31.xml" Type="http://schemas.openxmlformats.org/officeDocument/2006/relationships/notesSlide"/><Relationship Id="rId1" Target="../slideLayouts/slideLayout13.xml" Type="http://schemas.openxmlformats.org/officeDocument/2006/relationships/slideLayout"/></Relationships>
</file>

<file path=ppt/slides/_rels/slide3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svg"/><Relationship Id="rId7" Type="http://schemas.openxmlformats.org/officeDocument/2006/relationships/image" Target="../media/image56.svg"/><Relationship Id="rId2" Type="http://schemas.openxmlformats.org/officeDocument/2006/relationships/image" Target="../media/image51.png"/><Relationship Id="rId1" Type="http://schemas.openxmlformats.org/officeDocument/2006/relationships/slideLayout" Target="../slideLayouts/slideLayout14.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61.jpeg"/><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6.xml.rels><?xml version="1.0" encoding="UTF-8" standalone="yes" ?><Relationships xmlns="http://schemas.openxmlformats.org/package/2006/relationships"><Relationship Id="rId3" Target="../media/image62.jpeg" Type="http://schemas.openxmlformats.org/officeDocument/2006/relationships/image"/><Relationship Id="rId2" Target="../notesSlides/notesSlide37.xml" Type="http://schemas.openxmlformats.org/officeDocument/2006/relationships/notesSlide"/><Relationship Id="rId1" Target="../slideLayouts/slideLayout16.xml" Type="http://schemas.openxmlformats.org/officeDocument/2006/relationships/slideLayout"/><Relationship Id="rId6" Target="../media/image65.jpeg" Type="http://schemas.openxmlformats.org/officeDocument/2006/relationships/image"/><Relationship Id="rId5" Target="../media/image64.jpeg" Type="http://schemas.openxmlformats.org/officeDocument/2006/relationships/image"/><Relationship Id="rId4" Target="../media/image63.jpeg" Type="http://schemas.openxmlformats.org/officeDocument/2006/relationships/image"/></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66.png"/><Relationship Id="rId1" Type="http://schemas.openxmlformats.org/officeDocument/2006/relationships/slideLayout" Target="../slideLayouts/slideLayout1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8" Target="../media/image73.png" Type="http://schemas.openxmlformats.org/officeDocument/2006/relationships/image"/><Relationship Id="rId13" Target="../media/image78.svg" Type="http://schemas.openxmlformats.org/officeDocument/2006/relationships/image"/><Relationship Id="rId18" Target="../media/image83.png" Type="http://schemas.openxmlformats.org/officeDocument/2006/relationships/image"/><Relationship Id="rId3" Target="../media/hdphoto1.wdp" Type="http://schemas.microsoft.com/office/2007/relationships/hdphoto"/><Relationship Id="rId21" Target="../media/image86.svg" Type="http://schemas.openxmlformats.org/officeDocument/2006/relationships/image"/><Relationship Id="rId7" Target="../media/image72.svg" Type="http://schemas.openxmlformats.org/officeDocument/2006/relationships/image"/><Relationship Id="rId12" Target="../media/image77.png" Type="http://schemas.openxmlformats.org/officeDocument/2006/relationships/image"/><Relationship Id="rId17" Target="../media/image82.svg" Type="http://schemas.openxmlformats.org/officeDocument/2006/relationships/image"/><Relationship Id="rId2" Target="../media/image68.jpeg" Type="http://schemas.openxmlformats.org/officeDocument/2006/relationships/image"/><Relationship Id="rId16" Target="../media/image81.png" Type="http://schemas.openxmlformats.org/officeDocument/2006/relationships/image"/><Relationship Id="rId20" Target="../media/image85.png" Type="http://schemas.openxmlformats.org/officeDocument/2006/relationships/image"/><Relationship Id="rId1" Target="../slideLayouts/slideLayout12.xml" Type="http://schemas.openxmlformats.org/officeDocument/2006/relationships/slideLayout"/><Relationship Id="rId6" Target="../media/image71.png" Type="http://schemas.openxmlformats.org/officeDocument/2006/relationships/image"/><Relationship Id="rId11" Target="../media/image76.svg" Type="http://schemas.openxmlformats.org/officeDocument/2006/relationships/image"/><Relationship Id="rId5" Target="../media/image70.svg" Type="http://schemas.openxmlformats.org/officeDocument/2006/relationships/image"/><Relationship Id="rId15" Target="../media/image80.svg" Type="http://schemas.openxmlformats.org/officeDocument/2006/relationships/image"/><Relationship Id="rId10" Target="../media/image75.png" Type="http://schemas.openxmlformats.org/officeDocument/2006/relationships/image"/><Relationship Id="rId19" Target="../media/image84.svg" Type="http://schemas.openxmlformats.org/officeDocument/2006/relationships/image"/><Relationship Id="rId4" Target="../media/image69.png" Type="http://schemas.openxmlformats.org/officeDocument/2006/relationships/image"/><Relationship Id="rId9" Target="../media/image74.svg" Type="http://schemas.openxmlformats.org/officeDocument/2006/relationships/image"/><Relationship Id="rId14" Target="../media/image79.png" Type="http://schemas.openxmlformats.org/officeDocument/2006/relationships/image"/></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png"/><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arget="../media/image89.jpeg" Type="http://schemas.openxmlformats.org/officeDocument/2006/relationships/image"/><Relationship Id="rId1" Target="../slideLayouts/slideLayout16.xml" Type="http://schemas.openxmlformats.org/officeDocument/2006/relationships/slideLayout"/></Relationships>
</file>

<file path=ppt/slides/_rels/slide56.xml.rels><?xml version="1.0" encoding="UTF-8" standalone="yes" ?><Relationships xmlns="http://schemas.openxmlformats.org/package/2006/relationships"><Relationship Id="rId3" Target="../media/image91.jpeg" Type="http://schemas.openxmlformats.org/officeDocument/2006/relationships/image"/><Relationship Id="rId2" Target="../media/image90.jpeg" Type="http://schemas.openxmlformats.org/officeDocument/2006/relationships/image"/><Relationship Id="rId1" Target="../slideLayouts/slideLayout16.xml" Type="http://schemas.openxmlformats.org/officeDocument/2006/relationships/slideLayout"/></Relationships>
</file>

<file path=ppt/slides/_rels/slide57.xml.rels><?xml version="1.0" encoding="UTF-8" standalone="yes" ?><Relationships xmlns="http://schemas.openxmlformats.org/package/2006/relationships"><Relationship Id="rId3" Target="../media/image92.jpeg" Type="http://schemas.openxmlformats.org/officeDocument/2006/relationships/image"/><Relationship Id="rId2" Target="../notesSlides/notesSlide40.xml" Type="http://schemas.openxmlformats.org/officeDocument/2006/relationships/notesSlide"/><Relationship Id="rId1" Target="../slideLayouts/slideLayout16.xml" Type="http://schemas.openxmlformats.org/officeDocument/2006/relationships/slideLayout"/></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9.xml.rels><?xml version="1.0" encoding="UTF-8" standalone="yes" ?><Relationships xmlns="http://schemas.openxmlformats.org/package/2006/relationships"><Relationship Id="rId2" Target="../media/image14.png" Type="http://schemas.openxmlformats.org/officeDocument/2006/relationships/image"/><Relationship Id="rId1" Target="../slideLayouts/slideLayout17.xml" Type="http://schemas.openxmlformats.org/officeDocument/2006/relationships/slideLayout"/></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8" Target="../diagrams/drawing5.xml" Type="http://schemas.microsoft.com/office/2007/relationships/diagramDrawing"/><Relationship Id="rId3" Target="../media/hdphoto2.wdp" Type="http://schemas.microsoft.com/office/2007/relationships/hdphoto"/><Relationship Id="rId7" Target="../diagrams/colors5.xml" Type="http://schemas.openxmlformats.org/officeDocument/2006/relationships/diagramColors"/><Relationship Id="rId2" Target="../media/image97.jpeg" Type="http://schemas.openxmlformats.org/officeDocument/2006/relationships/image"/><Relationship Id="rId1" Target="../slideLayouts/slideLayout16.xml" Type="http://schemas.openxmlformats.org/officeDocument/2006/relationships/slideLayout"/><Relationship Id="rId6" Target="../diagrams/quickStyle5.xml" Type="http://schemas.openxmlformats.org/officeDocument/2006/relationships/diagramQuickStyle"/><Relationship Id="rId5" Target="../diagrams/layout5.xml" Type="http://schemas.openxmlformats.org/officeDocument/2006/relationships/diagramLayout"/><Relationship Id="rId4" Target="../diagrams/data5.xml" Type="http://schemas.openxmlformats.org/officeDocument/2006/relationships/diagramData"/></Relationships>
</file>

<file path=ppt/slides/_rels/slide61.xml.rels><?xml version="1.0" encoding="UTF-8" standalone="yes" ?><Relationships xmlns="http://schemas.openxmlformats.org/package/2006/relationships"><Relationship Id="rId3" Target="../media/image98.png" Type="http://schemas.openxmlformats.org/officeDocument/2006/relationships/image"/><Relationship Id="rId2" Target="../media/image14.png" Type="http://schemas.openxmlformats.org/officeDocument/2006/relationships/image"/><Relationship Id="rId1" Target="../slideLayouts/slideLayout16.xml" Type="http://schemas.openxmlformats.org/officeDocument/2006/relationships/slideLayout"/></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2" Target="../media/image100.jpeg" Type="http://schemas.openxmlformats.org/officeDocument/2006/relationships/image"/><Relationship Id="rId1" Target="../slideLayouts/slideLayout12.xml" Type="http://schemas.openxmlformats.org/officeDocument/2006/relationships/slideLayout"/></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2" Target="../media/image103.jpeg" Type="http://schemas.openxmlformats.org/officeDocument/2006/relationships/image"/><Relationship Id="rId1" Target="../slideLayouts/slideLayout16.xml" Type="http://schemas.openxmlformats.org/officeDocument/2006/relationships/slideLayout"/></Relationships>
</file>

<file path=ppt/slides/_rels/slide69.xml.rels><?xml version="1.0" encoding="UTF-8" standalone="yes"?>
<Relationships xmlns="http://schemas.openxmlformats.org/package/2006/relationships"><Relationship Id="rId3" Type="http://schemas.openxmlformats.org/officeDocument/2006/relationships/image" Target="../media/image105.svg"/><Relationship Id="rId2" Type="http://schemas.openxmlformats.org/officeDocument/2006/relationships/image" Target="../media/image104.png"/><Relationship Id="rId1" Type="http://schemas.openxmlformats.org/officeDocument/2006/relationships/slideLayout" Target="../slideLayouts/slideLayout16.xml"/><Relationship Id="rId5" Type="http://schemas.openxmlformats.org/officeDocument/2006/relationships/image" Target="../media/image107.svg"/><Relationship Id="rId4" Type="http://schemas.openxmlformats.org/officeDocument/2006/relationships/image" Target="../media/image106.png"/></Relationships>
</file>

<file path=ppt/slides/_rels/slide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2" Target="../media/image108.jpeg" Type="http://schemas.openxmlformats.org/officeDocument/2006/relationships/image"/><Relationship Id="rId1" Target="../slideLayouts/slideLayout16.xml" Type="http://schemas.openxmlformats.org/officeDocument/2006/relationships/slideLayout"/></Relationships>
</file>

<file path=ppt/slides/_rels/slide71.xml.rels><?xml version="1.0" encoding="UTF-8" standalone="yes" ?><Relationships xmlns="http://schemas.openxmlformats.org/package/2006/relationships"><Relationship Id="rId8" Target="../diagrams/layout6.xml" Type="http://schemas.openxmlformats.org/officeDocument/2006/relationships/diagramLayout"/><Relationship Id="rId3" Target="../slideLayouts/slideLayout10.xml" Type="http://schemas.openxmlformats.org/officeDocument/2006/relationships/slideLayout"/><Relationship Id="rId7" Target="../diagrams/data6.xml" Type="http://schemas.openxmlformats.org/officeDocument/2006/relationships/diagramData"/><Relationship Id="rId2" Target="../tags/tag1.xml" Type="http://schemas.openxmlformats.org/officeDocument/2006/relationships/tags"/><Relationship Id="rId6" Target="../media/image109.emf" Type="http://schemas.openxmlformats.org/officeDocument/2006/relationships/image"/><Relationship Id="rId11" Target="../diagrams/drawing6.xml" Type="http://schemas.microsoft.com/office/2007/relationships/diagramDrawing"/><Relationship Id="rId5" Target="../media/image109.emf" Type="http://schemas.openxmlformats.org/officeDocument/2006/relationships/image"/><Relationship Id="rId10" Target="../diagrams/colors6.xml" Type="http://schemas.openxmlformats.org/officeDocument/2006/relationships/diagramColors"/><Relationship Id="rId4" Target="../notesSlides/notesSlide42.xml" Type="http://schemas.openxmlformats.org/officeDocument/2006/relationships/notesSlide"/><Relationship Id="rId9" Target="../diagrams/quickStyle6.xml" Type="http://schemas.openxmlformats.org/officeDocument/2006/relationships/diagramQuickStyle"/></Relationships>
</file>

<file path=ppt/slides/_rels/slide72.xml.rels><?xml version="1.0" encoding="UTF-8" standalone="yes" ?><Relationships xmlns="http://schemas.openxmlformats.org/package/2006/relationships"><Relationship Id="rId8" Target="../diagrams/layout7.xml" Type="http://schemas.openxmlformats.org/officeDocument/2006/relationships/diagramLayout"/><Relationship Id="rId3" Target="../slideLayouts/slideLayout10.xml" Type="http://schemas.openxmlformats.org/officeDocument/2006/relationships/slideLayout"/><Relationship Id="rId7" Target="../diagrams/data7.xml" Type="http://schemas.openxmlformats.org/officeDocument/2006/relationships/diagramData"/><Relationship Id="rId2" Target="../tags/tag2.xml" Type="http://schemas.openxmlformats.org/officeDocument/2006/relationships/tags"/><Relationship Id="rId6" Target="../media/image109.emf" Type="http://schemas.openxmlformats.org/officeDocument/2006/relationships/image"/><Relationship Id="rId11" Target="../diagrams/drawing7.xml" Type="http://schemas.microsoft.com/office/2007/relationships/diagramDrawing"/><Relationship Id="rId5" Target="../media/image109.emf" Type="http://schemas.openxmlformats.org/officeDocument/2006/relationships/image"/><Relationship Id="rId10" Target="../diagrams/colors7.xml" Type="http://schemas.openxmlformats.org/officeDocument/2006/relationships/diagramColors"/><Relationship Id="rId4" Target="../notesSlides/notesSlide43.xml" Type="http://schemas.openxmlformats.org/officeDocument/2006/relationships/notesSlide"/><Relationship Id="rId9" Target="../diagrams/quickStyle7.xml" Type="http://schemas.openxmlformats.org/officeDocument/2006/relationships/diagramQuickStyle"/></Relationships>
</file>

<file path=ppt/slides/_rels/slide73.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74.xml.rels><?xml version="1.0" encoding="UTF-8" standalone="yes" ?><Relationships xmlns="http://schemas.openxmlformats.org/package/2006/relationships"><Relationship Id="rId3" Target="../media/image116.png" Type="http://schemas.openxmlformats.org/officeDocument/2006/relationships/image"/><Relationship Id="rId2" Target="../media/image115.png" Type="http://schemas.openxmlformats.org/officeDocument/2006/relationships/image"/><Relationship Id="rId1" Target="../slideLayouts/slideLayout16.xml" Type="http://schemas.openxmlformats.org/officeDocument/2006/relationships/slideLayout"/><Relationship Id="rId4" Target="../media/image117.png" Type="http://schemas.openxmlformats.org/officeDocument/2006/relationships/image"/></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45.xml"/><Relationship Id="rId1" Type="http://schemas.openxmlformats.org/officeDocument/2006/relationships/slideLayout" Target="../slideLayouts/slideLayout10.xml"/><Relationship Id="rId5" Type="http://schemas.openxmlformats.org/officeDocument/2006/relationships/image" Target="../media/image120.jpeg"/><Relationship Id="rId4" Type="http://schemas.openxmlformats.org/officeDocument/2006/relationships/image" Target="../media/image119.jpeg"/></Relationships>
</file>

<file path=ppt/slides/_rels/slide77.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8" Type="http://schemas.openxmlformats.org/officeDocument/2006/relationships/image" Target="../media/image125.png"/><Relationship Id="rId3" Type="http://schemas.microsoft.com/office/2007/relationships/hdphoto" Target="../media/hdphoto3.wdp"/><Relationship Id="rId7" Type="http://schemas.microsoft.com/office/2007/relationships/hdphoto" Target="../media/hdphoto5.wdp"/><Relationship Id="rId2" Type="http://schemas.openxmlformats.org/officeDocument/2006/relationships/image" Target="../media/image122.png"/><Relationship Id="rId1" Type="http://schemas.openxmlformats.org/officeDocument/2006/relationships/slideLayout" Target="../slideLayouts/slideLayout18.xml"/><Relationship Id="rId6" Type="http://schemas.openxmlformats.org/officeDocument/2006/relationships/image" Target="../media/image124.png"/><Relationship Id="rId5" Type="http://schemas.microsoft.com/office/2007/relationships/hdphoto" Target="../media/hdphoto4.wdp"/><Relationship Id="rId4" Type="http://schemas.openxmlformats.org/officeDocument/2006/relationships/image" Target="../media/image123.png"/><Relationship Id="rId9" Type="http://schemas.microsoft.com/office/2007/relationships/hdphoto" Target="../media/hdphoto6.wdp"/></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10.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80.xml.rels><?xml version="1.0" encoding="UTF-8" standalone="yes" ?><Relationships xmlns="http://schemas.openxmlformats.org/package/2006/relationships"><Relationship Id="rId3" Target="../media/image127.jpeg" Type="http://schemas.openxmlformats.org/officeDocument/2006/relationships/image"/><Relationship Id="rId2" Target="../media/image126.jpeg" Type="http://schemas.openxmlformats.org/officeDocument/2006/relationships/image"/><Relationship Id="rId1" Target="../slideLayouts/slideLayout16.xml" Type="http://schemas.openxmlformats.org/officeDocument/2006/relationships/slideLayout"/><Relationship Id="rId5" Target="../media/image129.jpeg" Type="http://schemas.openxmlformats.org/officeDocument/2006/relationships/image"/><Relationship Id="rId4" Target="../media/image128.png" Type="http://schemas.openxmlformats.org/officeDocument/2006/relationships/image"/></Relationships>
</file>

<file path=ppt/slides/_rels/slide81.xml.rels><?xml version="1.0" encoding="UTF-8" standalone="yes" ?><Relationships xmlns="http://schemas.openxmlformats.org/package/2006/relationships"><Relationship Id="rId3" Target="../media/image131.tiff" Type="http://schemas.openxmlformats.org/officeDocument/2006/relationships/image"/><Relationship Id="rId2" Target="../media/image130.jpeg" Type="http://schemas.openxmlformats.org/officeDocument/2006/relationships/image"/><Relationship Id="rId1" Target="../slideLayouts/slideLayout16.xml" Type="http://schemas.openxmlformats.org/officeDocument/2006/relationships/slideLayout"/></Relationships>
</file>

<file path=ppt/slides/_rels/slide82.xml.rels><?xml version="1.0" encoding="UTF-8" standalone="yes" ?><Relationships xmlns="http://schemas.openxmlformats.org/package/2006/relationships"><Relationship Id="rId2" Target="../media/image132.jpeg" Type="http://schemas.openxmlformats.org/officeDocument/2006/relationships/image"/><Relationship Id="rId1" Target="../slideLayouts/slideLayout16.xml" Type="http://schemas.openxmlformats.org/officeDocument/2006/relationships/slideLayout"/></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9.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86.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9.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0.xml"/><Relationship Id="rId1" Type="http://schemas.openxmlformats.org/officeDocument/2006/relationships/slideLayout" Target="../slideLayouts/slideLayout13.xml"/><Relationship Id="rId4" Type="http://schemas.openxmlformats.org/officeDocument/2006/relationships/image" Target="../media/image54.svg"/></Relationships>
</file>

<file path=ppt/slides/_rels/slide9.xml.rels><?xml version="1.0" encoding="UTF-8" standalone="yes" ?><Relationships xmlns="http://schemas.openxmlformats.org/package/2006/relationships"><Relationship Id="rId3" Target="../media/image13.jpg" Type="http://schemas.openxmlformats.org/officeDocument/2006/relationships/image"/><Relationship Id="rId2" Target="../notesSlides/notesSlide7.xml" Type="http://schemas.openxmlformats.org/officeDocument/2006/relationships/notesSlide"/><Relationship Id="rId1" Target="../slideLayouts/slideLayout6.xml" Type="http://schemas.openxmlformats.org/officeDocument/2006/relationships/slideLayout"/><Relationship Id="rId4" Target="../media/image14.png" Type="http://schemas.openxmlformats.org/officeDocument/2006/relationships/image"/></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2.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33.png"/><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1.xml"/><Relationship Id="rId1" Type="http://schemas.openxmlformats.org/officeDocument/2006/relationships/slideLayout" Target="../slideLayouts/slideLayout10.xml"/><Relationship Id="rId4" Type="http://schemas.microsoft.com/office/2007/relationships/hdphoto" Target="../media/hdphoto8.wdp"/></Relationships>
</file>

<file path=ppt/slides/_rels/slide9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52.xml"/><Relationship Id="rId1" Type="http://schemas.openxmlformats.org/officeDocument/2006/relationships/slideLayout" Target="../slideLayouts/slideLayout13.xml"/><Relationship Id="rId4" Type="http://schemas.microsoft.com/office/2007/relationships/hdphoto" Target="../media/hdphoto9.wdp"/></Relationships>
</file>

<file path=ppt/slides/_rels/slide98.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53.xml"/><Relationship Id="rId1" Type="http://schemas.openxmlformats.org/officeDocument/2006/relationships/slideLayout" Target="../slideLayouts/slideLayout10.xml"/><Relationship Id="rId4" Type="http://schemas.microsoft.com/office/2007/relationships/hdphoto" Target="../media/hdphoto10.wdp"/></Relationships>
</file>

<file path=ppt/slides/_rels/slide9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4.xml"/><Relationship Id="rId1" Type="http://schemas.openxmlformats.org/officeDocument/2006/relationships/slideLayout" Target="../slideLayouts/slideLayout13.xml"/><Relationship Id="rId4" Type="http://schemas.microsoft.com/office/2007/relationships/hdphoto" Target="../media/hdphoto11.wdp"/></Relationships>
</file>

<file path=ppt/slides/slide1.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76D92-6BF8-4FA8-8021-DB872EA7C895}"/>
              </a:ext>
            </a:extLst>
          </p:cNvPr>
          <p:cNvSpPr>
            <a:spLocks noGrp="1"/>
          </p:cNvSpPr>
          <p:nvPr>
            <p:ph type="title"/>
          </p:nvPr>
        </p:nvSpPr>
        <p:spPr>
          <a:xfrm>
            <a:off x="877888" y="476250"/>
            <a:ext cx="7543800" cy="3716338"/>
          </a:xfrm>
        </p:spPr>
        <p:txBody>
          <a:bodyPr>
            <a:normAutofit/>
          </a:bodyPr>
          <a:lstStyle/>
          <a:p>
            <a:pPr algn="ctr" eaLnBrk="1" hangingPunct="1">
              <a:defRPr/>
            </a:pPr>
            <a:r>
              <a:rPr dirty="0" lang="en-US" sz="4400">
                <a:solidFill>
                  <a:schemeClr val="tx1"/>
                </a:solidFill>
                <a:latin typeface="+mn-lt"/>
              </a:rPr>
              <a:t>Reaching Impact, Saturation, and Epidemic Control (RISE): </a:t>
            </a:r>
            <a:br>
              <a:rPr dirty="0" lang="en-US" sz="3600">
                <a:solidFill>
                  <a:schemeClr val="tx1"/>
                </a:solidFill>
                <a:latin typeface="+mn-lt"/>
              </a:rPr>
            </a:br>
            <a:br>
              <a:rPr dirty="0" lang="en-US" sz="3600">
                <a:solidFill>
                  <a:schemeClr val="tx1"/>
                </a:solidFill>
                <a:latin typeface="+mn-lt"/>
              </a:rPr>
            </a:br>
            <a:r>
              <a:rPr dirty="0" lang="en-US" sz="3600">
                <a:solidFill>
                  <a:schemeClr val="tx1"/>
                </a:solidFill>
                <a:latin typeface="+mn-lt"/>
              </a:rPr>
              <a:t>Basics of Medical Oxygen Management Systems</a:t>
            </a:r>
            <a:br>
              <a:rPr dirty="0" lang="en-US" sz="3600">
                <a:solidFill>
                  <a:schemeClr val="tx1"/>
                </a:solidFill>
                <a:latin typeface="+mn-lt"/>
              </a:rPr>
            </a:br>
            <a:br>
              <a:rPr dirty="0" lang="en-US" sz="3600">
                <a:solidFill>
                  <a:schemeClr val="tx1"/>
                </a:solidFill>
                <a:latin typeface="+mn-lt"/>
              </a:rPr>
            </a:br>
            <a:r>
              <a:rPr dirty="0" lang="en-US" sz="2000">
                <a:solidFill>
                  <a:schemeClr val="tx1"/>
                </a:solidFill>
                <a:latin typeface="+mn-lt"/>
              </a:rPr>
              <a:t>Training For Oxygen Program Managers</a:t>
            </a:r>
            <a:br>
              <a:rPr dirty="0" lang="en-US" sz="2800">
                <a:solidFill>
                  <a:schemeClr val="tx1"/>
                </a:solidFill>
                <a:latin typeface="+mn-lt"/>
              </a:rPr>
            </a:br>
            <a:r>
              <a:rPr dirty="0" lang="en-US" sz="2000">
                <a:solidFill>
                  <a:schemeClr val="tx1"/>
                </a:solidFill>
                <a:latin typeface="+mn-lt"/>
              </a:rPr>
              <a:t>Date</a:t>
            </a:r>
            <a:endParaRPr dirty="0" lang="en-US" sz="3600">
              <a:latin typeface="+mn-lt"/>
            </a:endParaRPr>
          </a:p>
        </p:txBody>
      </p:sp>
      <p:pic>
        <p:nvPicPr>
          <p:cNvPr descr="C:\Users\kbrickson\OneDrive - Jhpiego\TMEC Initial Files\Branding and Marking Plan\BMP\USAID logo.png" id="12292" name="Picture 5">
            <a:extLst>
              <a:ext uri="{FF2B5EF4-FFF2-40B4-BE49-F238E27FC236}">
                <a16:creationId xmlns:a16="http://schemas.microsoft.com/office/drawing/2014/main" id="{7D490B15-3603-4826-83E6-B7D494F77E2D}"/>
              </a:ext>
            </a:extLst>
          </p:cNvPr>
          <p:cNvPicPr>
            <a:picLocks noChangeArrowheads="1" noChangeAspect="1"/>
          </p:cNvPicPr>
          <p:nvPr/>
        </p:nvPicPr>
        <p:blipFill>
          <a:blip r:embed="rId3">
            <a:extLst>
              <a:ext uri="{28A0092B-C50C-407E-A947-70E740481C1C}">
                <a14:useLocalDpi xmlns:a14="http://schemas.microsoft.com/office/drawing/2010/main" val="0"/>
              </a:ext>
            </a:extLst>
          </a:blip>
          <a:srcRect b="147"/>
          <a:stretch>
            <a:fillRect/>
          </a:stretch>
        </p:blipFill>
        <p:spPr bwMode="auto">
          <a:xfrm>
            <a:off x="1725353" y="5193030"/>
            <a:ext cx="2839720" cy="1188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descr="A drawing of a face&#10;&#10;Description automatically generated" id="12293" name="Picture 6">
            <a:extLst>
              <a:ext uri="{FF2B5EF4-FFF2-40B4-BE49-F238E27FC236}">
                <a16:creationId xmlns:a16="http://schemas.microsoft.com/office/drawing/2014/main" id="{7D36A2DB-04A6-49B9-8C55-AF80B7AE130C}"/>
              </a:ext>
            </a:extLst>
          </p:cNvPr>
          <p:cNvPicPr>
            <a:picLocks noChangeArrowheads="1"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958840" y="5410200"/>
            <a:ext cx="1280160" cy="729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75"/>
        <p:cNvGrpSpPr/>
        <p:nvPr/>
      </p:nvGrpSpPr>
      <p:grpSpPr>
        <a:xfrm>
          <a:off x="0" y="0"/>
          <a:ext cx="0" cy="0"/>
          <a:chOff x="0" y="0"/>
          <a:chExt cx="0" cy="0"/>
        </a:xfrm>
      </p:grpSpPr>
      <p:sp>
        <p:nvSpPr>
          <p:cNvPr id="11" name="Title 10">
            <a:extLst>
              <a:ext uri="{FF2B5EF4-FFF2-40B4-BE49-F238E27FC236}">
                <a16:creationId xmlns:a16="http://schemas.microsoft.com/office/drawing/2014/main" id="{50024ACC-B71C-423F-B888-808CF6845106}"/>
              </a:ext>
            </a:extLst>
          </p:cNvPr>
          <p:cNvSpPr>
            <a:spLocks noGrp="1"/>
          </p:cNvSpPr>
          <p:nvPr>
            <p:ph type="title"/>
          </p:nvPr>
        </p:nvSpPr>
        <p:spPr>
          <a:xfrm>
            <a:off x="313672" y="171968"/>
            <a:ext cx="2658127" cy="1234441"/>
          </a:xfrm>
        </p:spPr>
        <p:txBody>
          <a:bodyPr anchor="t">
            <a:noAutofit/>
          </a:bodyPr>
          <a:lstStyle/>
          <a:p>
            <a:pPr algn="ctr"/>
            <a:r>
              <a:rPr lang="en-US" sz="3600" b="1" dirty="0">
                <a:solidFill>
                  <a:schemeClr val="bg1"/>
                </a:solidFill>
                <a:latin typeface="+mn-lt"/>
              </a:rPr>
              <a:t>What is Oxygen Therapy</a:t>
            </a:r>
            <a:r>
              <a:rPr lang="en-US" sz="3600" b="1" dirty="0">
                <a:solidFill>
                  <a:schemeClr val="bg1"/>
                </a:solidFill>
                <a:latin typeface="+mn-lt"/>
                <a:ea typeface="Arial"/>
                <a:cs typeface="Arial"/>
                <a:sym typeface="Arial"/>
              </a:rPr>
              <a:t>?</a:t>
            </a:r>
            <a:endParaRPr lang="en-US" sz="3600" dirty="0">
              <a:solidFill>
                <a:schemeClr val="bg1"/>
              </a:solidFill>
              <a:latin typeface="+mn-lt"/>
            </a:endParaRPr>
          </a:p>
        </p:txBody>
      </p:sp>
      <p:sp>
        <p:nvSpPr>
          <p:cNvPr id="13" name="Text Placeholder 12">
            <a:extLst>
              <a:ext uri="{FF2B5EF4-FFF2-40B4-BE49-F238E27FC236}">
                <a16:creationId xmlns:a16="http://schemas.microsoft.com/office/drawing/2014/main" id="{90B975CC-D818-46C9-9438-2CF2C19298F7}"/>
              </a:ext>
            </a:extLst>
          </p:cNvPr>
          <p:cNvSpPr>
            <a:spLocks noGrp="1"/>
          </p:cNvSpPr>
          <p:nvPr>
            <p:ph type="body" sz="half" idx="2"/>
          </p:nvPr>
        </p:nvSpPr>
        <p:spPr>
          <a:xfrm>
            <a:off x="228599" y="1828800"/>
            <a:ext cx="2743199" cy="5029200"/>
          </a:xfrm>
        </p:spPr>
        <p:txBody>
          <a:bodyPr/>
          <a:lstStyle/>
          <a:p>
            <a:r>
              <a:rPr lang="en-US" altLang="ar-SA" sz="1800" b="1" u="sng" dirty="0">
                <a:solidFill>
                  <a:schemeClr val="bg1"/>
                </a:solidFill>
                <a:cs typeface="Arial" panose="020B0604020202020204" pitchFamily="34" charset="0"/>
              </a:rPr>
              <a:t>Goal of Oxygen Therapy:</a:t>
            </a:r>
          </a:p>
          <a:p>
            <a:r>
              <a:rPr lang="en-US" altLang="ar-SA" sz="1800" dirty="0">
                <a:solidFill>
                  <a:schemeClr val="bg1"/>
                </a:solidFill>
                <a:cs typeface="Arial" panose="020B0604020202020204" pitchFamily="34" charset="0"/>
              </a:rPr>
              <a:t>To maintain adequate tissue oxygenation while minimizing cardiopulmonary work. </a:t>
            </a:r>
          </a:p>
          <a:p>
            <a:endParaRPr lang="en-US" altLang="ar-SA" sz="1800" dirty="0">
              <a:solidFill>
                <a:schemeClr val="bg1"/>
              </a:solidFill>
              <a:cs typeface="Arial" panose="020B0604020202020204" pitchFamily="34" charset="0"/>
            </a:endParaRPr>
          </a:p>
          <a:p>
            <a:r>
              <a:rPr lang="en-US" altLang="ar-SA" sz="1800" b="1" u="sng" dirty="0">
                <a:solidFill>
                  <a:schemeClr val="bg1"/>
                </a:solidFill>
                <a:cs typeface="Arial" panose="020B0604020202020204" pitchFamily="34" charset="0"/>
              </a:rPr>
              <a:t>Objectives:</a:t>
            </a:r>
          </a:p>
          <a:p>
            <a:pPr marL="214313" indent="-214313" defTabSz="685800" eaLnBrk="1" fontAlgn="auto" hangingPunct="1">
              <a:spcBef>
                <a:spcPts val="525"/>
              </a:spcBef>
              <a:spcAft>
                <a:spcPts val="0"/>
              </a:spcAft>
              <a:buClr>
                <a:schemeClr val="bg2"/>
              </a:buClr>
              <a:buSzPct val="100000"/>
              <a:buFont typeface="Arial" panose="020B0604020202020204" pitchFamily="34" charset="0"/>
              <a:buChar char="•"/>
              <a:defRPr/>
            </a:pPr>
            <a:r>
              <a:rPr lang="en-US" sz="1800" dirty="0">
                <a:solidFill>
                  <a:schemeClr val="bg1"/>
                </a:solidFill>
              </a:rPr>
              <a:t>Correct documented or suspected hypoxemia</a:t>
            </a:r>
          </a:p>
          <a:p>
            <a:pPr marL="214313" indent="-214313" defTabSz="685800" eaLnBrk="1" fontAlgn="auto" hangingPunct="1">
              <a:spcBef>
                <a:spcPts val="525"/>
              </a:spcBef>
              <a:spcAft>
                <a:spcPts val="0"/>
              </a:spcAft>
              <a:buClr>
                <a:schemeClr val="bg2"/>
              </a:buClr>
              <a:buSzPct val="100000"/>
              <a:buFont typeface="Arial" panose="020B0604020202020204" pitchFamily="34" charset="0"/>
              <a:buChar char="•"/>
              <a:defRPr/>
            </a:pPr>
            <a:r>
              <a:rPr lang="en-US" sz="1800" dirty="0">
                <a:solidFill>
                  <a:schemeClr val="bg1"/>
                </a:solidFill>
              </a:rPr>
              <a:t>Decrease the symptoms associated with chronic hypoxemia</a:t>
            </a:r>
          </a:p>
          <a:p>
            <a:pPr marL="214313" indent="-214313" defTabSz="685800" eaLnBrk="1" fontAlgn="auto" hangingPunct="1">
              <a:spcBef>
                <a:spcPts val="525"/>
              </a:spcBef>
              <a:spcAft>
                <a:spcPts val="0"/>
              </a:spcAft>
              <a:buClr>
                <a:schemeClr val="bg2"/>
              </a:buClr>
              <a:buSzPct val="100000"/>
              <a:buFont typeface="Arial" panose="020B0604020202020204" pitchFamily="34" charset="0"/>
              <a:buChar char="•"/>
              <a:defRPr/>
            </a:pPr>
            <a:r>
              <a:rPr lang="en-US" sz="1800" dirty="0">
                <a:solidFill>
                  <a:schemeClr val="bg1"/>
                </a:solidFill>
              </a:rPr>
              <a:t>Decrease the workload hypoxemia imposes on the cardiopulmonary system</a:t>
            </a:r>
          </a:p>
        </p:txBody>
      </p:sp>
      <p:pic>
        <p:nvPicPr>
          <p:cNvPr id="17" name="Content Placeholder 16">
            <a:extLst>
              <a:ext uri="{FF2B5EF4-FFF2-40B4-BE49-F238E27FC236}">
                <a16:creationId xmlns:a16="http://schemas.microsoft.com/office/drawing/2014/main" id="{46817B02-AEB1-46EC-9D19-6A15F68DF33E}"/>
              </a:ext>
            </a:extLst>
          </p:cNvPr>
          <p:cNvPicPr>
            <a:picLocks noGrp="1" noChangeAspect="1"/>
          </p:cNvPicPr>
          <p:nvPr>
            <p:ph idx="1"/>
          </p:nvPr>
        </p:nvPicPr>
        <p:blipFill>
          <a:blip r:embed="rId3"/>
          <a:stretch>
            <a:fillRect/>
          </a:stretch>
        </p:blipFill>
        <p:spPr>
          <a:xfrm>
            <a:off x="3124200" y="1398058"/>
            <a:ext cx="6019800" cy="4061883"/>
          </a:xfrm>
          <a:prstGeom prst="rect">
            <a:avLst/>
          </a:prstGeom>
        </p:spPr>
      </p:pic>
    </p:spTree>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352800" y="2800350"/>
            <a:ext cx="4868863" cy="1257300"/>
          </a:xfrm>
        </p:spPr>
        <p:txBody>
          <a:bodyPr rtlCol="0" anchor="ctr">
            <a:noAutofit/>
          </a:bodyPr>
          <a:lstStyle/>
          <a:p>
            <a:pPr marL="0" indent="0" algn="ctr"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latin typeface="Calibri" panose="020F0502020204030204" pitchFamily="34" charset="0"/>
              </a:rPr>
              <a:t>Oxygen Audit</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dirty="0">
              <a:solidFill>
                <a:schemeClr val="accent2">
                  <a:lumMod val="75000"/>
                </a:schemeClr>
              </a:solidFill>
              <a:latin typeface="Calibri" panose="020F0502020204030204" pitchFamily="34" charset="0"/>
            </a:endParaRPr>
          </a:p>
        </p:txBody>
      </p:sp>
    </p:spTree>
    <p:extLst>
      <p:ext uri="{BB962C8B-B14F-4D97-AF65-F5344CB8AC3E}">
        <p14:creationId xmlns:p14="http://schemas.microsoft.com/office/powerpoint/2010/main" val="268536695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9508A-126E-4547-8CF5-15A7AB7F8775}"/>
              </a:ext>
            </a:extLst>
          </p:cNvPr>
          <p:cNvSpPr>
            <a:spLocks noGrp="1"/>
          </p:cNvSpPr>
          <p:nvPr>
            <p:ph type="title" idx="4294967295"/>
          </p:nvPr>
        </p:nvSpPr>
        <p:spPr>
          <a:xfrm>
            <a:off x="1676400" y="381000"/>
            <a:ext cx="7467600" cy="1373188"/>
          </a:xfrm>
        </p:spPr>
        <p:txBody>
          <a:bodyPr>
            <a:normAutofit/>
          </a:bodyPr>
          <a:lstStyle/>
          <a:p>
            <a:pPr algn="ctr"/>
            <a:r>
              <a:rPr lang="en-GB" b="1" spc="-50" dirty="0">
                <a:solidFill>
                  <a:schemeClr val="accent2">
                    <a:lumMod val="75000"/>
                  </a:schemeClr>
                </a:solidFill>
                <a:latin typeface="Calibri" panose="020F0502020204030204" pitchFamily="34" charset="0"/>
              </a:rPr>
              <a:t>Introduction </a:t>
            </a:r>
          </a:p>
        </p:txBody>
      </p:sp>
      <p:graphicFrame>
        <p:nvGraphicFramePr>
          <p:cNvPr id="6" name="Content Placeholder 3">
            <a:extLst>
              <a:ext uri="{FF2B5EF4-FFF2-40B4-BE49-F238E27FC236}">
                <a16:creationId xmlns:a16="http://schemas.microsoft.com/office/drawing/2014/main" id="{C920CF09-C11F-4B51-B5F9-8C1CEA0C1736}"/>
              </a:ext>
            </a:extLst>
          </p:cNvPr>
          <p:cNvGraphicFramePr>
            <a:graphicFrameLocks noGrp="1"/>
          </p:cNvGraphicFramePr>
          <p:nvPr>
            <p:ph idx="4294967295"/>
            <p:extLst>
              <p:ext uri="{D42A27DB-BD31-4B8C-83A1-F6EECF244321}">
                <p14:modId xmlns:p14="http://schemas.microsoft.com/office/powerpoint/2010/main" val="2992843443"/>
              </p:ext>
            </p:extLst>
          </p:nvPr>
        </p:nvGraphicFramePr>
        <p:xfrm>
          <a:off x="685800" y="2133600"/>
          <a:ext cx="7943850" cy="31178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9679954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
                                            <p:graphicEl>
                                              <a:dgm id="{DDAF6F67-91BE-432B-9551-B462DC5E003B}"/>
                                            </p:graphicEl>
                                          </p:spTgt>
                                        </p:tgtEl>
                                        <p:attrNameLst>
                                          <p:attrName>style.visibility</p:attrName>
                                        </p:attrNameLst>
                                      </p:cBhvr>
                                      <p:to>
                                        <p:strVal val="visible"/>
                                      </p:to>
                                    </p:set>
                                    <p:animEffect transition="in" filter="blinds(horizontal)">
                                      <p:cBhvr>
                                        <p:cTn id="7" dur="500"/>
                                        <p:tgtEl>
                                          <p:spTgt spid="6">
                                            <p:graphicEl>
                                              <a:dgm id="{DDAF6F67-91BE-432B-9551-B462DC5E003B}"/>
                                            </p:graphicEl>
                                          </p:spTgt>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6">
                                            <p:graphicEl>
                                              <a:dgm id="{93A325A1-7787-49AA-934D-5C67E5A14B97}"/>
                                            </p:graphicEl>
                                          </p:spTgt>
                                        </p:tgtEl>
                                        <p:attrNameLst>
                                          <p:attrName>style.visibility</p:attrName>
                                        </p:attrNameLst>
                                      </p:cBhvr>
                                      <p:to>
                                        <p:strVal val="visible"/>
                                      </p:to>
                                    </p:set>
                                    <p:animEffect transition="in" filter="blinds(horizontal)">
                                      <p:cBhvr>
                                        <p:cTn id="10" dur="500"/>
                                        <p:tgtEl>
                                          <p:spTgt spid="6">
                                            <p:graphicEl>
                                              <a:dgm id="{93A325A1-7787-49AA-934D-5C67E5A14B97}"/>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6">
                                            <p:graphicEl>
                                              <a:dgm id="{D2D35225-993E-44A0-9B42-F1999D9D8786}"/>
                                            </p:graphicEl>
                                          </p:spTgt>
                                        </p:tgtEl>
                                        <p:attrNameLst>
                                          <p:attrName>style.visibility</p:attrName>
                                        </p:attrNameLst>
                                      </p:cBhvr>
                                      <p:to>
                                        <p:strVal val="visible"/>
                                      </p:to>
                                    </p:set>
                                    <p:animEffect transition="in" filter="blinds(horizontal)">
                                      <p:cBhvr>
                                        <p:cTn id="15" dur="500"/>
                                        <p:tgtEl>
                                          <p:spTgt spid="6">
                                            <p:graphicEl>
                                              <a:dgm id="{D2D35225-993E-44A0-9B42-F1999D9D8786}"/>
                                            </p:graphicEl>
                                          </p:spTgt>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6">
                                            <p:graphicEl>
                                              <a:dgm id="{04C14813-0918-42B3-B121-47388029434B}"/>
                                            </p:graphicEl>
                                          </p:spTgt>
                                        </p:tgtEl>
                                        <p:attrNameLst>
                                          <p:attrName>style.visibility</p:attrName>
                                        </p:attrNameLst>
                                      </p:cBhvr>
                                      <p:to>
                                        <p:strVal val="visible"/>
                                      </p:to>
                                    </p:set>
                                    <p:animEffect transition="in" filter="blinds(horizontal)">
                                      <p:cBhvr>
                                        <p:cTn id="18" dur="500"/>
                                        <p:tgtEl>
                                          <p:spTgt spid="6">
                                            <p:graphicEl>
                                              <a:dgm id="{04C14813-0918-42B3-B121-47388029434B}"/>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grpId="0" nodeType="clickEffect">
                                  <p:stCondLst>
                                    <p:cond delay="0"/>
                                  </p:stCondLst>
                                  <p:childTnLst>
                                    <p:set>
                                      <p:cBhvr>
                                        <p:cTn id="22" dur="1" fill="hold">
                                          <p:stCondLst>
                                            <p:cond delay="0"/>
                                          </p:stCondLst>
                                        </p:cTn>
                                        <p:tgtEl>
                                          <p:spTgt spid="6">
                                            <p:graphicEl>
                                              <a:dgm id="{A166A87E-4895-4B3E-8350-7BF9DDB5E097}"/>
                                            </p:graphicEl>
                                          </p:spTgt>
                                        </p:tgtEl>
                                        <p:attrNameLst>
                                          <p:attrName>style.visibility</p:attrName>
                                        </p:attrNameLst>
                                      </p:cBhvr>
                                      <p:to>
                                        <p:strVal val="visible"/>
                                      </p:to>
                                    </p:set>
                                    <p:animEffect transition="in" filter="blinds(horizontal)">
                                      <p:cBhvr>
                                        <p:cTn id="23" dur="500"/>
                                        <p:tgtEl>
                                          <p:spTgt spid="6">
                                            <p:graphicEl>
                                              <a:dgm id="{A166A87E-4895-4B3E-8350-7BF9DDB5E097}"/>
                                            </p:graphicEl>
                                          </p:spTgt>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6">
                                            <p:graphicEl>
                                              <a:dgm id="{4AE35A96-8C35-41E3-9595-00FFCAF18C57}"/>
                                            </p:graphicEl>
                                          </p:spTgt>
                                        </p:tgtEl>
                                        <p:attrNameLst>
                                          <p:attrName>style.visibility</p:attrName>
                                        </p:attrNameLst>
                                      </p:cBhvr>
                                      <p:to>
                                        <p:strVal val="visible"/>
                                      </p:to>
                                    </p:set>
                                    <p:animEffect transition="in" filter="blinds(horizontal)">
                                      <p:cBhvr>
                                        <p:cTn id="26" dur="500"/>
                                        <p:tgtEl>
                                          <p:spTgt spid="6">
                                            <p:graphicEl>
                                              <a:dgm id="{4AE35A96-8C35-41E3-9595-00FFCAF18C5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C99F-8B28-6849-971B-AAED350BC525}"/>
              </a:ext>
            </a:extLst>
          </p:cNvPr>
          <p:cNvSpPr>
            <a:spLocks noGrp="1"/>
          </p:cNvSpPr>
          <p:nvPr>
            <p:ph type="title"/>
          </p:nvPr>
        </p:nvSpPr>
        <p:spPr>
          <a:xfrm>
            <a:off x="838200" y="847162"/>
            <a:ext cx="7467600" cy="891713"/>
          </a:xfrm>
        </p:spPr>
        <p:txBody>
          <a:bodyPr anchor="b">
            <a:normAutofit/>
          </a:bodyPr>
          <a:lstStyle/>
          <a:p>
            <a:pPr algn="ctr"/>
            <a:r>
              <a:rPr lang="en-GB" b="1" spc="-50" dirty="0">
                <a:solidFill>
                  <a:schemeClr val="accent2">
                    <a:lumMod val="75000"/>
                  </a:schemeClr>
                </a:solidFill>
                <a:latin typeface="Calibri" panose="020F0502020204030204" pitchFamily="34" charset="0"/>
              </a:rPr>
              <a:t>Audit </a:t>
            </a:r>
          </a:p>
        </p:txBody>
      </p:sp>
      <p:sp>
        <p:nvSpPr>
          <p:cNvPr id="3" name="Content Placeholder 2">
            <a:extLst>
              <a:ext uri="{FF2B5EF4-FFF2-40B4-BE49-F238E27FC236}">
                <a16:creationId xmlns:a16="http://schemas.microsoft.com/office/drawing/2014/main" id="{C5A86456-7C11-5847-8871-D2E047B7B21C}"/>
              </a:ext>
            </a:extLst>
          </p:cNvPr>
          <p:cNvSpPr>
            <a:spLocks noGrp="1"/>
          </p:cNvSpPr>
          <p:nvPr>
            <p:ph idx="1"/>
          </p:nvPr>
        </p:nvSpPr>
        <p:spPr>
          <a:xfrm>
            <a:off x="848710" y="1828800"/>
            <a:ext cx="8001000" cy="4114800"/>
          </a:xfrm>
        </p:spPr>
        <p:txBody>
          <a:bodyPr anchor="t">
            <a:noAutofit/>
          </a:bodyPr>
          <a:lstStyle/>
          <a:p>
            <a:pPr marL="0" indent="0" algn="just">
              <a:lnSpc>
                <a:spcPct val="150000"/>
              </a:lnSpc>
              <a:buNone/>
            </a:pPr>
            <a:r>
              <a:rPr lang="en-GB" sz="2000" dirty="0">
                <a:latin typeface="Calibri" panose="020F0502020204030204" pitchFamily="34" charset="0"/>
              </a:rPr>
              <a:t>Auditing is a systematic, independent, and documented method/process for gathering audit information and objectively </a:t>
            </a:r>
            <a:r>
              <a:rPr lang="en-GB" sz="2000" dirty="0" err="1">
                <a:latin typeface="Calibri" panose="020F0502020204030204" pitchFamily="34" charset="0"/>
              </a:rPr>
              <a:t>analyzing</a:t>
            </a:r>
            <a:r>
              <a:rPr lang="en-GB" sz="2000" dirty="0">
                <a:latin typeface="Calibri" panose="020F0502020204030204" pitchFamily="34" charset="0"/>
              </a:rPr>
              <a:t> it to determine the extent to which the </a:t>
            </a:r>
            <a:r>
              <a:rPr lang="en-GB" sz="2000" b="1" u="sng" dirty="0">
                <a:latin typeface="Calibri" panose="020F0502020204030204" pitchFamily="34" charset="0"/>
              </a:rPr>
              <a:t>audit criteria </a:t>
            </a:r>
            <a:r>
              <a:rPr lang="en-GB" sz="2000" dirty="0">
                <a:latin typeface="Calibri" panose="020F0502020204030204" pitchFamily="34" charset="0"/>
              </a:rPr>
              <a:t>are met.</a:t>
            </a:r>
          </a:p>
          <a:p>
            <a:pPr marL="0" indent="0" algn="just">
              <a:lnSpc>
                <a:spcPct val="150000"/>
              </a:lnSpc>
              <a:buNone/>
            </a:pPr>
            <a:r>
              <a:rPr lang="en-GB" sz="2000" b="1" u="sng" dirty="0">
                <a:solidFill>
                  <a:schemeClr val="tx2"/>
                </a:solidFill>
                <a:latin typeface="Calibri" panose="020F0502020204030204" pitchFamily="34" charset="0"/>
              </a:rPr>
              <a:t>Oxygen Audit</a:t>
            </a:r>
          </a:p>
          <a:p>
            <a:pPr>
              <a:lnSpc>
                <a:spcPct val="150000"/>
              </a:lnSpc>
            </a:pPr>
            <a:r>
              <a:rPr lang="en-IN" sz="2000" b="1" dirty="0">
                <a:latin typeface="Calibri" panose="020F0502020204030204" pitchFamily="34" charset="0"/>
              </a:rPr>
              <a:t>First Classification</a:t>
            </a:r>
            <a:endParaRPr lang="en-IN" sz="2000" dirty="0">
              <a:latin typeface="Calibri" panose="020F0502020204030204" pitchFamily="34" charset="0"/>
            </a:endParaRPr>
          </a:p>
          <a:p>
            <a:pPr lvl="1">
              <a:lnSpc>
                <a:spcPct val="150000"/>
              </a:lnSpc>
              <a:buFont typeface="Arial" panose="020B0604020202020204" pitchFamily="34" charset="0"/>
              <a:buChar char="•"/>
            </a:pPr>
            <a:r>
              <a:rPr lang="en-IN" sz="2000" dirty="0">
                <a:latin typeface="Calibri" panose="020F0502020204030204" pitchFamily="34" charset="0"/>
              </a:rPr>
              <a:t>Adequacy Audit</a:t>
            </a:r>
          </a:p>
          <a:p>
            <a:pPr lvl="1">
              <a:lnSpc>
                <a:spcPct val="150000"/>
              </a:lnSpc>
              <a:buFont typeface="Arial" panose="020B0604020202020204" pitchFamily="34" charset="0"/>
              <a:buChar char="•"/>
            </a:pPr>
            <a:r>
              <a:rPr lang="en-IN" sz="2000" dirty="0">
                <a:latin typeface="Calibri" panose="020F0502020204030204" pitchFamily="34" charset="0"/>
              </a:rPr>
              <a:t>Compliance Audit</a:t>
            </a:r>
          </a:p>
          <a:p>
            <a:pPr marL="0" indent="0" algn="just">
              <a:lnSpc>
                <a:spcPct val="150000"/>
              </a:lnSpc>
              <a:buNone/>
            </a:pPr>
            <a:endParaRPr lang="en-GB" sz="2000" dirty="0"/>
          </a:p>
        </p:txBody>
      </p:sp>
      <p:sp>
        <p:nvSpPr>
          <p:cNvPr id="4" name="Content Placeholder 2">
            <a:extLst>
              <a:ext uri="{FF2B5EF4-FFF2-40B4-BE49-F238E27FC236}">
                <a16:creationId xmlns:a16="http://schemas.microsoft.com/office/drawing/2014/main" id="{C67E6D09-6F31-4CC8-A17B-EDF097F3B85E}"/>
              </a:ext>
            </a:extLst>
          </p:cNvPr>
          <p:cNvSpPr txBox="1">
            <a:spLocks/>
          </p:cNvSpPr>
          <p:nvPr/>
        </p:nvSpPr>
        <p:spPr>
          <a:xfrm>
            <a:off x="5322177" y="4040981"/>
            <a:ext cx="2819399" cy="1524000"/>
          </a:xfrm>
          <a:prstGeom prst="rect">
            <a:avLst/>
          </a:prstGeom>
        </p:spPr>
        <p:txBody>
          <a:bodyPr vert="horz" lIns="0" tIns="0" rIns="0" bIns="0" rtlCol="0">
            <a:noAutofit/>
          </a:bodyPr>
          <a:lstStyle>
            <a:lvl1pPr algn="l" defTabSz="609585" rtl="0" eaLnBrk="1" fontAlgn="base" hangingPunct="1">
              <a:spcBef>
                <a:spcPts val="0"/>
              </a:spcBef>
              <a:spcAft>
                <a:spcPts val="18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895335" indent="-285750" algn="l" defTabSz="609585" rtl="0" eaLnBrk="1" fontAlgn="base" hangingPunct="1">
              <a:spcBef>
                <a:spcPts val="0"/>
              </a:spcBef>
              <a:spcAft>
                <a:spcPts val="600"/>
              </a:spcAft>
              <a:buFont typeface="Arial" panose="020B0604020202020204" pitchFamily="34" charset="0"/>
              <a:buChar char="•"/>
              <a:defRPr sz="160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504920" indent="-285750" algn="l" defTabSz="609585" rtl="0" eaLnBrk="1" fontAlgn="base" hangingPunct="1">
              <a:spcBef>
                <a:spcPct val="0"/>
              </a:spcBef>
              <a:spcAft>
                <a:spcPts val="600"/>
              </a:spcAft>
              <a:buFont typeface="Courier New" panose="02070309020205020404" pitchFamily="49" charset="0"/>
              <a:buChar char="o"/>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828754"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438339" algn="l" defTabSz="609585" rtl="0" eaLnBrk="1" fontAlgn="base" hangingPunct="1">
              <a:spcBef>
                <a:spcPct val="20000"/>
              </a:spcBef>
              <a:spcAft>
                <a:spcPts val="600"/>
              </a:spcAft>
              <a:buFont typeface="Arial" panose="020B0604020202020204" pitchFamily="34" charset="0"/>
              <a:defRPr sz="16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a:lnSpc>
                <a:spcPct val="150000"/>
              </a:lnSpc>
              <a:spcAft>
                <a:spcPts val="0"/>
              </a:spcAft>
            </a:pPr>
            <a:r>
              <a:rPr lang="en-IN" sz="2000" b="1" dirty="0">
                <a:solidFill>
                  <a:srgbClr val="404040"/>
                </a:solidFill>
                <a:latin typeface="Calibri" panose="020F0502020204030204" pitchFamily="34" charset="0"/>
                <a:ea typeface="+mn-ea"/>
                <a:cs typeface="+mn-cs"/>
              </a:rPr>
              <a:t>Second Classification</a:t>
            </a:r>
          </a:p>
          <a:p>
            <a:pPr marL="287338" lvl="1" indent="-136525" defTabSz="685800" eaLnBrk="0" hangingPunct="0">
              <a:lnSpc>
                <a:spcPct val="150000"/>
              </a:lnSpc>
              <a:spcBef>
                <a:spcPts val="150"/>
              </a:spcBef>
              <a:spcAft>
                <a:spcPts val="300"/>
              </a:spcAft>
              <a:buClr>
                <a:schemeClr val="accent1"/>
              </a:buClr>
            </a:pPr>
            <a:r>
              <a:rPr lang="en-IN" sz="2000" dirty="0">
                <a:solidFill>
                  <a:srgbClr val="404040"/>
                </a:solidFill>
                <a:latin typeface="Calibri" panose="020F0502020204030204" pitchFamily="34" charset="0"/>
                <a:ea typeface="+mn-ea"/>
                <a:cs typeface="+mn-cs"/>
              </a:rPr>
              <a:t>Internal Audit</a:t>
            </a:r>
          </a:p>
          <a:p>
            <a:pPr marL="287338" lvl="1" indent="-136525" defTabSz="685800" eaLnBrk="0" hangingPunct="0">
              <a:lnSpc>
                <a:spcPct val="150000"/>
              </a:lnSpc>
              <a:spcBef>
                <a:spcPts val="150"/>
              </a:spcBef>
              <a:spcAft>
                <a:spcPts val="300"/>
              </a:spcAft>
              <a:buClr>
                <a:schemeClr val="accent1"/>
              </a:buClr>
            </a:pPr>
            <a:r>
              <a:rPr lang="en-IN" sz="2000" dirty="0">
                <a:solidFill>
                  <a:srgbClr val="404040"/>
                </a:solidFill>
                <a:latin typeface="Calibri" panose="020F0502020204030204" pitchFamily="34" charset="0"/>
                <a:ea typeface="+mn-ea"/>
                <a:cs typeface="+mn-cs"/>
              </a:rPr>
              <a:t>External Audit</a:t>
            </a:r>
          </a:p>
          <a:p>
            <a:endParaRPr lang="en-GB" dirty="0"/>
          </a:p>
        </p:txBody>
      </p:sp>
      <p:cxnSp>
        <p:nvCxnSpPr>
          <p:cNvPr id="5" name="Straight Connector 4">
            <a:extLst>
              <a:ext uri="{FF2B5EF4-FFF2-40B4-BE49-F238E27FC236}">
                <a16:creationId xmlns:a16="http://schemas.microsoft.com/office/drawing/2014/main" id="{8D58823B-A0E8-4BD5-AEC3-9328D4DAEF80}"/>
              </a:ext>
            </a:extLst>
          </p:cNvPr>
          <p:cNvCxnSpPr>
            <a:cxnSpLocks/>
          </p:cNvCxnSpPr>
          <p:nvPr/>
        </p:nvCxnSpPr>
        <p:spPr>
          <a:xfrm>
            <a:off x="4572000" y="4343400"/>
            <a:ext cx="0" cy="1221581"/>
          </a:xfrm>
          <a:prstGeom prst="line">
            <a:avLst/>
          </a:prstGeom>
          <a:ln w="9525">
            <a:solidFill>
              <a:srgbClr val="454E6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35624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iterate type="lt">
                                    <p:tmPct val="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blinds(horizontal)">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iterate type="lt">
                                    <p:tmPct val="0"/>
                                  </p:iterate>
                                  <p:childTnLst>
                                    <p:set>
                                      <p:cBhvr>
                                        <p:cTn id="11" dur="1" fill="hold">
                                          <p:stCondLst>
                                            <p:cond delay="0"/>
                                          </p:stCondLst>
                                        </p:cTn>
                                        <p:tgtEl>
                                          <p:spTgt spid="3">
                                            <p:txEl>
                                              <p:pRg st="1" end="1"/>
                                            </p:txEl>
                                          </p:spTgt>
                                        </p:tgtEl>
                                        <p:attrNameLst>
                                          <p:attrName>style.visibility</p:attrName>
                                        </p:attrNameLst>
                                      </p:cBhvr>
                                      <p:to>
                                        <p:strVal val="visible"/>
                                      </p:to>
                                    </p:set>
                                    <p:animEffect transition="in" filter="blinds(horizontal)">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iterate type="lt">
                                    <p:tmPct val="0"/>
                                  </p:iterate>
                                  <p:childTnLst>
                                    <p:set>
                                      <p:cBhvr>
                                        <p:cTn id="16" dur="1" fill="hold">
                                          <p:stCondLst>
                                            <p:cond delay="0"/>
                                          </p:stCondLst>
                                        </p:cTn>
                                        <p:tgtEl>
                                          <p:spTgt spid="3">
                                            <p:txEl>
                                              <p:pRg st="2" end="2"/>
                                            </p:txEl>
                                          </p:spTgt>
                                        </p:tgtEl>
                                        <p:attrNameLst>
                                          <p:attrName>style.visibility</p:attrName>
                                        </p:attrNameLst>
                                      </p:cBhvr>
                                      <p:to>
                                        <p:strVal val="visible"/>
                                      </p:to>
                                    </p:set>
                                    <p:animEffect transition="in" filter="blinds(horizontal)">
                                      <p:cBhvr>
                                        <p:cTn id="17" dur="500"/>
                                        <p:tgtEl>
                                          <p:spTgt spid="3">
                                            <p:txEl>
                                              <p:pRg st="2" end="2"/>
                                            </p:txEl>
                                          </p:spTgt>
                                        </p:tgtEl>
                                      </p:cBhvr>
                                    </p:animEffect>
                                  </p:childTnLst>
                                </p:cTn>
                              </p:par>
                              <p:par>
                                <p:cTn id="18" presetID="3" presetClass="entr" presetSubtype="10" fill="hold" grpId="0" nodeType="withEffect">
                                  <p:stCondLst>
                                    <p:cond delay="0"/>
                                  </p:stCondLst>
                                  <p:iterate type="lt">
                                    <p:tmPct val="0"/>
                                  </p:iterate>
                                  <p:childTnLst>
                                    <p:set>
                                      <p:cBhvr>
                                        <p:cTn id="19" dur="1" fill="hold">
                                          <p:stCondLst>
                                            <p:cond delay="0"/>
                                          </p:stCondLst>
                                        </p:cTn>
                                        <p:tgtEl>
                                          <p:spTgt spid="3">
                                            <p:txEl>
                                              <p:pRg st="3" end="3"/>
                                            </p:txEl>
                                          </p:spTgt>
                                        </p:tgtEl>
                                        <p:attrNameLst>
                                          <p:attrName>style.visibility</p:attrName>
                                        </p:attrNameLst>
                                      </p:cBhvr>
                                      <p:to>
                                        <p:strVal val="visible"/>
                                      </p:to>
                                    </p:set>
                                    <p:animEffect transition="in" filter="blinds(horizontal)">
                                      <p:cBhvr>
                                        <p:cTn id="20" dur="500"/>
                                        <p:tgtEl>
                                          <p:spTgt spid="3">
                                            <p:txEl>
                                              <p:pRg st="3" end="3"/>
                                            </p:txEl>
                                          </p:spTgt>
                                        </p:tgtEl>
                                      </p:cBhvr>
                                    </p:animEffect>
                                  </p:childTnLst>
                                </p:cTn>
                              </p:par>
                              <p:par>
                                <p:cTn id="21" presetID="3" presetClass="entr" presetSubtype="10" fill="hold" grpId="0" nodeType="withEffect">
                                  <p:stCondLst>
                                    <p:cond delay="0"/>
                                  </p:stCondLst>
                                  <p:iterate type="lt">
                                    <p:tmPct val="0"/>
                                  </p:iterate>
                                  <p:childTnLst>
                                    <p:set>
                                      <p:cBhvr>
                                        <p:cTn id="22" dur="1" fill="hold">
                                          <p:stCondLst>
                                            <p:cond delay="0"/>
                                          </p:stCondLst>
                                        </p:cTn>
                                        <p:tgtEl>
                                          <p:spTgt spid="3">
                                            <p:txEl>
                                              <p:pRg st="4" end="4"/>
                                            </p:txEl>
                                          </p:spTgt>
                                        </p:tgtEl>
                                        <p:attrNameLst>
                                          <p:attrName>style.visibility</p:attrName>
                                        </p:attrNameLst>
                                      </p:cBhvr>
                                      <p:to>
                                        <p:strVal val="visible"/>
                                      </p:to>
                                    </p:set>
                                    <p:animEffect transition="in" filter="blinds(horizontal)">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grpId="0" nodeType="clickEffect">
                                  <p:stCondLst>
                                    <p:cond delay="0"/>
                                  </p:stCondLst>
                                  <p:childTnLst>
                                    <p:set>
                                      <p:cBhvr>
                                        <p:cTn id="27" dur="1" fill="hold">
                                          <p:stCondLst>
                                            <p:cond delay="0"/>
                                          </p:stCondLst>
                                        </p:cTn>
                                        <p:tgtEl>
                                          <p:spTgt spid="4">
                                            <p:txEl>
                                              <p:pRg st="0" end="0"/>
                                            </p:txEl>
                                          </p:spTgt>
                                        </p:tgtEl>
                                        <p:attrNameLst>
                                          <p:attrName>style.visibility</p:attrName>
                                        </p:attrNameLst>
                                      </p:cBhvr>
                                      <p:to>
                                        <p:strVal val="visible"/>
                                      </p:to>
                                    </p:set>
                                    <p:animEffect transition="in" filter="blinds(horizontal)">
                                      <p:cBhvr>
                                        <p:cTn id="28" dur="500"/>
                                        <p:tgtEl>
                                          <p:spTgt spid="4">
                                            <p:txEl>
                                              <p:pRg st="0" end="0"/>
                                            </p:txEl>
                                          </p:spTgt>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4">
                                            <p:txEl>
                                              <p:pRg st="1" end="1"/>
                                            </p:txEl>
                                          </p:spTgt>
                                        </p:tgtEl>
                                        <p:attrNameLst>
                                          <p:attrName>style.visibility</p:attrName>
                                        </p:attrNameLst>
                                      </p:cBhvr>
                                      <p:to>
                                        <p:strVal val="visible"/>
                                      </p:to>
                                    </p:set>
                                    <p:animEffect transition="in" filter="blinds(horizontal)">
                                      <p:cBhvr>
                                        <p:cTn id="31" dur="500"/>
                                        <p:tgtEl>
                                          <p:spTgt spid="4">
                                            <p:txEl>
                                              <p:pRg st="1" end="1"/>
                                            </p:txEl>
                                          </p:spTgt>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4">
                                            <p:txEl>
                                              <p:pRg st="2" end="2"/>
                                            </p:txEl>
                                          </p:spTgt>
                                        </p:tgtEl>
                                        <p:attrNameLst>
                                          <p:attrName>style.visibility</p:attrName>
                                        </p:attrNameLst>
                                      </p:cBhvr>
                                      <p:to>
                                        <p:strVal val="visible"/>
                                      </p:to>
                                    </p:set>
                                    <p:animEffect transition="in" filter="blinds(horizontal)">
                                      <p:cBhvr>
                                        <p:cTn id="34"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04800" y="2248818"/>
            <a:ext cx="2614670" cy="2360364"/>
          </a:xfrm>
        </p:spPr>
        <p:txBody>
          <a:bodyPr rtlCol="0" anchor="ctr">
            <a:noAutofit/>
          </a:bodyPr>
          <a:lstStyle/>
          <a:p>
            <a:pPr marL="0" indent="0" algn="ctr"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bg1"/>
                </a:solidFill>
                <a:latin typeface="Calibri" panose="020F0502020204030204" pitchFamily="34" charset="0"/>
              </a:rPr>
              <a:t>Purpose</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b="1" dirty="0">
              <a:solidFill>
                <a:schemeClr val="bg1"/>
              </a:solidFill>
              <a:latin typeface="Calibri" panose="020F0502020204030204" pitchFamily="34" charset="0"/>
            </a:endParaRPr>
          </a:p>
        </p:txBody>
      </p:sp>
      <p:sp>
        <p:nvSpPr>
          <p:cNvPr id="4" name="Content Placeholder 2">
            <a:extLst>
              <a:ext uri="{FF2B5EF4-FFF2-40B4-BE49-F238E27FC236}">
                <a16:creationId xmlns:a16="http://schemas.microsoft.com/office/drawing/2014/main" id="{74B53316-5D01-410E-B43D-F2D432B7843E}"/>
              </a:ext>
            </a:extLst>
          </p:cNvPr>
          <p:cNvSpPr txBox="1">
            <a:spLocks/>
          </p:cNvSpPr>
          <p:nvPr/>
        </p:nvSpPr>
        <p:spPr bwMode="auto">
          <a:xfrm>
            <a:off x="3193790" y="381000"/>
            <a:ext cx="5486400" cy="3364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noAutofit/>
          </a:bodyPr>
          <a:lstStyle>
            <a:lvl1pPr marL="68263" indent="-68263"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Char char=" "/>
              <a:defRPr sz="1500" kern="1200">
                <a:solidFill>
                  <a:srgbClr val="404040"/>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a:lnSpc>
                <a:spcPct val="150000"/>
              </a:lnSpc>
            </a:pPr>
            <a:r>
              <a:rPr lang="en-IN" sz="2000" b="1" dirty="0">
                <a:latin typeface="Calibri" panose="020F0502020204030204" pitchFamily="34" charset="0"/>
              </a:rPr>
              <a:t>To provide guidance on appropriate and safe use of oxygen in patients</a:t>
            </a:r>
          </a:p>
          <a:p>
            <a:pPr marL="214313" indent="-214313">
              <a:lnSpc>
                <a:spcPct val="150000"/>
              </a:lnSpc>
              <a:buFont typeface="Arial" panose="020B0604020202020204" pitchFamily="34" charset="0"/>
              <a:buChar char="•"/>
            </a:pPr>
            <a:r>
              <a:rPr lang="en-IN" sz="2000" dirty="0">
                <a:latin typeface="Calibri" panose="020F0502020204030204" pitchFamily="34" charset="0"/>
              </a:rPr>
              <a:t>Ensures uninterrupted supply </a:t>
            </a:r>
          </a:p>
          <a:p>
            <a:pPr marL="214313" indent="-214313">
              <a:lnSpc>
                <a:spcPct val="150000"/>
              </a:lnSpc>
              <a:buFont typeface="Arial" panose="020B0604020202020204" pitchFamily="34" charset="0"/>
              <a:buChar char="•"/>
            </a:pPr>
            <a:r>
              <a:rPr lang="en-IN" sz="2000" dirty="0">
                <a:latin typeface="Calibri" panose="020F0502020204030204" pitchFamily="34" charset="0"/>
              </a:rPr>
              <a:t>Prevent pilferage and waste </a:t>
            </a:r>
          </a:p>
          <a:p>
            <a:pPr marL="214313" indent="-214313">
              <a:lnSpc>
                <a:spcPct val="150000"/>
              </a:lnSpc>
              <a:buFont typeface="Arial" panose="020B0604020202020204" pitchFamily="34" charset="0"/>
              <a:buChar char="•"/>
            </a:pPr>
            <a:r>
              <a:rPr lang="en-IN" sz="2000" dirty="0">
                <a:latin typeface="Calibri" panose="020F0502020204030204" pitchFamily="34" charset="0"/>
              </a:rPr>
              <a:t>Cost analysis </a:t>
            </a:r>
          </a:p>
          <a:p>
            <a:pPr marL="214313" indent="-214313">
              <a:lnSpc>
                <a:spcPct val="150000"/>
              </a:lnSpc>
              <a:buFont typeface="Arial" panose="020B0604020202020204" pitchFamily="34" charset="0"/>
              <a:buChar char="•"/>
            </a:pPr>
            <a:r>
              <a:rPr lang="en-IN" sz="2000" dirty="0">
                <a:latin typeface="Calibri" panose="020F0502020204030204" pitchFamily="34" charset="0"/>
              </a:rPr>
              <a:t>Rationing </a:t>
            </a:r>
          </a:p>
          <a:p>
            <a:endParaRPr lang="en-GB" sz="2000" dirty="0"/>
          </a:p>
        </p:txBody>
      </p:sp>
      <p:pic>
        <p:nvPicPr>
          <p:cNvPr id="5" name="Picture 4" descr="Will Covid-19 force India to face up to its water crisis? | The Third Pole">
            <a:extLst>
              <a:ext uri="{FF2B5EF4-FFF2-40B4-BE49-F238E27FC236}">
                <a16:creationId xmlns:a16="http://schemas.microsoft.com/office/drawing/2014/main" id="{13D14049-57F1-48AD-8B2F-189D7834CF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65437" y="3962400"/>
            <a:ext cx="2771553" cy="199657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The threat of water scarcity looms large | World Finance">
            <a:extLst>
              <a:ext uri="{FF2B5EF4-FFF2-40B4-BE49-F238E27FC236}">
                <a16:creationId xmlns:a16="http://schemas.microsoft.com/office/drawing/2014/main" id="{338AE967-CD15-4B17-8B2D-30634C8A4B98}"/>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096000" y="3958728"/>
            <a:ext cx="2667000" cy="200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0683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blinds(horizontal)">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blinds(horizontal)">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blinds(horizontal)">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blinds(horizontal)">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blinds(horizontal)">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5" presetClass="entr" presetSubtype="1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checkerboard(across)">
                                      <p:cBhvr>
                                        <p:cTn id="32" dur="500"/>
                                        <p:tgtEl>
                                          <p:spTgt spid="6"/>
                                        </p:tgtEl>
                                      </p:cBhvr>
                                    </p:animEffect>
                                  </p:childTnLst>
                                </p:cTn>
                              </p:par>
                            </p:childTnLst>
                          </p:cTn>
                        </p:par>
                      </p:childTnLst>
                    </p:cTn>
                  </p:par>
                  <p:par>
                    <p:cTn id="33" fill="hold">
                      <p:stCondLst>
                        <p:cond delay="indefinite"/>
                      </p:stCondLst>
                      <p:childTnLst>
                        <p:par>
                          <p:cTn id="34" fill="hold">
                            <p:stCondLst>
                              <p:cond delay="0"/>
                            </p:stCondLst>
                            <p:childTnLst>
                              <p:par>
                                <p:cTn id="35" presetID="5" presetClass="entr" presetSubtype="10" fill="hold"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checkerboard(across)">
                                      <p:cBhvr>
                                        <p:cTn id="3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2BA00C1-B94F-4077-9016-77F9C414AF30}"/>
              </a:ext>
            </a:extLst>
          </p:cNvPr>
          <p:cNvSpPr/>
          <p:nvPr/>
        </p:nvSpPr>
        <p:spPr>
          <a:xfrm>
            <a:off x="6689059" y="4240092"/>
            <a:ext cx="2321515" cy="757130"/>
          </a:xfrm>
          <a:prstGeom prst="rect">
            <a:avLst/>
          </a:prstGeom>
          <a:solidFill>
            <a:schemeClr val="tx2">
              <a:lumMod val="20000"/>
              <a:lumOff val="80000"/>
            </a:schemeClr>
          </a:solidFill>
        </p:spPr>
        <p:txBody>
          <a:bodyPr wrap="square" lIns="342900">
            <a:spAutoFit/>
          </a:bodyPr>
          <a:lstStyle/>
          <a:p>
            <a:pPr marL="0" lvl="1" algn="just" defTabSz="466725">
              <a:lnSpc>
                <a:spcPct val="90000"/>
              </a:lnSpc>
              <a:spcAft>
                <a:spcPct val="15000"/>
              </a:spcAft>
            </a:pPr>
            <a:r>
              <a:rPr lang="en-US" sz="1600" dirty="0">
                <a:latin typeface="Calibri" panose="020F0502020204030204" pitchFamily="34" charset="0"/>
              </a:rPr>
              <a:t>Adapted specifications ensure appropriate device selection</a:t>
            </a:r>
          </a:p>
        </p:txBody>
      </p:sp>
      <p:sp>
        <p:nvSpPr>
          <p:cNvPr id="6" name="Rectangle 5">
            <a:extLst>
              <a:ext uri="{FF2B5EF4-FFF2-40B4-BE49-F238E27FC236}">
                <a16:creationId xmlns:a16="http://schemas.microsoft.com/office/drawing/2014/main" id="{76CEC9A3-9A2D-4885-9070-23CD51452AEB}"/>
              </a:ext>
            </a:extLst>
          </p:cNvPr>
          <p:cNvSpPr/>
          <p:nvPr/>
        </p:nvSpPr>
        <p:spPr>
          <a:xfrm>
            <a:off x="4642230" y="1804419"/>
            <a:ext cx="2921780" cy="535531"/>
          </a:xfrm>
          <a:prstGeom prst="rect">
            <a:avLst/>
          </a:prstGeom>
          <a:solidFill>
            <a:schemeClr val="tx2">
              <a:lumMod val="20000"/>
              <a:lumOff val="80000"/>
            </a:schemeClr>
          </a:solidFill>
        </p:spPr>
        <p:txBody>
          <a:bodyPr wrap="square" lIns="342900">
            <a:spAutoFit/>
          </a:bodyPr>
          <a:lstStyle/>
          <a:p>
            <a:pPr marL="0" lvl="1" algn="just" defTabSz="466725">
              <a:lnSpc>
                <a:spcPct val="90000"/>
              </a:lnSpc>
              <a:spcAft>
                <a:spcPct val="15000"/>
              </a:spcAft>
            </a:pPr>
            <a:r>
              <a:rPr lang="en-US" sz="1600" dirty="0">
                <a:latin typeface="Calibri" panose="020F0502020204030204" pitchFamily="34" charset="0"/>
              </a:rPr>
              <a:t>Create clear process that ensures safety</a:t>
            </a:r>
          </a:p>
        </p:txBody>
      </p:sp>
      <p:sp>
        <p:nvSpPr>
          <p:cNvPr id="7" name="Rectangle 6">
            <a:extLst>
              <a:ext uri="{FF2B5EF4-FFF2-40B4-BE49-F238E27FC236}">
                <a16:creationId xmlns:a16="http://schemas.microsoft.com/office/drawing/2014/main" id="{8C33A9E6-539F-4A27-8BAD-05DE3CAFE9A4}"/>
              </a:ext>
            </a:extLst>
          </p:cNvPr>
          <p:cNvSpPr/>
          <p:nvPr/>
        </p:nvSpPr>
        <p:spPr>
          <a:xfrm>
            <a:off x="1604505" y="5666224"/>
            <a:ext cx="2604972" cy="535531"/>
          </a:xfrm>
          <a:prstGeom prst="rect">
            <a:avLst/>
          </a:prstGeom>
          <a:solidFill>
            <a:schemeClr val="tx2">
              <a:lumMod val="20000"/>
              <a:lumOff val="80000"/>
            </a:schemeClr>
          </a:solidFill>
        </p:spPr>
        <p:txBody>
          <a:bodyPr wrap="square">
            <a:spAutoFit/>
          </a:bodyPr>
          <a:lstStyle/>
          <a:p>
            <a:pPr marL="0" lvl="1" algn="just" defTabSz="466725">
              <a:lnSpc>
                <a:spcPct val="90000"/>
              </a:lnSpc>
              <a:spcAft>
                <a:spcPct val="15000"/>
              </a:spcAft>
            </a:pPr>
            <a:r>
              <a:rPr lang="en-US" sz="1600" dirty="0">
                <a:latin typeface="Calibri" panose="020F0502020204030204" pitchFamily="34" charset="0"/>
              </a:rPr>
              <a:t>Prior planning is crucial to effectively scaling</a:t>
            </a:r>
          </a:p>
        </p:txBody>
      </p:sp>
      <p:sp>
        <p:nvSpPr>
          <p:cNvPr id="8" name="Rectangle 7">
            <a:extLst>
              <a:ext uri="{FF2B5EF4-FFF2-40B4-BE49-F238E27FC236}">
                <a16:creationId xmlns:a16="http://schemas.microsoft.com/office/drawing/2014/main" id="{E6676871-EE89-4006-A17E-EA0B0688D5DC}"/>
              </a:ext>
            </a:extLst>
          </p:cNvPr>
          <p:cNvSpPr/>
          <p:nvPr/>
        </p:nvSpPr>
        <p:spPr>
          <a:xfrm>
            <a:off x="270773" y="2806892"/>
            <a:ext cx="2205875" cy="757130"/>
          </a:xfrm>
          <a:prstGeom prst="rect">
            <a:avLst/>
          </a:prstGeom>
          <a:solidFill>
            <a:schemeClr val="tx2">
              <a:lumMod val="20000"/>
              <a:lumOff val="80000"/>
            </a:schemeClr>
          </a:solidFill>
        </p:spPr>
        <p:txBody>
          <a:bodyPr wrap="square">
            <a:spAutoFit/>
          </a:bodyPr>
          <a:lstStyle/>
          <a:p>
            <a:pPr marL="0" lvl="1" algn="just" defTabSz="466725">
              <a:lnSpc>
                <a:spcPct val="90000"/>
              </a:lnSpc>
              <a:spcAft>
                <a:spcPct val="15000"/>
              </a:spcAft>
            </a:pPr>
            <a:r>
              <a:rPr lang="en-US" sz="1600" dirty="0">
                <a:latin typeface="Calibri" panose="020F0502020204030204" pitchFamily="34" charset="0"/>
              </a:rPr>
              <a:t>Foundation for strong health services and systems</a:t>
            </a:r>
          </a:p>
        </p:txBody>
      </p:sp>
      <p:sp>
        <p:nvSpPr>
          <p:cNvPr id="9" name="Title 1">
            <a:extLst>
              <a:ext uri="{FF2B5EF4-FFF2-40B4-BE49-F238E27FC236}">
                <a16:creationId xmlns:a16="http://schemas.microsoft.com/office/drawing/2014/main" id="{D9BF3C2B-B172-4A74-81C0-CB5E3FC45A0E}"/>
              </a:ext>
            </a:extLst>
          </p:cNvPr>
          <p:cNvSpPr txBox="1">
            <a:spLocks/>
          </p:cNvSpPr>
          <p:nvPr/>
        </p:nvSpPr>
        <p:spPr>
          <a:xfrm>
            <a:off x="902460" y="600128"/>
            <a:ext cx="7479540" cy="1083110"/>
          </a:xfrm>
          <a:prstGeom prst="rect">
            <a:avLst/>
          </a:prstGeom>
        </p:spPr>
        <p:txBody>
          <a:bodyPr vert="horz" lIns="91440" tIns="45720" rIns="91440" bIns="45720" rtlCol="0" anchor="b">
            <a:normAutofit/>
          </a:bodyPr>
          <a:lstStyle>
            <a:lvl1pPr algn="ctr" defTabSz="685800">
              <a:lnSpc>
                <a:spcPct val="85000"/>
              </a:lnSpc>
              <a:defRPr sz="3200" b="1" spc="-50">
                <a:solidFill>
                  <a:schemeClr val="accent2">
                    <a:lumMod val="75000"/>
                  </a:schemeClr>
                </a:solidFill>
                <a:latin typeface="Gill Sans MT" panose="020B0502020104020203" pitchFamily="34" charset="0"/>
                <a:ea typeface="+mj-ea"/>
                <a:cs typeface="+mj-cs"/>
              </a:defRPr>
            </a:lvl1pPr>
            <a:lvl2pPr defTabSz="685800">
              <a:lnSpc>
                <a:spcPct val="85000"/>
              </a:lnSpc>
              <a:defRPr sz="3600">
                <a:solidFill>
                  <a:srgbClr val="404040"/>
                </a:solidFill>
                <a:latin typeface="Calibri Light" panose="020F0302020204030204" pitchFamily="34" charset="0"/>
              </a:defRPr>
            </a:lvl2pPr>
            <a:lvl3pPr defTabSz="685800">
              <a:lnSpc>
                <a:spcPct val="85000"/>
              </a:lnSpc>
              <a:defRPr sz="3600">
                <a:solidFill>
                  <a:srgbClr val="404040"/>
                </a:solidFill>
                <a:latin typeface="Calibri Light" panose="020F0302020204030204" pitchFamily="34" charset="0"/>
              </a:defRPr>
            </a:lvl3pPr>
            <a:lvl4pPr defTabSz="685800">
              <a:lnSpc>
                <a:spcPct val="85000"/>
              </a:lnSpc>
              <a:defRPr sz="3600">
                <a:solidFill>
                  <a:srgbClr val="404040"/>
                </a:solidFill>
                <a:latin typeface="Calibri Light" panose="020F0302020204030204" pitchFamily="34" charset="0"/>
              </a:defRPr>
            </a:lvl4pPr>
            <a:lvl5pPr defTabSz="685800">
              <a:lnSpc>
                <a:spcPct val="85000"/>
              </a:lnSpc>
              <a:defRPr sz="3600">
                <a:solidFill>
                  <a:srgbClr val="404040"/>
                </a:solidFill>
                <a:latin typeface="Calibri Light" panose="020F0302020204030204" pitchFamily="34" charset="0"/>
              </a:defRPr>
            </a:lvl5pPr>
            <a:lvl6pPr marL="457200" defTabSz="685800" fontAlgn="base">
              <a:lnSpc>
                <a:spcPct val="85000"/>
              </a:lnSpc>
              <a:spcBef>
                <a:spcPct val="0"/>
              </a:spcBef>
              <a:spcAft>
                <a:spcPct val="0"/>
              </a:spcAft>
              <a:defRPr sz="3600">
                <a:solidFill>
                  <a:srgbClr val="404040"/>
                </a:solidFill>
                <a:latin typeface="Calibri Light" panose="020F0302020204030204" pitchFamily="34" charset="0"/>
              </a:defRPr>
            </a:lvl6pPr>
            <a:lvl7pPr marL="914400" defTabSz="685800" fontAlgn="base">
              <a:lnSpc>
                <a:spcPct val="85000"/>
              </a:lnSpc>
              <a:spcBef>
                <a:spcPct val="0"/>
              </a:spcBef>
              <a:spcAft>
                <a:spcPct val="0"/>
              </a:spcAft>
              <a:defRPr sz="3600">
                <a:solidFill>
                  <a:srgbClr val="404040"/>
                </a:solidFill>
                <a:latin typeface="Calibri Light" panose="020F0302020204030204" pitchFamily="34" charset="0"/>
              </a:defRPr>
            </a:lvl7pPr>
            <a:lvl8pPr marL="1371600" defTabSz="685800" fontAlgn="base">
              <a:lnSpc>
                <a:spcPct val="85000"/>
              </a:lnSpc>
              <a:spcBef>
                <a:spcPct val="0"/>
              </a:spcBef>
              <a:spcAft>
                <a:spcPct val="0"/>
              </a:spcAft>
              <a:defRPr sz="3600">
                <a:solidFill>
                  <a:srgbClr val="404040"/>
                </a:solidFill>
                <a:latin typeface="Calibri Light" panose="020F0302020204030204" pitchFamily="34" charset="0"/>
              </a:defRPr>
            </a:lvl8pPr>
            <a:lvl9pPr marL="1828800" defTabSz="685800" fontAlgn="base">
              <a:lnSpc>
                <a:spcPct val="85000"/>
              </a:lnSpc>
              <a:spcBef>
                <a:spcPct val="0"/>
              </a:spcBef>
              <a:spcAft>
                <a:spcPct val="0"/>
              </a:spcAft>
              <a:defRPr sz="3600">
                <a:solidFill>
                  <a:srgbClr val="404040"/>
                </a:solidFill>
                <a:latin typeface="Calibri Light" panose="020F0302020204030204" pitchFamily="34" charset="0"/>
              </a:defRPr>
            </a:lvl9pPr>
          </a:lstStyle>
          <a:p>
            <a:r>
              <a:rPr lang="en-US" sz="3600" dirty="0">
                <a:latin typeface="Calibri" panose="020F0502020204030204" pitchFamily="34" charset="0"/>
              </a:rPr>
              <a:t>Goals </a:t>
            </a:r>
          </a:p>
        </p:txBody>
      </p:sp>
      <p:grpSp>
        <p:nvGrpSpPr>
          <p:cNvPr id="10" name="Group 9">
            <a:extLst>
              <a:ext uri="{FF2B5EF4-FFF2-40B4-BE49-F238E27FC236}">
                <a16:creationId xmlns:a16="http://schemas.microsoft.com/office/drawing/2014/main" id="{4A094D38-0280-4533-9B05-578BC5155574}"/>
              </a:ext>
            </a:extLst>
          </p:cNvPr>
          <p:cNvGrpSpPr/>
          <p:nvPr/>
        </p:nvGrpSpPr>
        <p:grpSpPr>
          <a:xfrm>
            <a:off x="1604505" y="2097236"/>
            <a:ext cx="5607585" cy="3850156"/>
            <a:chOff x="3042525" y="422058"/>
            <a:chExt cx="5842566" cy="5751502"/>
          </a:xfrm>
          <a:solidFill>
            <a:schemeClr val="accent2">
              <a:lumMod val="75000"/>
            </a:schemeClr>
          </a:solidFill>
        </p:grpSpPr>
        <p:sp>
          <p:nvSpPr>
            <p:cNvPr id="11" name="Block Arc 10">
              <a:extLst>
                <a:ext uri="{FF2B5EF4-FFF2-40B4-BE49-F238E27FC236}">
                  <a16:creationId xmlns:a16="http://schemas.microsoft.com/office/drawing/2014/main" id="{C23387AB-4FF8-4BDB-97EB-6ACBBCBF394E}"/>
                </a:ext>
              </a:extLst>
            </p:cNvPr>
            <p:cNvSpPr/>
            <p:nvPr/>
          </p:nvSpPr>
          <p:spPr>
            <a:xfrm>
              <a:off x="3624887" y="911503"/>
              <a:ext cx="4554731" cy="4601115"/>
            </a:xfrm>
            <a:prstGeom prst="blockArc">
              <a:avLst>
                <a:gd name="adj1" fmla="val 10800000"/>
                <a:gd name="adj2" fmla="val 16200000"/>
                <a:gd name="adj3" fmla="val 4642"/>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Block Arc 11">
              <a:extLst>
                <a:ext uri="{FF2B5EF4-FFF2-40B4-BE49-F238E27FC236}">
                  <a16:creationId xmlns:a16="http://schemas.microsoft.com/office/drawing/2014/main" id="{7F1465C6-22BD-4E63-8EED-45EDF22D8205}"/>
                </a:ext>
              </a:extLst>
            </p:cNvPr>
            <p:cNvSpPr/>
            <p:nvPr/>
          </p:nvSpPr>
          <p:spPr>
            <a:xfrm>
              <a:off x="3624886" y="1345379"/>
              <a:ext cx="4554732" cy="4320863"/>
            </a:xfrm>
            <a:prstGeom prst="blockArc">
              <a:avLst>
                <a:gd name="adj1" fmla="val 5400000"/>
                <a:gd name="adj2" fmla="val 10800000"/>
                <a:gd name="adj3" fmla="val 4642"/>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Block Arc 12">
              <a:extLst>
                <a:ext uri="{FF2B5EF4-FFF2-40B4-BE49-F238E27FC236}">
                  <a16:creationId xmlns:a16="http://schemas.microsoft.com/office/drawing/2014/main" id="{EA625B24-170A-4487-9DBF-6725ECF541AA}"/>
                </a:ext>
              </a:extLst>
            </p:cNvPr>
            <p:cNvSpPr/>
            <p:nvPr/>
          </p:nvSpPr>
          <p:spPr>
            <a:xfrm>
              <a:off x="3866734" y="1289801"/>
              <a:ext cx="4346865" cy="4400376"/>
            </a:xfrm>
            <a:prstGeom prst="blockArc">
              <a:avLst>
                <a:gd name="adj1" fmla="val 0"/>
                <a:gd name="adj2" fmla="val 5400000"/>
                <a:gd name="adj3" fmla="val 4642"/>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Block Arc 13">
              <a:extLst>
                <a:ext uri="{FF2B5EF4-FFF2-40B4-BE49-F238E27FC236}">
                  <a16:creationId xmlns:a16="http://schemas.microsoft.com/office/drawing/2014/main" id="{8E538F9C-B711-43B0-9390-71097EF18ECC}"/>
                </a:ext>
              </a:extLst>
            </p:cNvPr>
            <p:cNvSpPr/>
            <p:nvPr/>
          </p:nvSpPr>
          <p:spPr>
            <a:xfrm>
              <a:off x="3979974" y="906175"/>
              <a:ext cx="4249821" cy="4651829"/>
            </a:xfrm>
            <a:prstGeom prst="blockArc">
              <a:avLst>
                <a:gd name="adj1" fmla="val 16184965"/>
                <a:gd name="adj2" fmla="val 0"/>
                <a:gd name="adj3" fmla="val 4642"/>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Rounded Rectangle 13">
              <a:extLst>
                <a:ext uri="{FF2B5EF4-FFF2-40B4-BE49-F238E27FC236}">
                  <a16:creationId xmlns:a16="http://schemas.microsoft.com/office/drawing/2014/main" id="{78755DCE-96E4-4A4D-856C-CC8A94810AAD}"/>
                </a:ext>
              </a:extLst>
            </p:cNvPr>
            <p:cNvSpPr/>
            <p:nvPr/>
          </p:nvSpPr>
          <p:spPr>
            <a:xfrm>
              <a:off x="4207216" y="1707438"/>
              <a:ext cx="3416824" cy="3157086"/>
            </a:xfrm>
            <a:prstGeom prst="round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9915" tIns="159915" rIns="159915" bIns="159915" numCol="1" spcCol="1270" anchor="ctr" anchorCtr="0">
              <a:noAutofit/>
            </a:bodyPr>
            <a:lstStyle/>
            <a:p>
              <a:pPr algn="ctr" defTabSz="433388" fontAlgn="auto">
                <a:lnSpc>
                  <a:spcPct val="90000"/>
                </a:lnSpc>
                <a:spcAft>
                  <a:spcPct val="35000"/>
                </a:spcAft>
              </a:pPr>
              <a:r>
                <a:rPr lang="en-US" b="1" dirty="0">
                  <a:solidFill>
                    <a:prstClr val="white"/>
                  </a:solidFill>
                  <a:latin typeface="Calibri" panose="020F0502020204030204"/>
                </a:rPr>
                <a:t>Functioning safe oxygen delivery system</a:t>
              </a:r>
            </a:p>
          </p:txBody>
        </p:sp>
        <p:sp>
          <p:nvSpPr>
            <p:cNvPr id="16" name="Freeform 14">
              <a:extLst>
                <a:ext uri="{FF2B5EF4-FFF2-40B4-BE49-F238E27FC236}">
                  <a16:creationId xmlns:a16="http://schemas.microsoft.com/office/drawing/2014/main" id="{CE3ED609-1686-4A9C-AD6C-4BBBB3DEA439}"/>
                </a:ext>
              </a:extLst>
            </p:cNvPr>
            <p:cNvSpPr/>
            <p:nvPr/>
          </p:nvSpPr>
          <p:spPr>
            <a:xfrm>
              <a:off x="5327385" y="422058"/>
              <a:ext cx="1343223" cy="1746356"/>
            </a:xfrm>
            <a:custGeom>
              <a:avLst/>
              <a:gdLst>
                <a:gd name="connsiteX0" fmla="*/ 0 w 1343223"/>
                <a:gd name="connsiteY0" fmla="*/ 671612 h 1343223"/>
                <a:gd name="connsiteX1" fmla="*/ 671612 w 1343223"/>
                <a:gd name="connsiteY1" fmla="*/ 0 h 1343223"/>
                <a:gd name="connsiteX2" fmla="*/ 1343224 w 1343223"/>
                <a:gd name="connsiteY2" fmla="*/ 671612 h 1343223"/>
                <a:gd name="connsiteX3" fmla="*/ 671612 w 1343223"/>
                <a:gd name="connsiteY3" fmla="*/ 1343224 h 1343223"/>
                <a:gd name="connsiteX4" fmla="*/ 0 w 1343223"/>
                <a:gd name="connsiteY4" fmla="*/ 671612 h 1343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23" h="1343223">
                  <a:moveTo>
                    <a:pt x="0" y="671612"/>
                  </a:moveTo>
                  <a:cubicBezTo>
                    <a:pt x="0" y="300691"/>
                    <a:pt x="300691" y="0"/>
                    <a:pt x="671612" y="0"/>
                  </a:cubicBezTo>
                  <a:cubicBezTo>
                    <a:pt x="1042533" y="0"/>
                    <a:pt x="1343224" y="300691"/>
                    <a:pt x="1343224" y="671612"/>
                  </a:cubicBezTo>
                  <a:cubicBezTo>
                    <a:pt x="1343224" y="1042533"/>
                    <a:pt x="1042533" y="1343224"/>
                    <a:pt x="671612" y="1343224"/>
                  </a:cubicBezTo>
                  <a:cubicBezTo>
                    <a:pt x="300691" y="1343224"/>
                    <a:pt x="0" y="1042533"/>
                    <a:pt x="0" y="671612"/>
                  </a:cubicBez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9915" tIns="159915" rIns="159915" bIns="159915" numCol="1" spcCol="1270" anchor="ctr" anchorCtr="0">
              <a:noAutofit/>
            </a:bodyPr>
            <a:lstStyle/>
            <a:p>
              <a:pPr algn="ctr" defTabSz="433388" eaLnBrk="1" fontAlgn="auto" hangingPunct="1">
                <a:lnSpc>
                  <a:spcPct val="90000"/>
                </a:lnSpc>
                <a:spcAft>
                  <a:spcPct val="35000"/>
                </a:spcAft>
                <a:defRPr/>
              </a:pPr>
              <a:r>
                <a:rPr lang="en-US" sz="1500" dirty="0">
                  <a:solidFill>
                    <a:prstClr val="white"/>
                  </a:solidFill>
                  <a:latin typeface="Calibri" panose="020F0502020204030204"/>
                </a:rPr>
                <a:t>Regulation</a:t>
              </a:r>
            </a:p>
          </p:txBody>
        </p:sp>
        <p:sp>
          <p:nvSpPr>
            <p:cNvPr id="17" name="Freeform 15">
              <a:extLst>
                <a:ext uri="{FF2B5EF4-FFF2-40B4-BE49-F238E27FC236}">
                  <a16:creationId xmlns:a16="http://schemas.microsoft.com/office/drawing/2014/main" id="{9B8E0D69-0031-44BA-8C4C-6CB2F976D3C5}"/>
                </a:ext>
              </a:extLst>
            </p:cNvPr>
            <p:cNvSpPr/>
            <p:nvPr/>
          </p:nvSpPr>
          <p:spPr>
            <a:xfrm>
              <a:off x="7387435" y="2196720"/>
              <a:ext cx="1497656" cy="1903892"/>
            </a:xfrm>
            <a:custGeom>
              <a:avLst/>
              <a:gdLst>
                <a:gd name="connsiteX0" fmla="*/ 0 w 1343223"/>
                <a:gd name="connsiteY0" fmla="*/ 671612 h 1343223"/>
                <a:gd name="connsiteX1" fmla="*/ 671612 w 1343223"/>
                <a:gd name="connsiteY1" fmla="*/ 0 h 1343223"/>
                <a:gd name="connsiteX2" fmla="*/ 1343224 w 1343223"/>
                <a:gd name="connsiteY2" fmla="*/ 671612 h 1343223"/>
                <a:gd name="connsiteX3" fmla="*/ 671612 w 1343223"/>
                <a:gd name="connsiteY3" fmla="*/ 1343224 h 1343223"/>
                <a:gd name="connsiteX4" fmla="*/ 0 w 1343223"/>
                <a:gd name="connsiteY4" fmla="*/ 671612 h 1343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23" h="1343223">
                  <a:moveTo>
                    <a:pt x="0" y="671612"/>
                  </a:moveTo>
                  <a:cubicBezTo>
                    <a:pt x="0" y="300691"/>
                    <a:pt x="300691" y="0"/>
                    <a:pt x="671612" y="0"/>
                  </a:cubicBezTo>
                  <a:cubicBezTo>
                    <a:pt x="1042533" y="0"/>
                    <a:pt x="1343224" y="300691"/>
                    <a:pt x="1343224" y="671612"/>
                  </a:cubicBezTo>
                  <a:cubicBezTo>
                    <a:pt x="1343224" y="1042533"/>
                    <a:pt x="1042533" y="1343224"/>
                    <a:pt x="671612" y="1343224"/>
                  </a:cubicBezTo>
                  <a:cubicBezTo>
                    <a:pt x="300691" y="1343224"/>
                    <a:pt x="0" y="1042533"/>
                    <a:pt x="0" y="671612"/>
                  </a:cubicBez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9915" tIns="159915" rIns="159915" bIns="159915" numCol="1" spcCol="1270" anchor="ctr" anchorCtr="0">
              <a:noAutofit/>
            </a:bodyPr>
            <a:lstStyle/>
            <a:p>
              <a:pPr algn="ctr" defTabSz="433388" eaLnBrk="1" fontAlgn="auto" hangingPunct="1">
                <a:lnSpc>
                  <a:spcPct val="90000"/>
                </a:lnSpc>
                <a:spcAft>
                  <a:spcPct val="35000"/>
                </a:spcAft>
                <a:defRPr/>
              </a:pPr>
              <a:r>
                <a:rPr lang="en-US" sz="1500" dirty="0">
                  <a:solidFill>
                    <a:prstClr val="white"/>
                  </a:solidFill>
                  <a:latin typeface="Calibri" panose="020F0502020204030204"/>
                </a:rPr>
                <a:t>Device specifications</a:t>
              </a:r>
            </a:p>
          </p:txBody>
        </p:sp>
        <p:sp>
          <p:nvSpPr>
            <p:cNvPr id="18" name="Freeform 17">
              <a:extLst>
                <a:ext uri="{FF2B5EF4-FFF2-40B4-BE49-F238E27FC236}">
                  <a16:creationId xmlns:a16="http://schemas.microsoft.com/office/drawing/2014/main" id="{4D02D02B-CD31-46A8-BD9D-1079ECF01383}"/>
                </a:ext>
              </a:extLst>
            </p:cNvPr>
            <p:cNvSpPr/>
            <p:nvPr/>
          </p:nvSpPr>
          <p:spPr>
            <a:xfrm>
              <a:off x="5330510" y="4356948"/>
              <a:ext cx="1343223" cy="1816612"/>
            </a:xfrm>
            <a:custGeom>
              <a:avLst/>
              <a:gdLst>
                <a:gd name="connsiteX0" fmla="*/ 0 w 1343223"/>
                <a:gd name="connsiteY0" fmla="*/ 671612 h 1343223"/>
                <a:gd name="connsiteX1" fmla="*/ 671612 w 1343223"/>
                <a:gd name="connsiteY1" fmla="*/ 0 h 1343223"/>
                <a:gd name="connsiteX2" fmla="*/ 1343224 w 1343223"/>
                <a:gd name="connsiteY2" fmla="*/ 671612 h 1343223"/>
                <a:gd name="connsiteX3" fmla="*/ 671612 w 1343223"/>
                <a:gd name="connsiteY3" fmla="*/ 1343224 h 1343223"/>
                <a:gd name="connsiteX4" fmla="*/ 0 w 1343223"/>
                <a:gd name="connsiteY4" fmla="*/ 671612 h 1343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23" h="1343223">
                  <a:moveTo>
                    <a:pt x="0" y="671612"/>
                  </a:moveTo>
                  <a:cubicBezTo>
                    <a:pt x="0" y="300691"/>
                    <a:pt x="300691" y="0"/>
                    <a:pt x="671612" y="0"/>
                  </a:cubicBezTo>
                  <a:cubicBezTo>
                    <a:pt x="1042533" y="0"/>
                    <a:pt x="1343224" y="300691"/>
                    <a:pt x="1343224" y="671612"/>
                  </a:cubicBezTo>
                  <a:cubicBezTo>
                    <a:pt x="1343224" y="1042533"/>
                    <a:pt x="1042533" y="1343224"/>
                    <a:pt x="671612" y="1343224"/>
                  </a:cubicBezTo>
                  <a:cubicBezTo>
                    <a:pt x="300691" y="1343224"/>
                    <a:pt x="0" y="1042533"/>
                    <a:pt x="0" y="671612"/>
                  </a:cubicBez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9915" tIns="159915" rIns="159915" bIns="159915" numCol="1" spcCol="1270" anchor="ctr" anchorCtr="0">
              <a:noAutofit/>
            </a:bodyPr>
            <a:lstStyle/>
            <a:p>
              <a:pPr algn="ctr" defTabSz="433388" eaLnBrk="1" fontAlgn="auto" hangingPunct="1">
                <a:lnSpc>
                  <a:spcPct val="90000"/>
                </a:lnSpc>
                <a:spcAft>
                  <a:spcPct val="35000"/>
                </a:spcAft>
                <a:defRPr/>
              </a:pPr>
              <a:r>
                <a:rPr lang="en-US" sz="1500" dirty="0">
                  <a:solidFill>
                    <a:prstClr val="white"/>
                  </a:solidFill>
                  <a:latin typeface="Calibri" panose="020F0502020204030204"/>
                </a:rPr>
                <a:t>Planning for scale</a:t>
              </a:r>
            </a:p>
          </p:txBody>
        </p:sp>
        <p:sp>
          <p:nvSpPr>
            <p:cNvPr id="19" name="Freeform 18">
              <a:extLst>
                <a:ext uri="{FF2B5EF4-FFF2-40B4-BE49-F238E27FC236}">
                  <a16:creationId xmlns:a16="http://schemas.microsoft.com/office/drawing/2014/main" id="{F2934048-8EA3-4AD1-B63E-327971FB343B}"/>
                </a:ext>
              </a:extLst>
            </p:cNvPr>
            <p:cNvSpPr/>
            <p:nvPr/>
          </p:nvSpPr>
          <p:spPr>
            <a:xfrm>
              <a:off x="3042525" y="2196720"/>
              <a:ext cx="1495820" cy="1903892"/>
            </a:xfrm>
            <a:custGeom>
              <a:avLst/>
              <a:gdLst>
                <a:gd name="connsiteX0" fmla="*/ 0 w 1343223"/>
                <a:gd name="connsiteY0" fmla="*/ 671612 h 1343223"/>
                <a:gd name="connsiteX1" fmla="*/ 671612 w 1343223"/>
                <a:gd name="connsiteY1" fmla="*/ 0 h 1343223"/>
                <a:gd name="connsiteX2" fmla="*/ 1343224 w 1343223"/>
                <a:gd name="connsiteY2" fmla="*/ 671612 h 1343223"/>
                <a:gd name="connsiteX3" fmla="*/ 671612 w 1343223"/>
                <a:gd name="connsiteY3" fmla="*/ 1343224 h 1343223"/>
                <a:gd name="connsiteX4" fmla="*/ 0 w 1343223"/>
                <a:gd name="connsiteY4" fmla="*/ 671612 h 13432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223" h="1343223">
                  <a:moveTo>
                    <a:pt x="0" y="671612"/>
                  </a:moveTo>
                  <a:cubicBezTo>
                    <a:pt x="0" y="300691"/>
                    <a:pt x="300691" y="0"/>
                    <a:pt x="671612" y="0"/>
                  </a:cubicBezTo>
                  <a:cubicBezTo>
                    <a:pt x="1042533" y="0"/>
                    <a:pt x="1343224" y="300691"/>
                    <a:pt x="1343224" y="671612"/>
                  </a:cubicBezTo>
                  <a:cubicBezTo>
                    <a:pt x="1343224" y="1042533"/>
                    <a:pt x="1042533" y="1343224"/>
                    <a:pt x="671612" y="1343224"/>
                  </a:cubicBezTo>
                  <a:cubicBezTo>
                    <a:pt x="300691" y="1343224"/>
                    <a:pt x="0" y="1042533"/>
                    <a:pt x="0" y="671612"/>
                  </a:cubicBezTo>
                  <a:close/>
                </a:path>
              </a:pathLst>
            </a:cu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9915" tIns="159915" rIns="159915" bIns="159915" numCol="1" spcCol="1270" anchor="ctr" anchorCtr="0">
              <a:noAutofit/>
            </a:bodyPr>
            <a:lstStyle/>
            <a:p>
              <a:pPr algn="ctr" defTabSz="433388" eaLnBrk="1" fontAlgn="auto" hangingPunct="1">
                <a:lnSpc>
                  <a:spcPct val="90000"/>
                </a:lnSpc>
                <a:spcAft>
                  <a:spcPct val="35000"/>
                </a:spcAft>
                <a:defRPr/>
              </a:pPr>
              <a:r>
                <a:rPr lang="en-US" sz="1500" dirty="0">
                  <a:solidFill>
                    <a:prstClr val="white"/>
                  </a:solidFill>
                  <a:latin typeface="Calibri" panose="020F0502020204030204"/>
                </a:rPr>
                <a:t>Policies and guidelines</a:t>
              </a:r>
            </a:p>
          </p:txBody>
        </p:sp>
      </p:grpSp>
    </p:spTree>
    <p:extLst>
      <p:ext uri="{BB962C8B-B14F-4D97-AF65-F5344CB8AC3E}">
        <p14:creationId xmlns:p14="http://schemas.microsoft.com/office/powerpoint/2010/main" val="622238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ppt_x"/>
                                          </p:val>
                                        </p:tav>
                                        <p:tav tm="100000">
                                          <p:val>
                                            <p:strVal val="#ppt_x"/>
                                          </p:val>
                                        </p:tav>
                                      </p:tavLst>
                                    </p:anim>
                                    <p:anim calcmode="lin" valueType="num">
                                      <p:cBhvr additive="base">
                                        <p:cTn id="20"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887FB1C-2FED-41E1-9962-80A49823D741}"/>
              </a:ext>
            </a:extLst>
          </p:cNvPr>
          <p:cNvGrpSpPr/>
          <p:nvPr/>
        </p:nvGrpSpPr>
        <p:grpSpPr>
          <a:xfrm>
            <a:off x="609600" y="1981200"/>
            <a:ext cx="8153401" cy="4278188"/>
            <a:chOff x="685800" y="1741611"/>
            <a:chExt cx="8153401" cy="4278188"/>
          </a:xfrm>
        </p:grpSpPr>
        <p:sp>
          <p:nvSpPr>
            <p:cNvPr id="10" name="Rectangle 9"/>
            <p:cNvSpPr/>
            <p:nvPr/>
          </p:nvSpPr>
          <p:spPr>
            <a:xfrm>
              <a:off x="1524000" y="5334000"/>
              <a:ext cx="2446216" cy="535531"/>
            </a:xfrm>
            <a:prstGeom prst="rect">
              <a:avLst/>
            </a:prstGeom>
            <a:solidFill>
              <a:schemeClr val="accent1">
                <a:lumMod val="20000"/>
                <a:lumOff val="80000"/>
              </a:schemeClr>
            </a:solidFill>
          </p:spPr>
          <p:txBody>
            <a:bodyPr wrap="square" lIns="342900">
              <a:spAutoFit/>
            </a:bodyPr>
            <a:lstStyle/>
            <a:p>
              <a:pPr marL="0" lvl="1" defTabSz="466725">
                <a:lnSpc>
                  <a:spcPct val="90000"/>
                </a:lnSpc>
                <a:spcAft>
                  <a:spcPct val="15000"/>
                </a:spcAft>
              </a:pPr>
              <a:r>
                <a:rPr lang="en-US" sz="1600" dirty="0">
                  <a:latin typeface="Calibri" panose="020F0502020204030204" pitchFamily="34" charset="0"/>
                </a:rPr>
                <a:t>Ensures continued device functionality</a:t>
              </a:r>
            </a:p>
          </p:txBody>
        </p:sp>
        <p:grpSp>
          <p:nvGrpSpPr>
            <p:cNvPr id="3" name="Group 2">
              <a:extLst>
                <a:ext uri="{FF2B5EF4-FFF2-40B4-BE49-F238E27FC236}">
                  <a16:creationId xmlns:a16="http://schemas.microsoft.com/office/drawing/2014/main" id="{5F0A5AAE-4422-4790-9588-9A4D994BA14B}"/>
                </a:ext>
              </a:extLst>
            </p:cNvPr>
            <p:cNvGrpSpPr/>
            <p:nvPr/>
          </p:nvGrpSpPr>
          <p:grpSpPr>
            <a:xfrm>
              <a:off x="685800" y="1741611"/>
              <a:ext cx="8153401" cy="4278188"/>
              <a:chOff x="544515" y="1611217"/>
              <a:chExt cx="8153401" cy="4278188"/>
            </a:xfrm>
          </p:grpSpPr>
          <p:sp>
            <p:nvSpPr>
              <p:cNvPr id="9" name="Rectangle 8"/>
              <p:cNvSpPr/>
              <p:nvPr/>
            </p:nvSpPr>
            <p:spPr>
              <a:xfrm>
                <a:off x="6343786" y="3807869"/>
                <a:ext cx="2354130" cy="757130"/>
              </a:xfrm>
              <a:prstGeom prst="rect">
                <a:avLst/>
              </a:prstGeom>
              <a:solidFill>
                <a:schemeClr val="accent1">
                  <a:lumMod val="20000"/>
                  <a:lumOff val="80000"/>
                </a:schemeClr>
              </a:solidFill>
            </p:spPr>
            <p:txBody>
              <a:bodyPr wrap="square" lIns="342900">
                <a:spAutoFit/>
              </a:bodyPr>
              <a:lstStyle/>
              <a:p>
                <a:pPr marL="0" lvl="1" defTabSz="466725">
                  <a:lnSpc>
                    <a:spcPct val="90000"/>
                  </a:lnSpc>
                  <a:spcAft>
                    <a:spcPct val="15000"/>
                  </a:spcAft>
                </a:pPr>
                <a:r>
                  <a:rPr lang="en-US" sz="1600" dirty="0">
                    <a:latin typeface="Calibri" panose="020F0502020204030204" pitchFamily="34" charset="0"/>
                  </a:rPr>
                  <a:t>Integration of device management processes</a:t>
                </a:r>
              </a:p>
            </p:txBody>
          </p:sp>
          <p:sp>
            <p:nvSpPr>
              <p:cNvPr id="8" name="Rectangle 7"/>
              <p:cNvSpPr/>
              <p:nvPr/>
            </p:nvSpPr>
            <p:spPr>
              <a:xfrm>
                <a:off x="544515" y="3001472"/>
                <a:ext cx="2388438" cy="535531"/>
              </a:xfrm>
              <a:prstGeom prst="rect">
                <a:avLst/>
              </a:prstGeom>
              <a:solidFill>
                <a:schemeClr val="accent1">
                  <a:lumMod val="20000"/>
                  <a:lumOff val="80000"/>
                </a:schemeClr>
              </a:solidFill>
            </p:spPr>
            <p:txBody>
              <a:bodyPr wrap="square" lIns="342900">
                <a:spAutoFit/>
              </a:bodyPr>
              <a:lstStyle/>
              <a:p>
                <a:pPr marL="0" lvl="1" defTabSz="466725">
                  <a:lnSpc>
                    <a:spcPct val="90000"/>
                  </a:lnSpc>
                  <a:spcAft>
                    <a:spcPct val="15000"/>
                  </a:spcAft>
                </a:pPr>
                <a:r>
                  <a:rPr lang="en-US" sz="1600" dirty="0">
                    <a:latin typeface="Calibri" panose="020F0502020204030204" pitchFamily="34" charset="0"/>
                  </a:rPr>
                  <a:t>Supports proper budget allocation</a:t>
                </a:r>
              </a:p>
            </p:txBody>
          </p:sp>
          <p:sp>
            <p:nvSpPr>
              <p:cNvPr id="6" name="Rectangle 5"/>
              <p:cNvSpPr/>
              <p:nvPr/>
            </p:nvSpPr>
            <p:spPr>
              <a:xfrm>
                <a:off x="4727123" y="1611217"/>
                <a:ext cx="2876313" cy="584775"/>
              </a:xfrm>
              <a:prstGeom prst="rect">
                <a:avLst/>
              </a:prstGeom>
              <a:solidFill>
                <a:schemeClr val="accent1">
                  <a:lumMod val="20000"/>
                  <a:lumOff val="80000"/>
                </a:schemeClr>
              </a:solidFill>
            </p:spPr>
            <p:txBody>
              <a:bodyPr wrap="square" lIns="342900">
                <a:spAutoFit/>
              </a:bodyPr>
              <a:lstStyle/>
              <a:p>
                <a:pPr>
                  <a:spcBef>
                    <a:spcPts val="0"/>
                  </a:spcBef>
                  <a:spcAft>
                    <a:spcPts val="1350"/>
                  </a:spcAft>
                </a:pPr>
                <a:r>
                  <a:rPr lang="en-US" sz="1600" dirty="0">
                    <a:latin typeface="Calibri" panose="020F0502020204030204" pitchFamily="34" charset="0"/>
                  </a:rPr>
                  <a:t>Simplify and coordinate procurement processes</a:t>
                </a:r>
              </a:p>
            </p:txBody>
          </p:sp>
          <p:graphicFrame>
            <p:nvGraphicFramePr>
              <p:cNvPr id="5" name="Diagram 4"/>
              <p:cNvGraphicFramePr/>
              <p:nvPr/>
            </p:nvGraphicFramePr>
            <p:xfrm>
              <a:off x="1024042" y="1957072"/>
              <a:ext cx="6579394" cy="3932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grpSp>
      <p:sp>
        <p:nvSpPr>
          <p:cNvPr id="2" name="Title 1"/>
          <p:cNvSpPr>
            <a:spLocks noGrp="1"/>
          </p:cNvSpPr>
          <p:nvPr>
            <p:ph type="title"/>
          </p:nvPr>
        </p:nvSpPr>
        <p:spPr>
          <a:xfrm>
            <a:off x="914400" y="838201"/>
            <a:ext cx="7391400" cy="903206"/>
          </a:xfrm>
        </p:spPr>
        <p:txBody>
          <a:bodyPr vert="horz" lIns="91440" tIns="45720" rIns="91440" bIns="45720" rtlCol="0" anchor="b">
            <a:normAutofit/>
          </a:bodyPr>
          <a:lstStyle/>
          <a:p>
            <a:pPr algn="ctr"/>
            <a:r>
              <a:rPr lang="en-US" sz="3600" b="1" spc="-50" dirty="0">
                <a:solidFill>
                  <a:schemeClr val="accent2">
                    <a:lumMod val="75000"/>
                  </a:schemeClr>
                </a:solidFill>
                <a:latin typeface="Calibri" panose="020F0502020204030204" pitchFamily="34" charset="0"/>
              </a:rPr>
              <a:t>Supportive Systems</a:t>
            </a:r>
          </a:p>
        </p:txBody>
      </p:sp>
    </p:spTree>
    <p:extLst>
      <p:ext uri="{BB962C8B-B14F-4D97-AF65-F5344CB8AC3E}">
        <p14:creationId xmlns:p14="http://schemas.microsoft.com/office/powerpoint/2010/main" val="163050247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13B51-D1EC-7641-93C7-4636F80EBF90}"/>
              </a:ext>
            </a:extLst>
          </p:cNvPr>
          <p:cNvSpPr>
            <a:spLocks noGrp="1"/>
          </p:cNvSpPr>
          <p:nvPr>
            <p:ph type="title"/>
          </p:nvPr>
        </p:nvSpPr>
        <p:spPr>
          <a:xfrm>
            <a:off x="989997" y="731710"/>
            <a:ext cx="7423534" cy="1010412"/>
          </a:xfrm>
        </p:spPr>
        <p:txBody>
          <a:bodyPr vert="horz" lIns="91440" tIns="45720" rIns="91440" bIns="45720" rtlCol="0" anchor="b">
            <a:normAutofit/>
          </a:bodyPr>
          <a:lstStyle/>
          <a:p>
            <a:pPr algn="ctr"/>
            <a:r>
              <a:rPr lang="en-IN" b="1" spc="-50" dirty="0">
                <a:solidFill>
                  <a:schemeClr val="accent2">
                    <a:lumMod val="75000"/>
                  </a:schemeClr>
                </a:solidFill>
                <a:latin typeface="Calibri" panose="020F0502020204030204" pitchFamily="34" charset="0"/>
              </a:rPr>
              <a:t>Components</a:t>
            </a:r>
            <a:endParaRPr lang="en-GB" b="1" spc="-50" dirty="0">
              <a:solidFill>
                <a:schemeClr val="accent2">
                  <a:lumMod val="75000"/>
                </a:schemeClr>
              </a:solidFill>
              <a:latin typeface="Calibri" panose="020F0502020204030204" pitchFamily="34" charset="0"/>
            </a:endParaRPr>
          </a:p>
        </p:txBody>
      </p:sp>
      <p:sp>
        <p:nvSpPr>
          <p:cNvPr id="3" name="Content Placeholder 2">
            <a:extLst>
              <a:ext uri="{FF2B5EF4-FFF2-40B4-BE49-F238E27FC236}">
                <a16:creationId xmlns:a16="http://schemas.microsoft.com/office/drawing/2014/main" id="{DD4A73DD-2E10-5F41-B577-0C03DD5ED111}"/>
              </a:ext>
            </a:extLst>
          </p:cNvPr>
          <p:cNvSpPr>
            <a:spLocks noGrp="1"/>
          </p:cNvSpPr>
          <p:nvPr>
            <p:ph idx="1"/>
          </p:nvPr>
        </p:nvSpPr>
        <p:spPr>
          <a:xfrm>
            <a:off x="958466" y="2186274"/>
            <a:ext cx="7423534" cy="3376326"/>
          </a:xfrm>
        </p:spPr>
        <p:txBody>
          <a:bodyPr>
            <a:noAutofit/>
          </a:bodyPr>
          <a:lstStyle/>
          <a:p>
            <a:pPr marL="214313" indent="-214313">
              <a:lnSpc>
                <a:spcPct val="150000"/>
              </a:lnSpc>
              <a:spcAft>
                <a:spcPts val="900"/>
              </a:spcAft>
              <a:buFont typeface="Arial" panose="020B0604020202020204" pitchFamily="34" charset="0"/>
              <a:buChar char="•"/>
            </a:pPr>
            <a:r>
              <a:rPr lang="en-IN" sz="2400" dirty="0">
                <a:latin typeface="Calibri" panose="020F0502020204030204" pitchFamily="34" charset="0"/>
              </a:rPr>
              <a:t>Audit planning &amp; Preparation</a:t>
            </a:r>
          </a:p>
          <a:p>
            <a:pPr marL="214313" indent="-214313">
              <a:lnSpc>
                <a:spcPct val="150000"/>
              </a:lnSpc>
              <a:spcAft>
                <a:spcPts val="900"/>
              </a:spcAft>
              <a:buFont typeface="Arial" panose="020B0604020202020204" pitchFamily="34" charset="0"/>
              <a:buChar char="•"/>
            </a:pPr>
            <a:r>
              <a:rPr lang="en-IN" sz="2400" dirty="0">
                <a:latin typeface="Calibri" panose="020F0502020204030204" pitchFamily="34" charset="0"/>
              </a:rPr>
              <a:t>Audit execution</a:t>
            </a:r>
          </a:p>
          <a:p>
            <a:pPr marL="214313" indent="-214313">
              <a:lnSpc>
                <a:spcPct val="150000"/>
              </a:lnSpc>
              <a:spcAft>
                <a:spcPts val="900"/>
              </a:spcAft>
              <a:buFont typeface="Arial" panose="020B0604020202020204" pitchFamily="34" charset="0"/>
              <a:buChar char="•"/>
            </a:pPr>
            <a:r>
              <a:rPr lang="en-IN" sz="2400" dirty="0">
                <a:latin typeface="Calibri" panose="020F0502020204030204" pitchFamily="34" charset="0"/>
              </a:rPr>
              <a:t>Audit reporting</a:t>
            </a:r>
          </a:p>
          <a:p>
            <a:pPr marL="214313" indent="-214313">
              <a:lnSpc>
                <a:spcPct val="150000"/>
              </a:lnSpc>
              <a:spcAft>
                <a:spcPts val="900"/>
              </a:spcAft>
              <a:buFont typeface="Arial" panose="020B0604020202020204" pitchFamily="34" charset="0"/>
              <a:buChar char="•"/>
            </a:pPr>
            <a:r>
              <a:rPr lang="en-IN" sz="2400" dirty="0">
                <a:latin typeface="Calibri" panose="020F0502020204030204" pitchFamily="34" charset="0"/>
              </a:rPr>
              <a:t>Follow-up</a:t>
            </a:r>
          </a:p>
        </p:txBody>
      </p:sp>
    </p:spTree>
    <p:extLst>
      <p:ext uri="{BB962C8B-B14F-4D97-AF65-F5344CB8AC3E}">
        <p14:creationId xmlns:p14="http://schemas.microsoft.com/office/powerpoint/2010/main" val="265781103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13B51-D1EC-7641-93C7-4636F80EBF90}"/>
              </a:ext>
            </a:extLst>
          </p:cNvPr>
          <p:cNvSpPr>
            <a:spLocks noGrp="1"/>
          </p:cNvSpPr>
          <p:nvPr>
            <p:ph type="title"/>
          </p:nvPr>
        </p:nvSpPr>
        <p:spPr>
          <a:xfrm>
            <a:off x="977462" y="735724"/>
            <a:ext cx="7633138" cy="1036688"/>
          </a:xfrm>
        </p:spPr>
        <p:txBody>
          <a:bodyPr vert="horz" lIns="91440" tIns="45720" rIns="91440" bIns="45720" rtlCol="0" anchor="b">
            <a:normAutofit/>
          </a:bodyPr>
          <a:lstStyle/>
          <a:p>
            <a:pPr algn="ctr"/>
            <a:r>
              <a:rPr lang="en-IN" b="1" spc="-50" dirty="0">
                <a:solidFill>
                  <a:schemeClr val="accent2">
                    <a:lumMod val="75000"/>
                  </a:schemeClr>
                </a:solidFill>
                <a:latin typeface="Calibri" panose="020F0502020204030204" pitchFamily="34" charset="0"/>
              </a:rPr>
              <a:t>Audit Process – Audit Planning And Preparation</a:t>
            </a:r>
            <a:endParaRPr lang="en-GB" b="1" spc="-50" dirty="0">
              <a:solidFill>
                <a:schemeClr val="accent2">
                  <a:lumMod val="75000"/>
                </a:schemeClr>
              </a:solidFill>
              <a:latin typeface="Calibri" panose="020F0502020204030204" pitchFamily="34" charset="0"/>
            </a:endParaRPr>
          </a:p>
        </p:txBody>
      </p:sp>
      <p:sp>
        <p:nvSpPr>
          <p:cNvPr id="3" name="Content Placeholder 2">
            <a:extLst>
              <a:ext uri="{FF2B5EF4-FFF2-40B4-BE49-F238E27FC236}">
                <a16:creationId xmlns:a16="http://schemas.microsoft.com/office/drawing/2014/main" id="{DD4A73DD-2E10-5F41-B577-0C03DD5ED111}"/>
              </a:ext>
            </a:extLst>
          </p:cNvPr>
          <p:cNvSpPr>
            <a:spLocks noGrp="1"/>
          </p:cNvSpPr>
          <p:nvPr>
            <p:ph idx="1"/>
          </p:nvPr>
        </p:nvSpPr>
        <p:spPr>
          <a:xfrm>
            <a:off x="958466" y="2186274"/>
            <a:ext cx="7423534" cy="3833526"/>
          </a:xfrm>
        </p:spPr>
        <p:txBody>
          <a:bodyPr>
            <a:noAutofit/>
          </a:bodyPr>
          <a:lstStyle/>
          <a:p>
            <a:pPr marL="214313" indent="-214313">
              <a:lnSpc>
                <a:spcPct val="100000"/>
              </a:lnSpc>
              <a:spcAft>
                <a:spcPts val="900"/>
              </a:spcAft>
              <a:buFont typeface="Arial" panose="020B0604020202020204" pitchFamily="34" charset="0"/>
              <a:buChar char="•"/>
            </a:pPr>
            <a:r>
              <a:rPr lang="en-IN" sz="2000" dirty="0">
                <a:latin typeface="Calibri" panose="020F0502020204030204" pitchFamily="34" charset="0"/>
              </a:rPr>
              <a:t>Appointing an audit co-ordinator</a:t>
            </a:r>
          </a:p>
          <a:p>
            <a:pPr marL="214313" indent="-214313">
              <a:lnSpc>
                <a:spcPct val="100000"/>
              </a:lnSpc>
              <a:spcAft>
                <a:spcPts val="900"/>
              </a:spcAft>
              <a:buFont typeface="Arial" panose="020B0604020202020204" pitchFamily="34" charset="0"/>
              <a:buChar char="•"/>
            </a:pPr>
            <a:r>
              <a:rPr lang="en-IN" sz="2000" dirty="0">
                <a:latin typeface="Calibri" panose="020F0502020204030204" pitchFamily="34" charset="0"/>
              </a:rPr>
              <a:t>Defining the scope of the audit</a:t>
            </a:r>
          </a:p>
          <a:p>
            <a:pPr marL="214313" indent="-214313">
              <a:lnSpc>
                <a:spcPct val="100000"/>
              </a:lnSpc>
              <a:spcAft>
                <a:spcPts val="900"/>
              </a:spcAft>
              <a:buFont typeface="Arial" panose="020B0604020202020204" pitchFamily="34" charset="0"/>
              <a:buChar char="•"/>
            </a:pPr>
            <a:r>
              <a:rPr lang="en-IN" sz="2000" dirty="0">
                <a:latin typeface="Calibri" panose="020F0502020204030204" pitchFamily="34" charset="0"/>
              </a:rPr>
              <a:t>Deciding frequency</a:t>
            </a:r>
          </a:p>
          <a:p>
            <a:pPr marL="214313" indent="-214313">
              <a:lnSpc>
                <a:spcPct val="100000"/>
              </a:lnSpc>
              <a:spcAft>
                <a:spcPts val="900"/>
              </a:spcAft>
              <a:buFont typeface="Arial" panose="020B0604020202020204" pitchFamily="34" charset="0"/>
              <a:buChar char="•"/>
            </a:pPr>
            <a:r>
              <a:rPr lang="en-IN" sz="2000" dirty="0">
                <a:latin typeface="Calibri" panose="020F0502020204030204" pitchFamily="34" charset="0"/>
              </a:rPr>
              <a:t>Preparing audit programme</a:t>
            </a:r>
          </a:p>
          <a:p>
            <a:pPr marL="214313" indent="-214313">
              <a:lnSpc>
                <a:spcPct val="100000"/>
              </a:lnSpc>
              <a:spcAft>
                <a:spcPts val="900"/>
              </a:spcAft>
              <a:buFont typeface="Arial" panose="020B0604020202020204" pitchFamily="34" charset="0"/>
              <a:buChar char="•"/>
            </a:pPr>
            <a:r>
              <a:rPr lang="en-IN" sz="2000" dirty="0">
                <a:latin typeface="Calibri" panose="020F0502020204030204" pitchFamily="34" charset="0"/>
              </a:rPr>
              <a:t>Making audit schedule/plan</a:t>
            </a:r>
          </a:p>
          <a:p>
            <a:pPr marL="214313" indent="-214313">
              <a:lnSpc>
                <a:spcPct val="100000"/>
              </a:lnSpc>
              <a:spcAft>
                <a:spcPts val="900"/>
              </a:spcAft>
              <a:buFont typeface="Arial" panose="020B0604020202020204" pitchFamily="34" charset="0"/>
              <a:buChar char="•"/>
            </a:pPr>
            <a:r>
              <a:rPr lang="en-IN" sz="2000" dirty="0">
                <a:latin typeface="Calibri" panose="020F0502020204030204" pitchFamily="34" charset="0"/>
              </a:rPr>
              <a:t>Document review</a:t>
            </a:r>
          </a:p>
          <a:p>
            <a:pPr marL="214313" indent="-214313">
              <a:lnSpc>
                <a:spcPct val="100000"/>
              </a:lnSpc>
              <a:spcAft>
                <a:spcPts val="900"/>
              </a:spcAft>
              <a:buFont typeface="Arial" panose="020B0604020202020204" pitchFamily="34" charset="0"/>
              <a:buChar char="•"/>
            </a:pPr>
            <a:r>
              <a:rPr lang="en-IN" sz="2000" dirty="0">
                <a:latin typeface="Calibri" panose="020F0502020204030204" pitchFamily="34" charset="0"/>
              </a:rPr>
              <a:t>Preparation of audit checklists</a:t>
            </a:r>
          </a:p>
        </p:txBody>
      </p:sp>
    </p:spTree>
    <p:extLst>
      <p:ext uri="{BB962C8B-B14F-4D97-AF65-F5344CB8AC3E}">
        <p14:creationId xmlns:p14="http://schemas.microsoft.com/office/powerpoint/2010/main" val="185266781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FD9239-3676-FE4E-BB0D-6A4AFC0BE166}"/>
              </a:ext>
            </a:extLst>
          </p:cNvPr>
          <p:cNvSpPr>
            <a:spLocks noGrp="1"/>
          </p:cNvSpPr>
          <p:nvPr>
            <p:ph type="title"/>
          </p:nvPr>
        </p:nvSpPr>
        <p:spPr>
          <a:xfrm>
            <a:off x="914400" y="1143000"/>
            <a:ext cx="7543800" cy="591247"/>
          </a:xfrm>
        </p:spPr>
        <p:txBody>
          <a:bodyPr vert="horz" lIns="91440" tIns="45720" rIns="91440" bIns="45720" rtlCol="0" anchor="b">
            <a:normAutofit/>
          </a:bodyPr>
          <a:lstStyle/>
          <a:p>
            <a:pPr algn="ctr"/>
            <a:r>
              <a:rPr lang="en-IN" b="1" spc="-50" dirty="0">
                <a:solidFill>
                  <a:schemeClr val="accent2">
                    <a:lumMod val="75000"/>
                  </a:schemeClr>
                </a:solidFill>
                <a:latin typeface="Calibri" panose="020F0502020204030204" pitchFamily="34" charset="0"/>
              </a:rPr>
              <a:t>Audit Process</a:t>
            </a:r>
            <a:endParaRPr lang="en-GB" b="1" spc="-50" dirty="0">
              <a:solidFill>
                <a:schemeClr val="accent2">
                  <a:lumMod val="75000"/>
                </a:schemeClr>
              </a:solidFill>
              <a:latin typeface="Calibri" panose="020F0502020204030204" pitchFamily="34" charset="0"/>
            </a:endParaRPr>
          </a:p>
        </p:txBody>
      </p:sp>
      <p:graphicFrame>
        <p:nvGraphicFramePr>
          <p:cNvPr id="4" name="Content Placeholder 3">
            <a:extLst>
              <a:ext uri="{FF2B5EF4-FFF2-40B4-BE49-F238E27FC236}">
                <a16:creationId xmlns:a16="http://schemas.microsoft.com/office/drawing/2014/main" id="{539BFE79-F3C4-6346-BB34-DC967B7A1C8A}"/>
              </a:ext>
            </a:extLst>
          </p:cNvPr>
          <p:cNvGraphicFramePr>
            <a:graphicFrameLocks noGrp="1"/>
          </p:cNvGraphicFramePr>
          <p:nvPr>
            <p:ph idx="1"/>
          </p:nvPr>
        </p:nvGraphicFramePr>
        <p:xfrm>
          <a:off x="1581260" y="1905000"/>
          <a:ext cx="5981479" cy="44244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24789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graphicEl>
                                              <a:dgm id="{81621133-EB7C-F64E-8EB0-2EB2502C916F}"/>
                                            </p:graphicEl>
                                          </p:spTgt>
                                        </p:tgtEl>
                                        <p:attrNameLst>
                                          <p:attrName>style.visibility</p:attrName>
                                        </p:attrNameLst>
                                      </p:cBhvr>
                                      <p:to>
                                        <p:strVal val="visible"/>
                                      </p:to>
                                    </p:set>
                                    <p:animEffect transition="in" filter="blinds(horizontal)">
                                      <p:cBhvr>
                                        <p:cTn id="7" dur="500"/>
                                        <p:tgtEl>
                                          <p:spTgt spid="4">
                                            <p:graphicEl>
                                              <a:dgm id="{81621133-EB7C-F64E-8EB0-2EB2502C916F}"/>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
                                            <p:graphicEl>
                                              <a:dgm id="{052B67A0-83FD-7145-8A0E-C10D95A09875}"/>
                                            </p:graphicEl>
                                          </p:spTgt>
                                        </p:tgtEl>
                                        <p:attrNameLst>
                                          <p:attrName>style.visibility</p:attrName>
                                        </p:attrNameLst>
                                      </p:cBhvr>
                                      <p:to>
                                        <p:strVal val="visible"/>
                                      </p:to>
                                    </p:set>
                                    <p:animEffect transition="in" filter="blinds(horizontal)">
                                      <p:cBhvr>
                                        <p:cTn id="12" dur="500"/>
                                        <p:tgtEl>
                                          <p:spTgt spid="4">
                                            <p:graphicEl>
                                              <a:dgm id="{052B67A0-83FD-7145-8A0E-C10D95A09875}"/>
                                            </p:graphicEl>
                                          </p:spTgt>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4">
                                            <p:graphicEl>
                                              <a:dgm id="{8524F6C0-91D4-0A4C-9885-D0C86C5506C8}"/>
                                            </p:graphicEl>
                                          </p:spTgt>
                                        </p:tgtEl>
                                        <p:attrNameLst>
                                          <p:attrName>style.visibility</p:attrName>
                                        </p:attrNameLst>
                                      </p:cBhvr>
                                      <p:to>
                                        <p:strVal val="visible"/>
                                      </p:to>
                                    </p:set>
                                    <p:animEffect transition="in" filter="blinds(horizontal)">
                                      <p:cBhvr>
                                        <p:cTn id="15" dur="500"/>
                                        <p:tgtEl>
                                          <p:spTgt spid="4">
                                            <p:graphicEl>
                                              <a:dgm id="{8524F6C0-91D4-0A4C-9885-D0C86C5506C8}"/>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grpId="0" nodeType="clickEffect">
                                  <p:stCondLst>
                                    <p:cond delay="0"/>
                                  </p:stCondLst>
                                  <p:childTnLst>
                                    <p:set>
                                      <p:cBhvr>
                                        <p:cTn id="19" dur="1" fill="hold">
                                          <p:stCondLst>
                                            <p:cond delay="0"/>
                                          </p:stCondLst>
                                        </p:cTn>
                                        <p:tgtEl>
                                          <p:spTgt spid="4">
                                            <p:graphicEl>
                                              <a:dgm id="{4D4F6B2E-9DBF-D544-B5B5-435DF57E9DBA}"/>
                                            </p:graphicEl>
                                          </p:spTgt>
                                        </p:tgtEl>
                                        <p:attrNameLst>
                                          <p:attrName>style.visibility</p:attrName>
                                        </p:attrNameLst>
                                      </p:cBhvr>
                                      <p:to>
                                        <p:strVal val="visible"/>
                                      </p:to>
                                    </p:set>
                                    <p:animEffect transition="in" filter="blinds(horizontal)">
                                      <p:cBhvr>
                                        <p:cTn id="20" dur="500"/>
                                        <p:tgtEl>
                                          <p:spTgt spid="4">
                                            <p:graphicEl>
                                              <a:dgm id="{4D4F6B2E-9DBF-D544-B5B5-435DF57E9DBA}"/>
                                            </p:graphicEl>
                                          </p:spTgt>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4">
                                            <p:graphicEl>
                                              <a:dgm id="{98AF4968-13A0-6A41-B2EC-3E99ABF02EBA}"/>
                                            </p:graphicEl>
                                          </p:spTgt>
                                        </p:tgtEl>
                                        <p:attrNameLst>
                                          <p:attrName>style.visibility</p:attrName>
                                        </p:attrNameLst>
                                      </p:cBhvr>
                                      <p:to>
                                        <p:strVal val="visible"/>
                                      </p:to>
                                    </p:set>
                                    <p:animEffect transition="in" filter="blinds(horizontal)">
                                      <p:cBhvr>
                                        <p:cTn id="23" dur="500"/>
                                        <p:tgtEl>
                                          <p:spTgt spid="4">
                                            <p:graphicEl>
                                              <a:dgm id="{98AF4968-13A0-6A41-B2EC-3E99ABF02EBA}"/>
                                            </p:graphicEl>
                                          </p:spTgt>
                                        </p:tgtEl>
                                      </p:cBhvr>
                                    </p:animEffec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grpId="0" nodeType="clickEffect">
                                  <p:stCondLst>
                                    <p:cond delay="0"/>
                                  </p:stCondLst>
                                  <p:childTnLst>
                                    <p:set>
                                      <p:cBhvr>
                                        <p:cTn id="27" dur="1" fill="hold">
                                          <p:stCondLst>
                                            <p:cond delay="0"/>
                                          </p:stCondLst>
                                        </p:cTn>
                                        <p:tgtEl>
                                          <p:spTgt spid="4">
                                            <p:graphicEl>
                                              <a:dgm id="{4B9BAE64-8739-364E-9202-68C1A5DEC598}"/>
                                            </p:graphicEl>
                                          </p:spTgt>
                                        </p:tgtEl>
                                        <p:attrNameLst>
                                          <p:attrName>style.visibility</p:attrName>
                                        </p:attrNameLst>
                                      </p:cBhvr>
                                      <p:to>
                                        <p:strVal val="visible"/>
                                      </p:to>
                                    </p:set>
                                    <p:animEffect transition="in" filter="blinds(horizontal)">
                                      <p:cBhvr>
                                        <p:cTn id="28" dur="500"/>
                                        <p:tgtEl>
                                          <p:spTgt spid="4">
                                            <p:graphicEl>
                                              <a:dgm id="{4B9BAE64-8739-364E-9202-68C1A5DEC598}"/>
                                            </p:graphicEl>
                                          </p:spTgt>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4">
                                            <p:graphicEl>
                                              <a:dgm id="{1C0D46F5-E600-CA4D-B29C-43439E26F7BD}"/>
                                            </p:graphicEl>
                                          </p:spTgt>
                                        </p:tgtEl>
                                        <p:attrNameLst>
                                          <p:attrName>style.visibility</p:attrName>
                                        </p:attrNameLst>
                                      </p:cBhvr>
                                      <p:to>
                                        <p:strVal val="visible"/>
                                      </p:to>
                                    </p:set>
                                    <p:animEffect transition="in" filter="blinds(horizontal)">
                                      <p:cBhvr>
                                        <p:cTn id="31" dur="500"/>
                                        <p:tgtEl>
                                          <p:spTgt spid="4">
                                            <p:graphicEl>
                                              <a:dgm id="{1C0D46F5-E600-CA4D-B29C-43439E26F7BD}"/>
                                            </p:graphicEl>
                                          </p:spTgt>
                                        </p:tgtEl>
                                      </p:cBhvr>
                                    </p:animEffect>
                                  </p:childTnLst>
                                </p:cTn>
                              </p:par>
                            </p:childTnLst>
                          </p:cTn>
                        </p:par>
                      </p:childTnLst>
                    </p:cTn>
                  </p:par>
                  <p:par>
                    <p:cTn id="32" fill="hold">
                      <p:stCondLst>
                        <p:cond delay="indefinite"/>
                      </p:stCondLst>
                      <p:childTnLst>
                        <p:par>
                          <p:cTn id="33" fill="hold">
                            <p:stCondLst>
                              <p:cond delay="0"/>
                            </p:stCondLst>
                            <p:childTnLst>
                              <p:par>
                                <p:cTn id="34" presetID="3" presetClass="entr" presetSubtype="10" fill="hold" grpId="0" nodeType="clickEffect">
                                  <p:stCondLst>
                                    <p:cond delay="0"/>
                                  </p:stCondLst>
                                  <p:childTnLst>
                                    <p:set>
                                      <p:cBhvr>
                                        <p:cTn id="35" dur="1" fill="hold">
                                          <p:stCondLst>
                                            <p:cond delay="0"/>
                                          </p:stCondLst>
                                        </p:cTn>
                                        <p:tgtEl>
                                          <p:spTgt spid="4">
                                            <p:graphicEl>
                                              <a:dgm id="{E36E7F4F-9D63-F042-80BC-9E06A91A3CB4}"/>
                                            </p:graphicEl>
                                          </p:spTgt>
                                        </p:tgtEl>
                                        <p:attrNameLst>
                                          <p:attrName>style.visibility</p:attrName>
                                        </p:attrNameLst>
                                      </p:cBhvr>
                                      <p:to>
                                        <p:strVal val="visible"/>
                                      </p:to>
                                    </p:set>
                                    <p:animEffect transition="in" filter="blinds(horizontal)">
                                      <p:cBhvr>
                                        <p:cTn id="36" dur="500"/>
                                        <p:tgtEl>
                                          <p:spTgt spid="4">
                                            <p:graphicEl>
                                              <a:dgm id="{E36E7F4F-9D63-F042-80BC-9E06A91A3CB4}"/>
                                            </p:graphicEl>
                                          </p:spTgt>
                                        </p:tgtEl>
                                      </p:cBhvr>
                                    </p:animEffect>
                                  </p:childTnLst>
                                </p:cTn>
                              </p:par>
                              <p:par>
                                <p:cTn id="37" presetID="3" presetClass="entr" presetSubtype="10" fill="hold" grpId="0" nodeType="withEffect">
                                  <p:stCondLst>
                                    <p:cond delay="0"/>
                                  </p:stCondLst>
                                  <p:childTnLst>
                                    <p:set>
                                      <p:cBhvr>
                                        <p:cTn id="38" dur="1" fill="hold">
                                          <p:stCondLst>
                                            <p:cond delay="0"/>
                                          </p:stCondLst>
                                        </p:cTn>
                                        <p:tgtEl>
                                          <p:spTgt spid="4">
                                            <p:graphicEl>
                                              <a:dgm id="{50C0FE79-BB37-D944-8350-AACA16A001A6}"/>
                                            </p:graphicEl>
                                          </p:spTgt>
                                        </p:tgtEl>
                                        <p:attrNameLst>
                                          <p:attrName>style.visibility</p:attrName>
                                        </p:attrNameLst>
                                      </p:cBhvr>
                                      <p:to>
                                        <p:strVal val="visible"/>
                                      </p:to>
                                    </p:set>
                                    <p:animEffect transition="in" filter="blinds(horizontal)">
                                      <p:cBhvr>
                                        <p:cTn id="39" dur="500"/>
                                        <p:tgtEl>
                                          <p:spTgt spid="4">
                                            <p:graphicEl>
                                              <a:dgm id="{50C0FE79-BB37-D944-8350-AACA16A001A6}"/>
                                            </p:graphicEl>
                                          </p:spTgt>
                                        </p:tgtEl>
                                      </p:cBhvr>
                                    </p:animEffect>
                                  </p:childTnLst>
                                </p:cTn>
                              </p:par>
                              <p:par>
                                <p:cTn id="40" presetID="3" presetClass="entr" presetSubtype="10" fill="hold" grpId="0" nodeType="withEffect">
                                  <p:stCondLst>
                                    <p:cond delay="0"/>
                                  </p:stCondLst>
                                  <p:childTnLst>
                                    <p:set>
                                      <p:cBhvr>
                                        <p:cTn id="41" dur="1" fill="hold">
                                          <p:stCondLst>
                                            <p:cond delay="0"/>
                                          </p:stCondLst>
                                        </p:cTn>
                                        <p:tgtEl>
                                          <p:spTgt spid="4">
                                            <p:graphicEl>
                                              <a:dgm id="{ED31CEF3-38B1-CF4E-A4C7-B8DE6CE02435}"/>
                                            </p:graphicEl>
                                          </p:spTgt>
                                        </p:tgtEl>
                                        <p:attrNameLst>
                                          <p:attrName>style.visibility</p:attrName>
                                        </p:attrNameLst>
                                      </p:cBhvr>
                                      <p:to>
                                        <p:strVal val="visible"/>
                                      </p:to>
                                    </p:set>
                                    <p:animEffect transition="in" filter="blinds(horizontal)">
                                      <p:cBhvr>
                                        <p:cTn id="42" dur="500"/>
                                        <p:tgtEl>
                                          <p:spTgt spid="4">
                                            <p:graphicEl>
                                              <a:dgm id="{ED31CEF3-38B1-CF4E-A4C7-B8DE6CE02435}"/>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Dgm bld="one"/>
        </p:bldSub>
      </p:bldGraphic>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5ADB46-5890-F247-8620-95842528E1FF}"/>
              </a:ext>
            </a:extLst>
          </p:cNvPr>
          <p:cNvSpPr>
            <a:spLocks noGrp="1"/>
          </p:cNvSpPr>
          <p:nvPr>
            <p:ph type="title"/>
          </p:nvPr>
        </p:nvSpPr>
        <p:spPr>
          <a:xfrm>
            <a:off x="822325" y="262286"/>
            <a:ext cx="7543800" cy="1449387"/>
          </a:xfrm>
        </p:spPr>
        <p:txBody>
          <a:bodyPr vert="horz" lIns="91440" tIns="45720" rIns="91440" bIns="45720" rtlCol="0" anchor="b">
            <a:normAutofit/>
          </a:bodyPr>
          <a:lstStyle/>
          <a:p>
            <a:pPr algn="ctr"/>
            <a:r>
              <a:rPr lang="en-GB" b="1" spc="-50" dirty="0">
                <a:solidFill>
                  <a:schemeClr val="accent2">
                    <a:lumMod val="75000"/>
                  </a:schemeClr>
                </a:solidFill>
                <a:latin typeface="Calibri" panose="020F0502020204030204" pitchFamily="34" charset="0"/>
              </a:rPr>
              <a:t>Audit – Criteria</a:t>
            </a:r>
          </a:p>
        </p:txBody>
      </p:sp>
      <p:sp>
        <p:nvSpPr>
          <p:cNvPr id="3" name="Content Placeholder 2">
            <a:extLst>
              <a:ext uri="{FF2B5EF4-FFF2-40B4-BE49-F238E27FC236}">
                <a16:creationId xmlns:a16="http://schemas.microsoft.com/office/drawing/2014/main" id="{14D59B31-77EE-BF48-A844-22CA956DE6C3}"/>
              </a:ext>
            </a:extLst>
          </p:cNvPr>
          <p:cNvSpPr>
            <a:spLocks noGrp="1"/>
          </p:cNvSpPr>
          <p:nvPr>
            <p:ph idx="1"/>
          </p:nvPr>
        </p:nvSpPr>
        <p:spPr>
          <a:xfrm>
            <a:off x="822325" y="2301228"/>
            <a:ext cx="7178675" cy="3642371"/>
          </a:xfrm>
        </p:spPr>
        <p:txBody>
          <a:bodyPr>
            <a:noAutofit/>
          </a:bodyPr>
          <a:lstStyle/>
          <a:p>
            <a:pPr algn="just">
              <a:lnSpc>
                <a:spcPct val="150000"/>
              </a:lnSpc>
              <a:buFont typeface="Arial" panose="020B0604020202020204" pitchFamily="34" charset="0"/>
              <a:buChar char="•"/>
            </a:pPr>
            <a:r>
              <a:rPr lang="en-GB" sz="2400" dirty="0">
                <a:latin typeface="Calibri" panose="020F0502020204030204" pitchFamily="34" charset="0"/>
              </a:rPr>
              <a:t>Safety </a:t>
            </a:r>
          </a:p>
          <a:p>
            <a:pPr algn="just">
              <a:lnSpc>
                <a:spcPct val="150000"/>
              </a:lnSpc>
              <a:buFont typeface="Arial" panose="020B0604020202020204" pitchFamily="34" charset="0"/>
              <a:buChar char="•"/>
            </a:pPr>
            <a:r>
              <a:rPr lang="en-GB" sz="2400" dirty="0">
                <a:latin typeface="Calibri" panose="020F0502020204030204" pitchFamily="34" charset="0"/>
              </a:rPr>
              <a:t>Quality </a:t>
            </a:r>
          </a:p>
          <a:p>
            <a:pPr algn="just">
              <a:lnSpc>
                <a:spcPct val="150000"/>
              </a:lnSpc>
              <a:buFont typeface="Arial" panose="020B0604020202020204" pitchFamily="34" charset="0"/>
              <a:buChar char="•"/>
            </a:pPr>
            <a:r>
              <a:rPr lang="en-GB" sz="2400" dirty="0">
                <a:latin typeface="Calibri" panose="020F0502020204030204" pitchFamily="34" charset="0"/>
              </a:rPr>
              <a:t>Supply – Demand </a:t>
            </a:r>
          </a:p>
          <a:p>
            <a:pPr algn="just">
              <a:lnSpc>
                <a:spcPct val="150000"/>
              </a:lnSpc>
              <a:buFont typeface="Arial" panose="020B0604020202020204" pitchFamily="34" charset="0"/>
              <a:buChar char="•"/>
            </a:pPr>
            <a:r>
              <a:rPr lang="en-GB" sz="2400" dirty="0">
                <a:latin typeface="Calibri" panose="020F0502020204030204" pitchFamily="34" charset="0"/>
              </a:rPr>
              <a:t>Policy gap – Planning </a:t>
            </a:r>
          </a:p>
          <a:p>
            <a:pPr algn="just">
              <a:lnSpc>
                <a:spcPct val="150000"/>
              </a:lnSpc>
              <a:buFont typeface="Arial" panose="020B0604020202020204" pitchFamily="34" charset="0"/>
              <a:buChar char="•"/>
            </a:pPr>
            <a:r>
              <a:rPr lang="en-GB" sz="2400" dirty="0">
                <a:latin typeface="Calibri" panose="020F0502020204030204" pitchFamily="34" charset="0"/>
              </a:rPr>
              <a:t>Cost analysis </a:t>
            </a:r>
          </a:p>
          <a:p>
            <a:endParaRPr lang="en-GB" sz="2400" dirty="0"/>
          </a:p>
        </p:txBody>
      </p:sp>
    </p:spTree>
    <p:extLst>
      <p:ext uri="{BB962C8B-B14F-4D97-AF65-F5344CB8AC3E}">
        <p14:creationId xmlns:p14="http://schemas.microsoft.com/office/powerpoint/2010/main" val="1487525647"/>
      </p:ext>
    </p:extLst>
  </p:cSld>
  <p:clrMapOvr>
    <a:masterClrMapping/>
  </p:clrMapOvr>
</p:sld>
</file>

<file path=ppt/slides/slide11.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3375041-660A-45FB-AFDF-3F4A7AB71CC2}"/>
              </a:ext>
            </a:extLst>
          </p:cNvPr>
          <p:cNvSpPr>
            <a:spLocks noGrp="1"/>
          </p:cNvSpPr>
          <p:nvPr>
            <p:ph idx="12" type="sldNum"/>
          </p:nvPr>
        </p:nvSpPr>
        <p:spPr/>
        <p:txBody>
          <a:bodyPr/>
          <a:lstStyle/>
          <a:p>
            <a:fld id="{00000000-1234-1234-1234-123412341234}" type="slidenum">
              <a:rPr lang="en-US" smtClean="0"/>
              <a:pPr/>
              <a:t>11</a:t>
            </a:fld>
            <a:endParaRPr lang="en-US"/>
          </a:p>
        </p:txBody>
      </p:sp>
      <p:sp>
        <p:nvSpPr>
          <p:cNvPr id="3" name="Google Shape;576;gb8677dd733_1_83">
            <a:extLst>
              <a:ext uri="{FF2B5EF4-FFF2-40B4-BE49-F238E27FC236}">
                <a16:creationId xmlns:a16="http://schemas.microsoft.com/office/drawing/2014/main" id="{A4C970F9-AF9D-4217-8452-3876BE87DA64}"/>
              </a:ext>
            </a:extLst>
          </p:cNvPr>
          <p:cNvSpPr txBox="1"/>
          <p:nvPr/>
        </p:nvSpPr>
        <p:spPr>
          <a:xfrm>
            <a:off x="838200" y="609600"/>
            <a:ext cx="7467600" cy="1135474"/>
          </a:xfrm>
          <a:prstGeom prst="rect">
            <a:avLst/>
          </a:prstGeom>
          <a:noFill/>
          <a:ln>
            <a:noFill/>
          </a:ln>
        </p:spPr>
        <p:txBody>
          <a:bodyPr anchor="b" anchorCtr="0" bIns="0" lIns="0" rIns="0" spcFirstLastPara="1" tIns="0" wrap="square">
            <a:noAutofit/>
          </a:bodyPr>
          <a:lstStyle/>
          <a:p>
            <a:pPr algn="ctr" defTabSz="685800">
              <a:lnSpc>
                <a:spcPct val="85000"/>
              </a:lnSpc>
              <a:buClr>
                <a:schemeClr val="accent1"/>
              </a:buClr>
              <a:buSzPts val="3200"/>
            </a:pPr>
            <a:r>
              <a:rPr b="1" dirty="0" lang="en-US" spc="-50" sz="3600">
                <a:solidFill>
                  <a:schemeClr val="accent2">
                    <a:lumMod val="75000"/>
                  </a:schemeClr>
                </a:solidFill>
                <a:latin typeface="+mn-lt"/>
                <a:ea typeface="+mj-ea"/>
                <a:cs typeface="+mj-cs"/>
                <a:sym typeface="Arial"/>
              </a:rPr>
              <a:t>Basic Terminology</a:t>
            </a:r>
          </a:p>
        </p:txBody>
      </p:sp>
      <p:grpSp>
        <p:nvGrpSpPr>
          <p:cNvPr id="8" name="Group 7">
            <a:extLst>
              <a:ext uri="{FF2B5EF4-FFF2-40B4-BE49-F238E27FC236}">
                <a16:creationId xmlns:a16="http://schemas.microsoft.com/office/drawing/2014/main" id="{F40471AF-BAB2-4B64-B1BD-95052C613C12}"/>
              </a:ext>
            </a:extLst>
          </p:cNvPr>
          <p:cNvGrpSpPr/>
          <p:nvPr/>
        </p:nvGrpSpPr>
        <p:grpSpPr>
          <a:xfrm>
            <a:off x="2241586" y="2079400"/>
            <a:ext cx="6064214" cy="2699200"/>
            <a:chOff x="2241586" y="2079400"/>
            <a:chExt cx="6064214" cy="2699200"/>
          </a:xfrm>
        </p:grpSpPr>
        <p:sp>
          <p:nvSpPr>
            <p:cNvPr id="5" name="TextBox 4">
              <a:extLst>
                <a:ext uri="{FF2B5EF4-FFF2-40B4-BE49-F238E27FC236}">
                  <a16:creationId xmlns:a16="http://schemas.microsoft.com/office/drawing/2014/main" id="{00136985-D457-4C80-B039-E1A67175D5FC}"/>
                </a:ext>
              </a:extLst>
            </p:cNvPr>
            <p:cNvSpPr txBox="1"/>
            <p:nvPr/>
          </p:nvSpPr>
          <p:spPr>
            <a:xfrm>
              <a:off x="2797972" y="2079400"/>
              <a:ext cx="5507828" cy="2699200"/>
            </a:xfrm>
            <a:prstGeom prst="rect">
              <a:avLst/>
            </a:prstGeom>
            <a:noFill/>
          </p:spPr>
          <p:txBody>
            <a:bodyPr rtlCol="0" wrap="square">
              <a:spAutoFit/>
            </a:bodyPr>
            <a:lstStyle/>
            <a:p>
              <a:pPr algn="l">
                <a:lnSpc>
                  <a:spcPct val="300000"/>
                </a:lnSpc>
              </a:pPr>
              <a:r>
                <a:rPr dirty="0" lang="en-GB" sz="2000">
                  <a:solidFill>
                    <a:schemeClr val="accent2"/>
                  </a:solidFill>
                  <a:latin typeface="+mn-lt"/>
                </a:rPr>
                <a:t>Hypoxia: Lack of oxygen availability in tissues</a:t>
              </a:r>
            </a:p>
            <a:p>
              <a:pPr algn="l">
                <a:lnSpc>
                  <a:spcPct val="300000"/>
                </a:lnSpc>
              </a:pPr>
              <a:r>
                <a:rPr dirty="0" lang="en-GB" sz="2000">
                  <a:solidFill>
                    <a:schemeClr val="accent2"/>
                  </a:solidFill>
                  <a:latin typeface="+mn-lt"/>
                </a:rPr>
                <a:t>FiO2: Fraction of O2 in Inspired gas</a:t>
              </a:r>
            </a:p>
            <a:p>
              <a:pPr algn="l">
                <a:lnSpc>
                  <a:spcPct val="300000"/>
                </a:lnSpc>
              </a:pPr>
              <a:r>
                <a:rPr dirty="0" lang="en-IN" sz="2000">
                  <a:solidFill>
                    <a:schemeClr val="accent2"/>
                  </a:solidFill>
                  <a:latin typeface="+mn-lt"/>
                </a:rPr>
                <a:t>SpO2: Oxygen Saturation</a:t>
              </a:r>
            </a:p>
          </p:txBody>
        </p:sp>
        <p:pic>
          <p:nvPicPr>
            <p:cNvPr id="7" name="Picture 6">
              <a:extLst>
                <a:ext uri="{FF2B5EF4-FFF2-40B4-BE49-F238E27FC236}">
                  <a16:creationId xmlns:a16="http://schemas.microsoft.com/office/drawing/2014/main" id="{04FCBB09-D7F7-4A51-BBDC-73D7977FBF26}"/>
                </a:ext>
              </a:extLst>
            </p:cNvPr>
            <p:cNvPicPr>
              <a:picLocks noChangeAspect="1"/>
            </p:cNvPicPr>
            <p:nvPr/>
          </p:nvPicPr>
          <p:blipFill rotWithShape="1">
            <a:blip r:embed="rId2"/>
            <a:srcRect b="41"/>
            <a:stretch/>
          </p:blipFill>
          <p:spPr>
            <a:xfrm>
              <a:off x="2265551" y="2501470"/>
              <a:ext cx="543806" cy="475247"/>
            </a:xfrm>
            <a:prstGeom prst="rect">
              <a:avLst/>
            </a:prstGeom>
          </p:spPr>
        </p:pic>
        <p:pic>
          <p:nvPicPr>
            <p:cNvPr id="9" name="Picture 8">
              <a:extLst>
                <a:ext uri="{FF2B5EF4-FFF2-40B4-BE49-F238E27FC236}">
                  <a16:creationId xmlns:a16="http://schemas.microsoft.com/office/drawing/2014/main" id="{714E6A7E-7196-46F3-8EF0-D79282788F78}"/>
                </a:ext>
              </a:extLst>
            </p:cNvPr>
            <p:cNvPicPr>
              <a:picLocks noChangeAspect="1"/>
            </p:cNvPicPr>
            <p:nvPr/>
          </p:nvPicPr>
          <p:blipFill rotWithShape="1">
            <a:blip r:embed="rId3"/>
            <a:srcRect b="-13"/>
            <a:stretch/>
          </p:blipFill>
          <p:spPr>
            <a:xfrm>
              <a:off x="2252971" y="3398787"/>
              <a:ext cx="546197" cy="475247"/>
            </a:xfrm>
            <a:prstGeom prst="rect">
              <a:avLst/>
            </a:prstGeom>
          </p:spPr>
        </p:pic>
        <p:pic>
          <p:nvPicPr>
            <p:cNvPr id="11" name="Picture 10">
              <a:extLst>
                <a:ext uri="{FF2B5EF4-FFF2-40B4-BE49-F238E27FC236}">
                  <a16:creationId xmlns:a16="http://schemas.microsoft.com/office/drawing/2014/main" id="{69A750BA-B2B6-404A-B1F7-569493554A38}"/>
                </a:ext>
              </a:extLst>
            </p:cNvPr>
            <p:cNvPicPr>
              <a:picLocks noChangeAspect="1"/>
            </p:cNvPicPr>
            <p:nvPr/>
          </p:nvPicPr>
          <p:blipFill rotWithShape="1">
            <a:blip r:embed="rId4"/>
            <a:srcRect b="12"/>
            <a:stretch/>
          </p:blipFill>
          <p:spPr>
            <a:xfrm>
              <a:off x="2241586" y="4303353"/>
              <a:ext cx="567771" cy="475247"/>
            </a:xfrm>
            <a:prstGeom prst="rect">
              <a:avLst/>
            </a:prstGeom>
          </p:spPr>
        </p:pic>
      </p:grpSp>
    </p:spTree>
    <p:extLst>
      <p:ext uri="{BB962C8B-B14F-4D97-AF65-F5344CB8AC3E}">
        <p14:creationId xmlns:p14="http://schemas.microsoft.com/office/powerpoint/2010/main" val="801645184"/>
      </p:ext>
    </p:extLst>
  </p:cSld>
  <p:clrMapOvr>
    <a:masterClrMapping/>
  </p:clrMapOvr>
  <p:transition spd="med">
    <p:fade/>
  </p:transition>
</p:sld>
</file>

<file path=ppt/slides/slide110.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0BE9D2-B32B-5B47-B092-095FEEDD19A5}"/>
              </a:ext>
            </a:extLst>
          </p:cNvPr>
          <p:cNvSpPr>
            <a:spLocks noGrp="1"/>
          </p:cNvSpPr>
          <p:nvPr>
            <p:ph type="title"/>
          </p:nvPr>
        </p:nvSpPr>
        <p:spPr>
          <a:xfrm>
            <a:off x="860858" y="935728"/>
            <a:ext cx="7444942" cy="781812"/>
          </a:xfrm>
        </p:spPr>
        <p:txBody>
          <a:bodyPr anchor="b" bIns="45720" lIns="91440" rIns="91440" rtlCol="0" tIns="45720" vert="horz">
            <a:normAutofit/>
          </a:bodyPr>
          <a:lstStyle/>
          <a:p>
            <a:pPr algn="ctr"/>
            <a:r>
              <a:rPr b="1" dirty="0" lang="en-GB" spc="-50">
                <a:solidFill>
                  <a:schemeClr val="accent2">
                    <a:lumMod val="75000"/>
                  </a:schemeClr>
                </a:solidFill>
                <a:latin charset="0" panose="020F0502020204030204" pitchFamily="34" typeface="Calibri"/>
              </a:rPr>
              <a:t>Who Should Do Audit </a:t>
            </a:r>
          </a:p>
        </p:txBody>
      </p:sp>
      <p:sp>
        <p:nvSpPr>
          <p:cNvPr id="3" name="Content Placeholder 2">
            <a:extLst>
              <a:ext uri="{FF2B5EF4-FFF2-40B4-BE49-F238E27FC236}">
                <a16:creationId xmlns:a16="http://schemas.microsoft.com/office/drawing/2014/main" id="{906483D9-5009-2349-BB37-128B2FE15AC6}"/>
              </a:ext>
            </a:extLst>
          </p:cNvPr>
          <p:cNvSpPr>
            <a:spLocks noGrp="1"/>
          </p:cNvSpPr>
          <p:nvPr>
            <p:ph idx="1" sz="half"/>
          </p:nvPr>
        </p:nvSpPr>
        <p:spPr>
          <a:xfrm>
            <a:off x="860858" y="2306232"/>
            <a:ext cx="2600978" cy="2189568"/>
          </a:xfrm>
        </p:spPr>
        <p:txBody>
          <a:bodyPr>
            <a:noAutofit/>
          </a:bodyPr>
          <a:lstStyle/>
          <a:p>
            <a:r>
              <a:rPr dirty="0" lang="en-GB" sz="1800">
                <a:solidFill>
                  <a:schemeClr val="tx1"/>
                </a:solidFill>
                <a:latin charset="0" panose="020F0502020204030204" pitchFamily="34" typeface="Calibri"/>
              </a:rPr>
              <a:t>Internal Audit</a:t>
            </a:r>
          </a:p>
          <a:p>
            <a:pPr indent="-257175" marL="257175">
              <a:lnSpc>
                <a:spcPct val="150000"/>
              </a:lnSpc>
              <a:buFont charset="0" panose="020B0604020202020204" pitchFamily="34" typeface="Arial"/>
              <a:buChar char="•"/>
            </a:pPr>
            <a:r>
              <a:rPr dirty="0" lang="en-GB" sz="1800">
                <a:solidFill>
                  <a:schemeClr val="tx1"/>
                </a:solidFill>
                <a:latin charset="0" panose="020F0502020204030204" pitchFamily="34" typeface="Calibri"/>
              </a:rPr>
              <a:t>User/Operator</a:t>
            </a:r>
          </a:p>
          <a:p>
            <a:pPr indent="-257175" marL="257175">
              <a:lnSpc>
                <a:spcPct val="150000"/>
              </a:lnSpc>
              <a:buFont charset="0" panose="020B0604020202020204" pitchFamily="34" typeface="Arial"/>
              <a:buChar char="•"/>
            </a:pPr>
            <a:r>
              <a:rPr dirty="0" lang="en-GB" sz="1800">
                <a:solidFill>
                  <a:schemeClr val="tx1"/>
                </a:solidFill>
                <a:latin charset="0" panose="020F0502020204030204" pitchFamily="34" typeface="Calibri"/>
              </a:rPr>
              <a:t>Supervisor </a:t>
            </a:r>
          </a:p>
          <a:p>
            <a:pPr indent="-257175" marL="257175">
              <a:lnSpc>
                <a:spcPct val="150000"/>
              </a:lnSpc>
              <a:buFont charset="0" panose="020B0604020202020204" pitchFamily="34" typeface="Arial"/>
              <a:buChar char="•"/>
            </a:pPr>
            <a:r>
              <a:rPr dirty="0" lang="en-GB" sz="1800">
                <a:solidFill>
                  <a:schemeClr val="tx1"/>
                </a:solidFill>
                <a:latin charset="0" panose="020F0502020204030204" pitchFamily="34" typeface="Calibri"/>
              </a:rPr>
              <a:t>Planner </a:t>
            </a:r>
          </a:p>
          <a:p>
            <a:pPr indent="-257175" marL="257175">
              <a:lnSpc>
                <a:spcPct val="150000"/>
              </a:lnSpc>
              <a:buFont charset="0" panose="020B0604020202020204" pitchFamily="34" typeface="Arial"/>
              <a:buChar char="•"/>
            </a:pPr>
            <a:r>
              <a:rPr dirty="0" lang="en-GB" sz="1800">
                <a:solidFill>
                  <a:schemeClr val="tx1"/>
                </a:solidFill>
                <a:latin charset="0" panose="020F0502020204030204" pitchFamily="34" typeface="Calibri"/>
              </a:rPr>
              <a:t>Authorize team</a:t>
            </a:r>
          </a:p>
        </p:txBody>
      </p:sp>
      <p:sp>
        <p:nvSpPr>
          <p:cNvPr id="4" name="Content Placeholder 3">
            <a:extLst>
              <a:ext uri="{FF2B5EF4-FFF2-40B4-BE49-F238E27FC236}">
                <a16:creationId xmlns:a16="http://schemas.microsoft.com/office/drawing/2014/main" id="{5145A117-6F86-9E4B-87B2-FF6C98436703}"/>
              </a:ext>
            </a:extLst>
          </p:cNvPr>
          <p:cNvSpPr>
            <a:spLocks noGrp="1"/>
          </p:cNvSpPr>
          <p:nvPr>
            <p:ph idx="2" sz="half"/>
          </p:nvPr>
        </p:nvSpPr>
        <p:spPr>
          <a:xfrm>
            <a:off x="5644525" y="2306232"/>
            <a:ext cx="2661275" cy="2189568"/>
          </a:xfrm>
        </p:spPr>
        <p:txBody>
          <a:bodyPr>
            <a:noAutofit/>
          </a:bodyPr>
          <a:lstStyle/>
          <a:p>
            <a:r>
              <a:rPr dirty="0" lang="en-GB" sz="1800">
                <a:solidFill>
                  <a:schemeClr val="tx1"/>
                </a:solidFill>
                <a:latin charset="0" panose="020F0502020204030204" pitchFamily="34" typeface="Calibri"/>
              </a:rPr>
              <a:t>External Audit </a:t>
            </a:r>
          </a:p>
          <a:p>
            <a:pPr indent="-342900" marL="342900">
              <a:lnSpc>
                <a:spcPct val="150000"/>
              </a:lnSpc>
              <a:buFont charset="0" panose="020B0604020202020204" pitchFamily="34" typeface="Arial"/>
              <a:buChar char="•"/>
            </a:pPr>
            <a:r>
              <a:rPr dirty="0" lang="en-GB" sz="1800">
                <a:solidFill>
                  <a:schemeClr val="tx1"/>
                </a:solidFill>
                <a:latin charset="0" panose="020F0502020204030204" pitchFamily="34" typeface="Calibri"/>
              </a:rPr>
              <a:t>Independent person/Team</a:t>
            </a:r>
          </a:p>
          <a:p>
            <a:pPr indent="-342900" marL="342900">
              <a:lnSpc>
                <a:spcPct val="150000"/>
              </a:lnSpc>
              <a:buFont charset="0" panose="020B0604020202020204" pitchFamily="34" typeface="Arial"/>
              <a:buChar char="•"/>
            </a:pPr>
            <a:r>
              <a:rPr dirty="0" lang="en-GB" sz="1800">
                <a:solidFill>
                  <a:schemeClr val="tx1"/>
                </a:solidFill>
                <a:latin charset="0" panose="020F0502020204030204" pitchFamily="34" typeface="Calibri"/>
              </a:rPr>
              <a:t>Authority</a:t>
            </a:r>
          </a:p>
          <a:p>
            <a:pPr indent="-342900" marL="342900">
              <a:lnSpc>
                <a:spcPct val="150000"/>
              </a:lnSpc>
              <a:buFont charset="0" panose="020B0604020202020204" pitchFamily="34" typeface="Arial"/>
              <a:buChar char="•"/>
            </a:pPr>
            <a:r>
              <a:rPr dirty="0" lang="en-GB" sz="1800">
                <a:solidFill>
                  <a:schemeClr val="tx1"/>
                </a:solidFill>
                <a:latin charset="0" panose="020F0502020204030204" pitchFamily="34" typeface="Calibri"/>
              </a:rPr>
              <a:t>Report to a third party  </a:t>
            </a:r>
          </a:p>
          <a:p>
            <a:pPr indent="-342900" marL="342900">
              <a:lnSpc>
                <a:spcPct val="150000"/>
              </a:lnSpc>
              <a:buFont charset="0" panose="020B0604020202020204" pitchFamily="34" typeface="Arial"/>
              <a:buChar char="•"/>
            </a:pPr>
            <a:r>
              <a:rPr dirty="0" lang="en-GB" sz="1800">
                <a:solidFill>
                  <a:schemeClr val="tx1"/>
                </a:solidFill>
                <a:latin charset="0" panose="020F0502020204030204" pitchFamily="34" typeface="Calibri"/>
              </a:rPr>
              <a:t>Confidentiality </a:t>
            </a:r>
          </a:p>
        </p:txBody>
      </p:sp>
      <p:sp>
        <p:nvSpPr>
          <p:cNvPr id="5" name="TextBox 4">
            <a:extLst>
              <a:ext uri="{FF2B5EF4-FFF2-40B4-BE49-F238E27FC236}">
                <a16:creationId xmlns:a16="http://schemas.microsoft.com/office/drawing/2014/main" id="{F2972482-60B9-8F4B-8124-D7B193FCEC2C}"/>
              </a:ext>
            </a:extLst>
          </p:cNvPr>
          <p:cNvSpPr txBox="1"/>
          <p:nvPr/>
        </p:nvSpPr>
        <p:spPr>
          <a:xfrm>
            <a:off x="2057400" y="5673185"/>
            <a:ext cx="3781754" cy="40011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wrap="square">
            <a:spAutoFit/>
          </a:bodyPr>
          <a:lstStyle/>
          <a:p>
            <a:pPr algn="ctr"/>
            <a:r>
              <a:rPr dirty="0" lang="en-GB" sz="2000">
                <a:latin charset="0" panose="020F0502020204030204" pitchFamily="34" typeface="Calibri"/>
              </a:rPr>
              <a:t>Documentations &amp; Signatures</a:t>
            </a:r>
          </a:p>
        </p:txBody>
      </p:sp>
      <p:pic>
        <p:nvPicPr>
          <p:cNvPr id="7" name="Picture 6">
            <a:extLst>
              <a:ext uri="{FF2B5EF4-FFF2-40B4-BE49-F238E27FC236}">
                <a16:creationId xmlns:a16="http://schemas.microsoft.com/office/drawing/2014/main" id="{95A744DF-FBD5-434B-ADE3-D64D7B640763}"/>
              </a:ext>
            </a:extLst>
          </p:cNvPr>
          <p:cNvPicPr>
            <a:picLocks noChangeAspect="1"/>
          </p:cNvPicPr>
          <p:nvPr/>
        </p:nvPicPr>
        <p:blipFill rotWithShape="1">
          <a:blip r:embed="rId2"/>
          <a:srcRect r="-35"/>
          <a:stretch/>
        </p:blipFill>
        <p:spPr>
          <a:xfrm>
            <a:off x="2848304" y="2038050"/>
            <a:ext cx="2743200" cy="2854516"/>
          </a:xfrm>
          <a:prstGeom prst="rect">
            <a:avLst/>
          </a:prstGeom>
        </p:spPr>
      </p:pic>
    </p:spTree>
    <p:extLst>
      <p:ext uri="{BB962C8B-B14F-4D97-AF65-F5344CB8AC3E}">
        <p14:creationId xmlns:p14="http://schemas.microsoft.com/office/powerpoint/2010/main" val="1495981750"/>
      </p:ext>
    </p:extLst>
  </p:cSld>
  <p:clrMapOvr>
    <a:masterClrMapping/>
  </p:clrMapOvr>
  <p:timing>
    <p:tnLst>
      <p:par>
        <p:cTn dur="indefinite" id="1" nodeType="tmRoot" restart="never">
          <p:childTnLst>
            <p:seq concurrent="1" nextAc="seek">
              <p:cTn dur="indefinite" id="2" nodeType="mainSeq">
                <p:childTnLst>
                  <p:par>
                    <p:cTn fill="hold" id="3">
                      <p:stCondLst>
                        <p:cond delay="indefinite"/>
                      </p:stCondLst>
                      <p:childTnLst>
                        <p:par>
                          <p:cTn fill="hold" id="4">
                            <p:stCondLst>
                              <p:cond delay="0"/>
                            </p:stCondLst>
                            <p:childTnLst>
                              <p:par>
                                <p:cTn fill="hold" grpId="0" id="5" nodeType="clickEffect" presetClass="entr" presetID="3" presetSubtype="10">
                                  <p:stCondLst>
                                    <p:cond delay="0"/>
                                  </p:stCondLst>
                                  <p:childTnLst>
                                    <p:set>
                                      <p:cBhvr>
                                        <p:cTn dur="1" fill="hold" id="6">
                                          <p:stCondLst>
                                            <p:cond delay="0"/>
                                          </p:stCondLst>
                                        </p:cTn>
                                        <p:tgtEl>
                                          <p:spTgt spid="5"/>
                                        </p:tgtEl>
                                        <p:attrNameLst>
                                          <p:attrName>style.visibility</p:attrName>
                                        </p:attrNameLst>
                                      </p:cBhvr>
                                      <p:to>
                                        <p:strVal val="visible"/>
                                      </p:to>
                                    </p:set>
                                    <p:animEffect filter="blinds(horizontal)" transition="in">
                                      <p:cBhvr>
                                        <p:cTn dur="500" id="7"/>
                                        <p:tgtEl>
                                          <p:spTgt spid="5"/>
                                        </p:tgtEl>
                                      </p:cBhvr>
                                    </p:animEffect>
                                  </p:childTnLst>
                                </p:cTn>
                              </p:par>
                            </p:childTnLst>
                          </p:cTn>
                        </p:par>
                      </p:childTnLst>
                    </p:cTn>
                  </p:par>
                  <p:par>
                    <p:cTn fill="hold" id="8">
                      <p:stCondLst>
                        <p:cond delay="indefinite"/>
                      </p:stCondLst>
                      <p:childTnLst>
                        <p:par>
                          <p:cTn fill="hold" id="9">
                            <p:stCondLst>
                              <p:cond delay="0"/>
                            </p:stCondLst>
                            <p:childTnLst>
                              <p:par>
                                <p:cTn fill="hold" id="10" nodeType="clickEffect" presetClass="entr" presetID="5" presetSubtype="10">
                                  <p:stCondLst>
                                    <p:cond delay="0"/>
                                  </p:stCondLst>
                                  <p:childTnLst>
                                    <p:set>
                                      <p:cBhvr>
                                        <p:cTn dur="1" fill="hold" id="11">
                                          <p:stCondLst>
                                            <p:cond delay="0"/>
                                          </p:stCondLst>
                                        </p:cTn>
                                        <p:tgtEl>
                                          <p:spTgt spid="7"/>
                                        </p:tgtEl>
                                        <p:attrNameLst>
                                          <p:attrName>style.visibility</p:attrName>
                                        </p:attrNameLst>
                                      </p:cBhvr>
                                      <p:to>
                                        <p:strVal val="visible"/>
                                      </p:to>
                                    </p:set>
                                    <p:animEffect filter="checkerboard(across)" transition="in">
                                      <p:cBhvr>
                                        <p:cTn dur="500" id="12"/>
                                        <p:tgtEl>
                                          <p:spTgt spid="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animBg="1" grpId="0" spid="5"/>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94B87D-9EA8-F240-9B18-37001828EAC0}"/>
              </a:ext>
            </a:extLst>
          </p:cNvPr>
          <p:cNvSpPr>
            <a:spLocks noGrp="1"/>
          </p:cNvSpPr>
          <p:nvPr>
            <p:ph type="title"/>
          </p:nvPr>
        </p:nvSpPr>
        <p:spPr>
          <a:xfrm>
            <a:off x="809297" y="216686"/>
            <a:ext cx="7556828" cy="1494987"/>
          </a:xfrm>
        </p:spPr>
        <p:txBody>
          <a:bodyPr vert="horz" lIns="91440" tIns="45720" rIns="91440" bIns="45720" rtlCol="0" anchor="b">
            <a:normAutofit/>
          </a:bodyPr>
          <a:lstStyle/>
          <a:p>
            <a:pPr algn="ctr"/>
            <a:r>
              <a:rPr lang="en-GB" b="1" spc="-50" dirty="0">
                <a:solidFill>
                  <a:schemeClr val="accent2">
                    <a:lumMod val="75000"/>
                  </a:schemeClr>
                </a:solidFill>
                <a:latin typeface="Calibri" panose="020F0502020204030204" pitchFamily="34" charset="0"/>
              </a:rPr>
              <a:t>Elements </a:t>
            </a:r>
          </a:p>
        </p:txBody>
      </p:sp>
      <p:graphicFrame>
        <p:nvGraphicFramePr>
          <p:cNvPr id="5" name="Content Placeholder 4">
            <a:extLst>
              <a:ext uri="{FF2B5EF4-FFF2-40B4-BE49-F238E27FC236}">
                <a16:creationId xmlns:a16="http://schemas.microsoft.com/office/drawing/2014/main" id="{07AD8737-BC13-4D41-89F1-F1E99AD988BD}"/>
              </a:ext>
            </a:extLst>
          </p:cNvPr>
          <p:cNvGraphicFramePr>
            <a:graphicFrameLocks noGrp="1"/>
          </p:cNvGraphicFramePr>
          <p:nvPr>
            <p:ph idx="1"/>
          </p:nvPr>
        </p:nvGraphicFramePr>
        <p:xfrm>
          <a:off x="300037" y="2226469"/>
          <a:ext cx="8215313" cy="32813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10306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graphicEl>
                                              <a:dgm id="{6BCDA6E2-319A-7449-B843-CF16F122239B}"/>
                                            </p:graphicEl>
                                          </p:spTgt>
                                        </p:tgtEl>
                                        <p:attrNameLst>
                                          <p:attrName>style.visibility</p:attrName>
                                        </p:attrNameLst>
                                      </p:cBhvr>
                                      <p:to>
                                        <p:strVal val="visible"/>
                                      </p:to>
                                    </p:set>
                                    <p:animEffect transition="in" filter="blinds(horizontal)">
                                      <p:cBhvr>
                                        <p:cTn id="7" dur="500"/>
                                        <p:tgtEl>
                                          <p:spTgt spid="5">
                                            <p:graphicEl>
                                              <a:dgm id="{6BCDA6E2-319A-7449-B843-CF16F122239B}"/>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5">
                                            <p:graphicEl>
                                              <a:dgm id="{A8F0D2E1-3704-1D41-9FE0-45A1FC599550}"/>
                                            </p:graphicEl>
                                          </p:spTgt>
                                        </p:tgtEl>
                                        <p:attrNameLst>
                                          <p:attrName>style.visibility</p:attrName>
                                        </p:attrNameLst>
                                      </p:cBhvr>
                                      <p:to>
                                        <p:strVal val="visible"/>
                                      </p:to>
                                    </p:set>
                                    <p:animEffect transition="in" filter="blinds(horizontal)">
                                      <p:cBhvr>
                                        <p:cTn id="12" dur="500"/>
                                        <p:tgtEl>
                                          <p:spTgt spid="5">
                                            <p:graphicEl>
                                              <a:dgm id="{A8F0D2E1-3704-1D41-9FE0-45A1FC599550}"/>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5">
                                            <p:graphicEl>
                                              <a:dgm id="{53D5E42E-6AC3-7C4B-9A23-7138331F7B61}"/>
                                            </p:graphicEl>
                                          </p:spTgt>
                                        </p:tgtEl>
                                        <p:attrNameLst>
                                          <p:attrName>style.visibility</p:attrName>
                                        </p:attrNameLst>
                                      </p:cBhvr>
                                      <p:to>
                                        <p:strVal val="visible"/>
                                      </p:to>
                                    </p:set>
                                    <p:animEffect transition="in" filter="blinds(horizontal)">
                                      <p:cBhvr>
                                        <p:cTn id="17" dur="500"/>
                                        <p:tgtEl>
                                          <p:spTgt spid="5">
                                            <p:graphicEl>
                                              <a:dgm id="{53D5E42E-6AC3-7C4B-9A23-7138331F7B61}"/>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5">
                                            <p:graphicEl>
                                              <a:dgm id="{C12E53DF-0C6F-6547-84FB-7BCA83FC297B}"/>
                                            </p:graphicEl>
                                          </p:spTgt>
                                        </p:tgtEl>
                                        <p:attrNameLst>
                                          <p:attrName>style.visibility</p:attrName>
                                        </p:attrNameLst>
                                      </p:cBhvr>
                                      <p:to>
                                        <p:strVal val="visible"/>
                                      </p:to>
                                    </p:set>
                                    <p:animEffect transition="in" filter="blinds(horizontal)">
                                      <p:cBhvr>
                                        <p:cTn id="22" dur="500"/>
                                        <p:tgtEl>
                                          <p:spTgt spid="5">
                                            <p:graphicEl>
                                              <a:dgm id="{C12E53DF-0C6F-6547-84FB-7BCA83FC297B}"/>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5">
                                            <p:graphicEl>
                                              <a:dgm id="{BDA0EC41-D7E9-FC45-9652-2A4CA3256E2A}"/>
                                            </p:graphicEl>
                                          </p:spTgt>
                                        </p:tgtEl>
                                        <p:attrNameLst>
                                          <p:attrName>style.visibility</p:attrName>
                                        </p:attrNameLst>
                                      </p:cBhvr>
                                      <p:to>
                                        <p:strVal val="visible"/>
                                      </p:to>
                                    </p:set>
                                    <p:animEffect transition="in" filter="blinds(horizontal)">
                                      <p:cBhvr>
                                        <p:cTn id="27" dur="500"/>
                                        <p:tgtEl>
                                          <p:spTgt spid="5">
                                            <p:graphicEl>
                                              <a:dgm id="{BDA0EC41-D7E9-FC45-9652-2A4CA3256E2A}"/>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5">
                                            <p:graphicEl>
                                              <a:dgm id="{EB7CBDA6-F89E-DE46-AE82-41EAE056E984}"/>
                                            </p:graphicEl>
                                          </p:spTgt>
                                        </p:tgtEl>
                                        <p:attrNameLst>
                                          <p:attrName>style.visibility</p:attrName>
                                        </p:attrNameLst>
                                      </p:cBhvr>
                                      <p:to>
                                        <p:strVal val="visible"/>
                                      </p:to>
                                    </p:set>
                                    <p:animEffect transition="in" filter="blinds(horizontal)">
                                      <p:cBhvr>
                                        <p:cTn id="32" dur="500"/>
                                        <p:tgtEl>
                                          <p:spTgt spid="5">
                                            <p:graphicEl>
                                              <a:dgm id="{EB7CBDA6-F89E-DE46-AE82-41EAE056E984}"/>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276600" y="2800350"/>
            <a:ext cx="5638800" cy="1257300"/>
          </a:xfrm>
        </p:spPr>
        <p:txBody>
          <a:bodyPr rtlCol="0" anchor="ctr">
            <a:noAutofit/>
          </a:bodyPr>
          <a:lstStyle/>
          <a:p>
            <a:pPr marL="0" indent="0" algn="ctr"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latin typeface="Calibri" panose="020F0502020204030204" pitchFamily="34" charset="0"/>
              </a:rPr>
              <a:t>Periodic Assessments and Audit formats</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dirty="0">
              <a:solidFill>
                <a:schemeClr val="accent2">
                  <a:lumMod val="75000"/>
                </a:schemeClr>
              </a:solidFill>
              <a:latin typeface="Calibri" panose="020F0502020204030204" pitchFamily="34" charset="0"/>
            </a:endParaRPr>
          </a:p>
        </p:txBody>
      </p:sp>
    </p:spTree>
    <p:extLst>
      <p:ext uri="{BB962C8B-B14F-4D97-AF65-F5344CB8AC3E}">
        <p14:creationId xmlns:p14="http://schemas.microsoft.com/office/powerpoint/2010/main" val="20050146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CD06F-0755-3F4D-98CC-597377311D74}"/>
              </a:ext>
            </a:extLst>
          </p:cNvPr>
          <p:cNvSpPr>
            <a:spLocks noGrp="1"/>
          </p:cNvSpPr>
          <p:nvPr>
            <p:ph type="title"/>
          </p:nvPr>
        </p:nvSpPr>
        <p:spPr>
          <a:xfrm>
            <a:off x="838200" y="941488"/>
            <a:ext cx="7467600" cy="781812"/>
          </a:xfrm>
        </p:spPr>
        <p:txBody>
          <a:bodyPr vert="horz" lIns="91440" tIns="45720" rIns="91440" bIns="45720" rtlCol="0" anchor="b">
            <a:normAutofit/>
          </a:bodyPr>
          <a:lstStyle/>
          <a:p>
            <a:pPr algn="ctr"/>
            <a:r>
              <a:rPr lang="en-GB" b="1" spc="-50" dirty="0">
                <a:solidFill>
                  <a:schemeClr val="accent2">
                    <a:lumMod val="75000"/>
                  </a:schemeClr>
                </a:solidFill>
                <a:latin typeface="Calibri" panose="020F0502020204030204" pitchFamily="34" charset="0"/>
              </a:rPr>
              <a:t>Audit Interval </a:t>
            </a:r>
          </a:p>
        </p:txBody>
      </p:sp>
      <p:sp>
        <p:nvSpPr>
          <p:cNvPr id="3" name="Content Placeholder 2">
            <a:extLst>
              <a:ext uri="{FF2B5EF4-FFF2-40B4-BE49-F238E27FC236}">
                <a16:creationId xmlns:a16="http://schemas.microsoft.com/office/drawing/2014/main" id="{5699A5CB-1681-0145-BFE8-D226EB503B6F}"/>
              </a:ext>
            </a:extLst>
          </p:cNvPr>
          <p:cNvSpPr>
            <a:spLocks noGrp="1"/>
          </p:cNvSpPr>
          <p:nvPr>
            <p:ph idx="1"/>
          </p:nvPr>
        </p:nvSpPr>
        <p:spPr>
          <a:xfrm>
            <a:off x="1036252" y="2528089"/>
            <a:ext cx="1556458" cy="3101236"/>
          </a:xfrm>
        </p:spPr>
        <p:txBody>
          <a:bodyPr/>
          <a:lstStyle/>
          <a:p>
            <a:pPr>
              <a:lnSpc>
                <a:spcPct val="200000"/>
              </a:lnSpc>
            </a:pPr>
            <a:r>
              <a:rPr lang="en-GB" sz="1600" dirty="0">
                <a:latin typeface="Calibri" panose="020F0502020204030204" pitchFamily="34" charset="0"/>
              </a:rPr>
              <a:t>Daily </a:t>
            </a:r>
          </a:p>
          <a:p>
            <a:pPr>
              <a:lnSpc>
                <a:spcPct val="200000"/>
              </a:lnSpc>
            </a:pPr>
            <a:r>
              <a:rPr lang="en-GB" sz="1600" dirty="0">
                <a:latin typeface="Calibri" panose="020F0502020204030204" pitchFamily="34" charset="0"/>
              </a:rPr>
              <a:t>Weekly </a:t>
            </a:r>
          </a:p>
          <a:p>
            <a:pPr>
              <a:lnSpc>
                <a:spcPct val="200000"/>
              </a:lnSpc>
            </a:pPr>
            <a:r>
              <a:rPr lang="en-GB" sz="1600" dirty="0">
                <a:latin typeface="Calibri" panose="020F0502020204030204" pitchFamily="34" charset="0"/>
              </a:rPr>
              <a:t>Monthly </a:t>
            </a:r>
          </a:p>
          <a:p>
            <a:pPr>
              <a:lnSpc>
                <a:spcPct val="200000"/>
              </a:lnSpc>
            </a:pPr>
            <a:r>
              <a:rPr lang="en-GB" sz="1600" dirty="0">
                <a:latin typeface="Calibri" panose="020F0502020204030204" pitchFamily="34" charset="0"/>
              </a:rPr>
              <a:t>Yearly </a:t>
            </a:r>
          </a:p>
        </p:txBody>
      </p:sp>
      <p:grpSp>
        <p:nvGrpSpPr>
          <p:cNvPr id="10" name="Group 9">
            <a:extLst>
              <a:ext uri="{FF2B5EF4-FFF2-40B4-BE49-F238E27FC236}">
                <a16:creationId xmlns:a16="http://schemas.microsoft.com/office/drawing/2014/main" id="{716EA2BF-06A2-5845-86F1-197ADDF92409}"/>
              </a:ext>
            </a:extLst>
          </p:cNvPr>
          <p:cNvGrpSpPr/>
          <p:nvPr/>
        </p:nvGrpSpPr>
        <p:grpSpPr>
          <a:xfrm>
            <a:off x="2743200" y="2468411"/>
            <a:ext cx="5873102" cy="3160913"/>
            <a:chOff x="2514600" y="1589834"/>
            <a:chExt cx="9571354" cy="4822920"/>
          </a:xfrm>
        </p:grpSpPr>
        <p:pic>
          <p:nvPicPr>
            <p:cNvPr id="7" name="Picture 6" descr="Graphical user interface&#10;&#10;Description automatically generated with medium confidence">
              <a:extLst>
                <a:ext uri="{FF2B5EF4-FFF2-40B4-BE49-F238E27FC236}">
                  <a16:creationId xmlns:a16="http://schemas.microsoft.com/office/drawing/2014/main" id="{B52F7720-2C97-0949-9FB5-4D04A29A4A6C}"/>
                </a:ext>
              </a:extLst>
            </p:cNvPr>
            <p:cNvPicPr>
              <a:picLocks noChangeAspect="1"/>
            </p:cNvPicPr>
            <p:nvPr/>
          </p:nvPicPr>
          <p:blipFill>
            <a:blip r:embed="rId2">
              <a:duotone>
                <a:schemeClr val="accent2">
                  <a:shade val="45000"/>
                  <a:satMod val="135000"/>
                </a:schemeClr>
                <a:prstClr val="white"/>
              </a:duotone>
            </a:blip>
            <a:stretch>
              <a:fillRect/>
            </a:stretch>
          </p:blipFill>
          <p:spPr>
            <a:xfrm>
              <a:off x="2514600" y="1589834"/>
              <a:ext cx="9571354" cy="4822920"/>
            </a:xfrm>
            <a:prstGeom prst="rect">
              <a:avLst/>
            </a:prstGeom>
          </p:spPr>
        </p:pic>
        <p:sp>
          <p:nvSpPr>
            <p:cNvPr id="8" name="TextBox 7">
              <a:extLst>
                <a:ext uri="{FF2B5EF4-FFF2-40B4-BE49-F238E27FC236}">
                  <a16:creationId xmlns:a16="http://schemas.microsoft.com/office/drawing/2014/main" id="{4ECE9949-2776-9746-BBA1-9D3B70A2A226}"/>
                </a:ext>
              </a:extLst>
            </p:cNvPr>
            <p:cNvSpPr txBox="1"/>
            <p:nvPr/>
          </p:nvSpPr>
          <p:spPr>
            <a:xfrm>
              <a:off x="10338105" y="1910610"/>
              <a:ext cx="1502597" cy="49308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r>
                <a:rPr lang="en-GB" sz="1500" dirty="0"/>
                <a:t>Cylinder </a:t>
              </a:r>
            </a:p>
          </p:txBody>
        </p:sp>
      </p:grpSp>
      <p:sp>
        <p:nvSpPr>
          <p:cNvPr id="9" name="Content Placeholder 2">
            <a:extLst>
              <a:ext uri="{FF2B5EF4-FFF2-40B4-BE49-F238E27FC236}">
                <a16:creationId xmlns:a16="http://schemas.microsoft.com/office/drawing/2014/main" id="{2E3C52F2-2829-FA4B-81AC-36E1D2FA8B19}"/>
              </a:ext>
            </a:extLst>
          </p:cNvPr>
          <p:cNvSpPr txBox="1">
            <a:spLocks/>
          </p:cNvSpPr>
          <p:nvPr/>
        </p:nvSpPr>
        <p:spPr>
          <a:xfrm>
            <a:off x="838200" y="2086366"/>
            <a:ext cx="7627612" cy="441722"/>
          </a:xfrm>
          <a:prstGeom prst="rect">
            <a:avLst/>
          </a:prstGeom>
          <a:solidFill>
            <a:schemeClr val="accent2">
              <a:lumMod val="75000"/>
            </a:schemeClr>
          </a:solidFill>
        </p:spPr>
        <p:style>
          <a:lnRef idx="3">
            <a:schemeClr val="lt1"/>
          </a:lnRef>
          <a:fillRef idx="1">
            <a:schemeClr val="accent5"/>
          </a:fillRef>
          <a:effectRef idx="1">
            <a:schemeClr val="accent5"/>
          </a:effectRef>
          <a:fontRef idx="minor">
            <a:schemeClr val="lt1"/>
          </a:fontRef>
        </p:style>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None/>
            </a:pPr>
            <a:r>
              <a:rPr lang="en-GB" sz="2000" dirty="0">
                <a:latin typeface="Calibri" panose="020F0502020204030204" pitchFamily="34" charset="0"/>
              </a:rPr>
              <a:t>Facility/Safety Equipment /Wastage /Demand &amp; Supply /Cost </a:t>
            </a:r>
          </a:p>
        </p:txBody>
      </p:sp>
    </p:spTree>
    <p:extLst>
      <p:ext uri="{BB962C8B-B14F-4D97-AF65-F5344CB8AC3E}">
        <p14:creationId xmlns:p14="http://schemas.microsoft.com/office/powerpoint/2010/main" val="953456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linds(horizont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linds(horizontal)">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453D279E-EABA-3048-BA80-4B97E0DD849E}"/>
              </a:ext>
            </a:extLst>
          </p:cNvPr>
          <p:cNvPicPr>
            <a:picLocks noChangeAspect="1"/>
          </p:cNvPicPr>
          <p:nvPr/>
        </p:nvPicPr>
        <p:blipFill>
          <a:blip r:embed="rId2"/>
          <a:stretch>
            <a:fillRect/>
          </a:stretch>
        </p:blipFill>
        <p:spPr>
          <a:xfrm>
            <a:off x="838200" y="383627"/>
            <a:ext cx="7696200" cy="5882676"/>
          </a:xfrm>
          <a:prstGeom prst="rect">
            <a:avLst/>
          </a:prstGeom>
        </p:spPr>
      </p:pic>
    </p:spTree>
    <p:extLst>
      <p:ext uri="{BB962C8B-B14F-4D97-AF65-F5344CB8AC3E}">
        <p14:creationId xmlns:p14="http://schemas.microsoft.com/office/powerpoint/2010/main" val="338434670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AC389049-CEAA-EA4E-B1DE-4D6F3DA8AC1B}"/>
              </a:ext>
            </a:extLst>
          </p:cNvPr>
          <p:cNvPicPr>
            <a:picLocks noChangeAspect="1"/>
          </p:cNvPicPr>
          <p:nvPr/>
        </p:nvPicPr>
        <p:blipFill>
          <a:blip r:embed="rId2"/>
          <a:stretch>
            <a:fillRect/>
          </a:stretch>
        </p:blipFill>
        <p:spPr>
          <a:xfrm>
            <a:off x="567558" y="1176293"/>
            <a:ext cx="7890641" cy="4275817"/>
          </a:xfrm>
          <a:prstGeom prst="rect">
            <a:avLst/>
          </a:prstGeom>
        </p:spPr>
      </p:pic>
    </p:spTree>
    <p:extLst>
      <p:ext uri="{BB962C8B-B14F-4D97-AF65-F5344CB8AC3E}">
        <p14:creationId xmlns:p14="http://schemas.microsoft.com/office/powerpoint/2010/main" val="115939336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907D2709-5408-9241-9CF8-8375EBCA05A7}"/>
              </a:ext>
            </a:extLst>
          </p:cNvPr>
          <p:cNvPicPr>
            <a:picLocks noChangeAspect="1"/>
          </p:cNvPicPr>
          <p:nvPr/>
        </p:nvPicPr>
        <p:blipFill>
          <a:blip r:embed="rId2"/>
          <a:stretch>
            <a:fillRect/>
          </a:stretch>
        </p:blipFill>
        <p:spPr>
          <a:xfrm>
            <a:off x="838200" y="533400"/>
            <a:ext cx="7620000" cy="5768810"/>
          </a:xfrm>
          <a:prstGeom prst="rect">
            <a:avLst/>
          </a:prstGeom>
        </p:spPr>
      </p:pic>
    </p:spTree>
    <p:extLst>
      <p:ext uri="{BB962C8B-B14F-4D97-AF65-F5344CB8AC3E}">
        <p14:creationId xmlns:p14="http://schemas.microsoft.com/office/powerpoint/2010/main" val="2706872841"/>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6FED9DA9-C495-DA4A-AB28-38D2FC34F20C}"/>
              </a:ext>
            </a:extLst>
          </p:cNvPr>
          <p:cNvPicPr>
            <a:picLocks noChangeAspect="1"/>
          </p:cNvPicPr>
          <p:nvPr/>
        </p:nvPicPr>
        <p:blipFill>
          <a:blip r:embed="rId2"/>
          <a:stretch>
            <a:fillRect/>
          </a:stretch>
        </p:blipFill>
        <p:spPr>
          <a:xfrm>
            <a:off x="556801" y="762000"/>
            <a:ext cx="8031740" cy="4758690"/>
          </a:xfrm>
          <a:prstGeom prst="rect">
            <a:avLst/>
          </a:prstGeom>
        </p:spPr>
      </p:pic>
    </p:spTree>
    <p:extLst>
      <p:ext uri="{BB962C8B-B14F-4D97-AF65-F5344CB8AC3E}">
        <p14:creationId xmlns:p14="http://schemas.microsoft.com/office/powerpoint/2010/main" val="383346423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D8058445-8180-F545-A7F8-9976CD9DB50B}"/>
              </a:ext>
            </a:extLst>
          </p:cNvPr>
          <p:cNvPicPr>
            <a:picLocks noChangeAspect="1"/>
          </p:cNvPicPr>
          <p:nvPr/>
        </p:nvPicPr>
        <p:blipFill>
          <a:blip r:embed="rId2"/>
          <a:stretch>
            <a:fillRect/>
          </a:stretch>
        </p:blipFill>
        <p:spPr>
          <a:xfrm>
            <a:off x="733882" y="762000"/>
            <a:ext cx="7676235" cy="5001406"/>
          </a:xfrm>
          <a:prstGeom prst="rect">
            <a:avLst/>
          </a:prstGeom>
        </p:spPr>
      </p:pic>
    </p:spTree>
    <p:extLst>
      <p:ext uri="{BB962C8B-B14F-4D97-AF65-F5344CB8AC3E}">
        <p14:creationId xmlns:p14="http://schemas.microsoft.com/office/powerpoint/2010/main" val="3842602486"/>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0EAD3FDB-7EDB-F549-BF9E-5C155E334542}"/>
              </a:ext>
            </a:extLst>
          </p:cNvPr>
          <p:cNvPicPr>
            <a:picLocks noChangeAspect="1"/>
          </p:cNvPicPr>
          <p:nvPr/>
        </p:nvPicPr>
        <p:blipFill>
          <a:blip r:embed="rId2"/>
          <a:stretch>
            <a:fillRect/>
          </a:stretch>
        </p:blipFill>
        <p:spPr>
          <a:xfrm>
            <a:off x="838200" y="304800"/>
            <a:ext cx="7848600" cy="5867617"/>
          </a:xfrm>
          <a:prstGeom prst="rect">
            <a:avLst/>
          </a:prstGeom>
        </p:spPr>
      </p:pic>
    </p:spTree>
    <p:extLst>
      <p:ext uri="{BB962C8B-B14F-4D97-AF65-F5344CB8AC3E}">
        <p14:creationId xmlns:p14="http://schemas.microsoft.com/office/powerpoint/2010/main" val="4123293725"/>
      </p:ext>
    </p:extLst>
  </p:cSld>
  <p:clrMapOvr>
    <a:masterClrMapping/>
  </p:clrMapOvr>
</p:sld>
</file>

<file path=ppt/slides/slide12.xml><?xml version="1.0" encoding="utf-8"?>
<p:sld xmlns:p="http://schemas.openxmlformats.org/presentationml/2006/main" xmlns:a="http://schemas.openxmlformats.org/drawingml/2006/main" xmlns:r="http://schemas.openxmlformats.org/officeDocument/2006/relationships">
  <p:cSld>
    <p:spTree>
      <p:nvGrpSpPr>
        <p:cNvPr id="1" name="Shape 583"/>
        <p:cNvGrpSpPr/>
        <p:nvPr/>
      </p:nvGrpSpPr>
      <p:grpSpPr>
        <a:xfrm>
          <a:off x="0" y="0"/>
          <a:ext cx="0" cy="0"/>
          <a:chOff x="0" y="0"/>
          <a:chExt cx="0" cy="0"/>
        </a:xfrm>
      </p:grpSpPr>
      <p:sp>
        <p:nvSpPr>
          <p:cNvPr id="584" name="Google Shape;584;ge9eb37db0a_0_25"/>
          <p:cNvSpPr txBox="1"/>
          <p:nvPr/>
        </p:nvSpPr>
        <p:spPr>
          <a:xfrm>
            <a:off x="914400" y="724185"/>
            <a:ext cx="7543800" cy="978931"/>
          </a:xfrm>
          <a:prstGeom prst="rect">
            <a:avLst/>
          </a:prstGeom>
          <a:noFill/>
          <a:ln>
            <a:noFill/>
          </a:ln>
        </p:spPr>
        <p:txBody>
          <a:bodyPr anchor="b" anchorCtr="0" bIns="0" lIns="0" rIns="0" spcFirstLastPara="1" tIns="0" wrap="square">
            <a:noAutofit/>
          </a:bodyPr>
          <a:lstStyle/>
          <a:p>
            <a:pPr algn="ctr" defTabSz="685800">
              <a:lnSpc>
                <a:spcPct val="85000"/>
              </a:lnSpc>
              <a:buClr>
                <a:schemeClr val="accent1"/>
              </a:buClr>
              <a:buSzPts val="3200"/>
            </a:pPr>
            <a:r>
              <a:rPr b="1" dirty="0" lang="en-US" spc="-50" sz="3600">
                <a:solidFill>
                  <a:schemeClr val="accent2">
                    <a:lumMod val="75000"/>
                  </a:schemeClr>
                </a:solidFill>
                <a:latin typeface="+mn-lt"/>
                <a:ea typeface="+mj-ea"/>
                <a:cs typeface="+mj-cs"/>
              </a:rPr>
              <a:t>Indications For Oxygen Therapy</a:t>
            </a:r>
            <a:endParaRPr b="1" dirty="0" lang="en-US" spc="-50" sz="3600">
              <a:solidFill>
                <a:schemeClr val="accent2">
                  <a:lumMod val="75000"/>
                </a:schemeClr>
              </a:solidFill>
              <a:latin typeface="+mn-lt"/>
              <a:ea typeface="+mj-ea"/>
              <a:cs typeface="+mj-cs"/>
              <a:sym typeface="Arial"/>
            </a:endParaRPr>
          </a:p>
        </p:txBody>
      </p:sp>
      <p:sp>
        <p:nvSpPr>
          <p:cNvPr id="3" name="TextBox 2">
            <a:extLst>
              <a:ext uri="{FF2B5EF4-FFF2-40B4-BE49-F238E27FC236}">
                <a16:creationId xmlns:a16="http://schemas.microsoft.com/office/drawing/2014/main" id="{BF95C8E6-E20C-4855-A6A8-39B00BAE0174}"/>
              </a:ext>
            </a:extLst>
          </p:cNvPr>
          <p:cNvSpPr txBox="1"/>
          <p:nvPr/>
        </p:nvSpPr>
        <p:spPr>
          <a:xfrm>
            <a:off x="5155349" y="2872327"/>
            <a:ext cx="3562422" cy="1750929"/>
          </a:xfrm>
          <a:prstGeom prst="rect">
            <a:avLst/>
          </a:prstGeom>
          <a:noFill/>
        </p:spPr>
        <p:txBody>
          <a:bodyPr rtlCol="0" wrap="square">
            <a:spAutoFit/>
          </a:bodyPr>
          <a:lstStyle/>
          <a:p>
            <a:pPr eaLnBrk="1" hangingPunct="1" lvl="1">
              <a:lnSpc>
                <a:spcPct val="200000"/>
              </a:lnSpc>
              <a:buClr>
                <a:schemeClr val="bg2"/>
              </a:buClr>
              <a:buSzPct val="100000"/>
            </a:pPr>
            <a:endParaRPr altLang="ar-SA" dirty="0" lang="en-US" sz="1400">
              <a:solidFill>
                <a:schemeClr val="bg2"/>
              </a:solidFill>
              <a:latin typeface="+mn-lt"/>
              <a:cs charset="0" panose="020B0604020202020204" pitchFamily="34" typeface="Arial"/>
            </a:endParaRPr>
          </a:p>
          <a:p>
            <a:pPr eaLnBrk="1" hangingPunct="1" lvl="1">
              <a:lnSpc>
                <a:spcPct val="200000"/>
              </a:lnSpc>
              <a:buClr>
                <a:schemeClr val="bg2"/>
              </a:buClr>
              <a:buSzPct val="100000"/>
            </a:pPr>
            <a:endParaRPr altLang="ar-SA" dirty="0" lang="en-US" sz="1400">
              <a:solidFill>
                <a:schemeClr val="bg2"/>
              </a:solidFill>
              <a:latin typeface="+mn-lt"/>
              <a:cs charset="0" panose="020B0604020202020204" pitchFamily="34" typeface="Arial"/>
            </a:endParaRPr>
          </a:p>
          <a:p>
            <a:pPr eaLnBrk="1" hangingPunct="1" lvl="1">
              <a:lnSpc>
                <a:spcPct val="200000"/>
              </a:lnSpc>
              <a:buClr>
                <a:schemeClr val="bg2"/>
              </a:buClr>
              <a:buSzPct val="100000"/>
            </a:pPr>
            <a:endParaRPr altLang="ar-SA" dirty="0" lang="en-US" sz="1400">
              <a:solidFill>
                <a:schemeClr val="bg2"/>
              </a:solidFill>
              <a:latin typeface="+mn-lt"/>
              <a:cs charset="0" panose="020B0604020202020204" pitchFamily="34" typeface="Arial"/>
            </a:endParaRPr>
          </a:p>
          <a:p>
            <a:pPr>
              <a:lnSpc>
                <a:spcPct val="200000"/>
              </a:lnSpc>
            </a:pPr>
            <a:endParaRPr dirty="0" lang="en-IN" sz="1400">
              <a:latin typeface="+mn-lt"/>
            </a:endParaRPr>
          </a:p>
        </p:txBody>
      </p:sp>
      <p:pic>
        <p:nvPicPr>
          <p:cNvPr id="9" name="Picture 8">
            <a:extLst>
              <a:ext uri="{FF2B5EF4-FFF2-40B4-BE49-F238E27FC236}">
                <a16:creationId xmlns:a16="http://schemas.microsoft.com/office/drawing/2014/main" id="{3D146CF1-2EFD-43D4-9750-9050FACA3E7E}"/>
              </a:ext>
            </a:extLst>
          </p:cNvPr>
          <p:cNvPicPr>
            <a:picLocks noChangeAspect="1"/>
          </p:cNvPicPr>
          <p:nvPr/>
        </p:nvPicPr>
        <p:blipFill rotWithShape="1">
          <a:blip r:embed="rId3"/>
          <a:srcRect b="41"/>
          <a:stretch/>
        </p:blipFill>
        <p:spPr>
          <a:xfrm>
            <a:off x="568771" y="2447063"/>
            <a:ext cx="559131" cy="605188"/>
          </a:xfrm>
          <a:prstGeom prst="rect">
            <a:avLst/>
          </a:prstGeom>
        </p:spPr>
      </p:pic>
      <p:pic>
        <p:nvPicPr>
          <p:cNvPr id="7" name="Picture 6">
            <a:extLst>
              <a:ext uri="{FF2B5EF4-FFF2-40B4-BE49-F238E27FC236}">
                <a16:creationId xmlns:a16="http://schemas.microsoft.com/office/drawing/2014/main" id="{9DF72FF4-1ECE-4A7B-A06B-77F3EB80F15B}"/>
              </a:ext>
            </a:extLst>
          </p:cNvPr>
          <p:cNvPicPr>
            <a:picLocks noChangeAspect="1"/>
          </p:cNvPicPr>
          <p:nvPr/>
        </p:nvPicPr>
        <p:blipFill rotWithShape="1">
          <a:blip r:embed="rId4"/>
          <a:srcRect b="-38"/>
          <a:stretch/>
        </p:blipFill>
        <p:spPr>
          <a:xfrm>
            <a:off x="568771" y="3664522"/>
            <a:ext cx="567969" cy="605188"/>
          </a:xfrm>
          <a:prstGeom prst="rect">
            <a:avLst/>
          </a:prstGeom>
        </p:spPr>
      </p:pic>
      <p:pic>
        <p:nvPicPr>
          <p:cNvPr id="10" name="Picture 9">
            <a:extLst>
              <a:ext uri="{FF2B5EF4-FFF2-40B4-BE49-F238E27FC236}">
                <a16:creationId xmlns:a16="http://schemas.microsoft.com/office/drawing/2014/main" id="{E014ED7A-F41F-4898-8F0C-DDF52F2629BE}"/>
              </a:ext>
            </a:extLst>
          </p:cNvPr>
          <p:cNvPicPr>
            <a:picLocks noChangeAspect="1"/>
          </p:cNvPicPr>
          <p:nvPr/>
        </p:nvPicPr>
        <p:blipFill rotWithShape="1">
          <a:blip r:embed="rId5"/>
          <a:srcRect b="-9"/>
          <a:stretch/>
        </p:blipFill>
        <p:spPr>
          <a:xfrm>
            <a:off x="564352" y="4518228"/>
            <a:ext cx="567969" cy="605190"/>
          </a:xfrm>
          <a:prstGeom prst="rect">
            <a:avLst/>
          </a:prstGeom>
        </p:spPr>
      </p:pic>
      <p:pic>
        <p:nvPicPr>
          <p:cNvPr id="12" name="Picture 11">
            <a:extLst>
              <a:ext uri="{FF2B5EF4-FFF2-40B4-BE49-F238E27FC236}">
                <a16:creationId xmlns:a16="http://schemas.microsoft.com/office/drawing/2014/main" id="{4C2A8FF1-B26B-4B6D-A84E-C96FD5D4EEAE}"/>
              </a:ext>
            </a:extLst>
          </p:cNvPr>
          <p:cNvPicPr>
            <a:picLocks noChangeAspect="1"/>
          </p:cNvPicPr>
          <p:nvPr/>
        </p:nvPicPr>
        <p:blipFill rotWithShape="1">
          <a:blip r:embed="rId6"/>
          <a:srcRect b="71"/>
          <a:stretch/>
        </p:blipFill>
        <p:spPr>
          <a:xfrm>
            <a:off x="606836" y="5270932"/>
            <a:ext cx="567969" cy="599511"/>
          </a:xfrm>
          <a:prstGeom prst="rect">
            <a:avLst/>
          </a:prstGeom>
        </p:spPr>
      </p:pic>
      <p:pic>
        <p:nvPicPr>
          <p:cNvPr id="14" name="Picture 13">
            <a:extLst>
              <a:ext uri="{FF2B5EF4-FFF2-40B4-BE49-F238E27FC236}">
                <a16:creationId xmlns:a16="http://schemas.microsoft.com/office/drawing/2014/main" id="{3005F7D6-C0A0-4E4D-B30C-D5A22797D21C}"/>
              </a:ext>
            </a:extLst>
          </p:cNvPr>
          <p:cNvPicPr>
            <a:picLocks noChangeAspect="1"/>
          </p:cNvPicPr>
          <p:nvPr/>
        </p:nvPicPr>
        <p:blipFill rotWithShape="1">
          <a:blip r:embed="rId7"/>
          <a:srcRect b="58" r="29"/>
          <a:stretch/>
        </p:blipFill>
        <p:spPr>
          <a:xfrm>
            <a:off x="4657117" y="1945459"/>
            <a:ext cx="567969" cy="599511"/>
          </a:xfrm>
          <a:prstGeom prst="rect">
            <a:avLst/>
          </a:prstGeom>
        </p:spPr>
      </p:pic>
      <p:pic>
        <p:nvPicPr>
          <p:cNvPr id="16" name="Picture 15">
            <a:extLst>
              <a:ext uri="{FF2B5EF4-FFF2-40B4-BE49-F238E27FC236}">
                <a16:creationId xmlns:a16="http://schemas.microsoft.com/office/drawing/2014/main" id="{B1894D12-1A2A-4ECE-B075-8F6CC055CDF4}"/>
              </a:ext>
            </a:extLst>
          </p:cNvPr>
          <p:cNvPicPr>
            <a:picLocks noChangeAspect="1"/>
          </p:cNvPicPr>
          <p:nvPr/>
        </p:nvPicPr>
        <p:blipFill rotWithShape="1">
          <a:blip r:embed="rId8"/>
          <a:srcRect b="59"/>
          <a:stretch/>
        </p:blipFill>
        <p:spPr>
          <a:xfrm>
            <a:off x="4657485" y="2866504"/>
            <a:ext cx="561008" cy="451913"/>
          </a:xfrm>
          <a:prstGeom prst="rect">
            <a:avLst/>
          </a:prstGeom>
        </p:spPr>
      </p:pic>
      <p:pic>
        <p:nvPicPr>
          <p:cNvPr id="23" name="Picture 22">
            <a:extLst>
              <a:ext uri="{FF2B5EF4-FFF2-40B4-BE49-F238E27FC236}">
                <a16:creationId xmlns:a16="http://schemas.microsoft.com/office/drawing/2014/main" id="{131D2CE9-A21D-47DF-824B-222A13BE923C}"/>
              </a:ext>
            </a:extLst>
          </p:cNvPr>
          <p:cNvPicPr>
            <a:picLocks noChangeAspect="1"/>
          </p:cNvPicPr>
          <p:nvPr/>
        </p:nvPicPr>
        <p:blipFill rotWithShape="1">
          <a:blip r:embed="rId9"/>
          <a:srcRect b="71"/>
          <a:stretch/>
        </p:blipFill>
        <p:spPr>
          <a:xfrm>
            <a:off x="4657486" y="3711142"/>
            <a:ext cx="561008" cy="588586"/>
          </a:xfrm>
          <a:prstGeom prst="rect">
            <a:avLst/>
          </a:prstGeom>
        </p:spPr>
      </p:pic>
      <p:pic>
        <p:nvPicPr>
          <p:cNvPr id="30" name="Picture 29">
            <a:extLst>
              <a:ext uri="{FF2B5EF4-FFF2-40B4-BE49-F238E27FC236}">
                <a16:creationId xmlns:a16="http://schemas.microsoft.com/office/drawing/2014/main" id="{B6E5162B-55E4-411C-983B-F6488A2920BF}"/>
              </a:ext>
            </a:extLst>
          </p:cNvPr>
          <p:cNvPicPr>
            <a:picLocks noChangeAspect="1"/>
          </p:cNvPicPr>
          <p:nvPr/>
        </p:nvPicPr>
        <p:blipFill rotWithShape="1">
          <a:blip r:embed="rId10"/>
          <a:srcRect b="71"/>
          <a:stretch/>
        </p:blipFill>
        <p:spPr>
          <a:xfrm>
            <a:off x="4661752" y="4607222"/>
            <a:ext cx="561008" cy="592163"/>
          </a:xfrm>
          <a:prstGeom prst="rect">
            <a:avLst/>
          </a:prstGeom>
        </p:spPr>
      </p:pic>
      <p:pic>
        <p:nvPicPr>
          <p:cNvPr id="576" name="Picture 575">
            <a:extLst>
              <a:ext uri="{FF2B5EF4-FFF2-40B4-BE49-F238E27FC236}">
                <a16:creationId xmlns:a16="http://schemas.microsoft.com/office/drawing/2014/main" id="{393793C5-6EF8-4C7C-A666-BBED0C4BD8D4}"/>
              </a:ext>
            </a:extLst>
          </p:cNvPr>
          <p:cNvPicPr>
            <a:picLocks noChangeAspect="1"/>
          </p:cNvPicPr>
          <p:nvPr/>
        </p:nvPicPr>
        <p:blipFill rotWithShape="1">
          <a:blip r:embed="rId11"/>
          <a:srcRect b="59"/>
          <a:stretch/>
        </p:blipFill>
        <p:spPr>
          <a:xfrm>
            <a:off x="4661753" y="5513622"/>
            <a:ext cx="561008" cy="588586"/>
          </a:xfrm>
          <a:prstGeom prst="rect">
            <a:avLst/>
          </a:prstGeom>
        </p:spPr>
      </p:pic>
      <p:sp>
        <p:nvSpPr>
          <p:cNvPr id="6" name="Rectangle: Rounded Corners 5">
            <a:extLst>
              <a:ext uri="{FF2B5EF4-FFF2-40B4-BE49-F238E27FC236}">
                <a16:creationId xmlns:a16="http://schemas.microsoft.com/office/drawing/2014/main" id="{A1D117B5-9890-41A4-BAF0-1F9C3BAFF804}"/>
              </a:ext>
            </a:extLst>
          </p:cNvPr>
          <p:cNvSpPr/>
          <p:nvPr/>
        </p:nvSpPr>
        <p:spPr>
          <a:xfrm>
            <a:off x="1225059" y="2053868"/>
            <a:ext cx="3307568" cy="145053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eaLnBrk="1" hangingPunct="1">
              <a:buClr>
                <a:schemeClr val="bg2"/>
              </a:buClr>
              <a:buSzPct val="100000"/>
            </a:pPr>
            <a:endParaRPr altLang="ar-SA" dirty="0" lang="en-US" sz="1400">
              <a:solidFill>
                <a:schemeClr val="bg1"/>
              </a:solidFill>
              <a:cs charset="0" panose="020B0604020202020204" pitchFamily="34" typeface="Arial"/>
            </a:endParaRPr>
          </a:p>
          <a:p>
            <a:pPr eaLnBrk="1" hangingPunct="1">
              <a:buClr>
                <a:schemeClr val="bg2"/>
              </a:buClr>
              <a:buSzPct val="100000"/>
            </a:pPr>
            <a:r>
              <a:rPr altLang="ar-SA" dirty="0" lang="en-US" sz="1400">
                <a:solidFill>
                  <a:schemeClr val="bg1"/>
                </a:solidFill>
                <a:cs charset="0" panose="020B0604020202020204" pitchFamily="34" typeface="Arial"/>
              </a:rPr>
              <a:t>Documented hypoxemia as evidenced by </a:t>
            </a:r>
          </a:p>
          <a:p>
            <a:pPr indent="-285750" lvl="2" marL="285750">
              <a:spcBef>
                <a:spcPts val="0"/>
              </a:spcBef>
              <a:spcAft>
                <a:spcPts val="600"/>
              </a:spcAft>
              <a:buClr>
                <a:schemeClr val="bg1"/>
              </a:buClr>
              <a:buSzPct val="100000"/>
              <a:buFont charset="0" panose="02070309020205020404" pitchFamily="49" typeface="Courier New"/>
              <a:buChar char="o"/>
            </a:pPr>
            <a:r>
              <a:rPr altLang="ar-SA" dirty="0" lang="en-US" sz="1400">
                <a:solidFill>
                  <a:schemeClr val="bg1"/>
                </a:solidFill>
                <a:cs charset="0" panose="020B0604020202020204" pitchFamily="34" typeface="Arial"/>
              </a:rPr>
              <a:t>PaO</a:t>
            </a:r>
            <a:r>
              <a:rPr altLang="ar-SA" baseline="-25000" dirty="0" lang="en-US" sz="1400">
                <a:solidFill>
                  <a:schemeClr val="bg1"/>
                </a:solidFill>
                <a:cs charset="0" panose="020B0604020202020204" pitchFamily="34" typeface="Arial"/>
              </a:rPr>
              <a:t>2 </a:t>
            </a:r>
            <a:r>
              <a:rPr altLang="ar-SA" dirty="0" lang="en-US" sz="1400">
                <a:solidFill>
                  <a:schemeClr val="bg1"/>
                </a:solidFill>
                <a:cs charset="0" panose="020B0604020202020204" pitchFamily="34" typeface="Arial"/>
              </a:rPr>
              <a:t>&lt; 60 mmHg or SaO</a:t>
            </a:r>
            <a:r>
              <a:rPr altLang="ar-SA" baseline="-25000" dirty="0" lang="en-US" sz="1400">
                <a:solidFill>
                  <a:schemeClr val="bg1"/>
                </a:solidFill>
                <a:cs charset="0" panose="020B0604020202020204" pitchFamily="34" typeface="Arial"/>
              </a:rPr>
              <a:t>2</a:t>
            </a:r>
            <a:r>
              <a:rPr altLang="ar-SA" dirty="0" lang="en-US" sz="1400">
                <a:solidFill>
                  <a:schemeClr val="bg1"/>
                </a:solidFill>
                <a:cs charset="0" panose="020B0604020202020204" pitchFamily="34" typeface="Arial"/>
              </a:rPr>
              <a:t> &lt; 90% on room air</a:t>
            </a:r>
          </a:p>
          <a:p>
            <a:pPr eaLnBrk="1" hangingPunct="1" indent="-285750" lvl="1" marL="285750">
              <a:buClr>
                <a:schemeClr val="bg1"/>
              </a:buClr>
              <a:buSzPct val="100000"/>
              <a:buFont charset="0" panose="02070309020205020404" pitchFamily="49" typeface="Courier New"/>
              <a:buChar char="o"/>
            </a:pPr>
            <a:r>
              <a:rPr altLang="ar-SA" dirty="0" lang="en-US" sz="1400">
                <a:solidFill>
                  <a:schemeClr val="bg1"/>
                </a:solidFill>
                <a:cs charset="0" panose="020B0604020202020204" pitchFamily="34" typeface="Arial"/>
              </a:rPr>
              <a:t>PaO</a:t>
            </a:r>
            <a:r>
              <a:rPr altLang="ar-SA" baseline="-25000" dirty="0" lang="en-US" sz="1400">
                <a:solidFill>
                  <a:schemeClr val="bg1"/>
                </a:solidFill>
                <a:cs charset="0" panose="020B0604020202020204" pitchFamily="34" typeface="Arial"/>
              </a:rPr>
              <a:t>2 </a:t>
            </a:r>
            <a:r>
              <a:rPr altLang="ar-SA" dirty="0" lang="en-US" sz="1400">
                <a:solidFill>
                  <a:schemeClr val="bg1"/>
                </a:solidFill>
                <a:cs charset="0" panose="020B0604020202020204" pitchFamily="34" typeface="Arial"/>
              </a:rPr>
              <a:t>or SaO</a:t>
            </a:r>
            <a:r>
              <a:rPr altLang="ar-SA" baseline="-25000" dirty="0" lang="en-US" sz="1400">
                <a:solidFill>
                  <a:schemeClr val="bg1"/>
                </a:solidFill>
                <a:cs charset="0" panose="020B0604020202020204" pitchFamily="34" typeface="Arial"/>
              </a:rPr>
              <a:t>2 </a:t>
            </a:r>
            <a:r>
              <a:rPr altLang="ar-SA" dirty="0" lang="en-US" sz="1400">
                <a:solidFill>
                  <a:schemeClr val="bg1"/>
                </a:solidFill>
                <a:cs charset="0" panose="020B0604020202020204" pitchFamily="34" typeface="Arial"/>
              </a:rPr>
              <a:t>below desirable range for a specific clinical situation</a:t>
            </a:r>
            <a:r>
              <a:rPr altLang="ar-SA" dirty="0" lang="en-IN" sz="1400">
                <a:solidFill>
                  <a:schemeClr val="bg1"/>
                </a:solidFill>
                <a:cs charset="0" panose="020B0604020202020204" pitchFamily="34" typeface="Arial"/>
              </a:rPr>
              <a:t>.</a:t>
            </a:r>
            <a:endParaRPr altLang="ar-SA" dirty="0" lang="en-US" sz="1400">
              <a:solidFill>
                <a:schemeClr val="bg1"/>
              </a:solidFill>
              <a:cs charset="0" panose="020B0604020202020204" pitchFamily="34" typeface="Arial"/>
            </a:endParaRPr>
          </a:p>
          <a:p>
            <a:pPr lvl="2" marL="0">
              <a:lnSpc>
                <a:spcPct val="150000"/>
              </a:lnSpc>
              <a:buClr>
                <a:schemeClr val="bg1"/>
              </a:buClr>
              <a:buSzPct val="100000"/>
            </a:pPr>
            <a:endParaRPr altLang="ar-SA" dirty="0" lang="en-US" sz="1400">
              <a:solidFill>
                <a:schemeClr val="bg1"/>
              </a:solidFill>
              <a:cs charset="0" panose="020B0604020202020204" pitchFamily="34" typeface="Arial"/>
            </a:endParaRPr>
          </a:p>
        </p:txBody>
      </p:sp>
      <p:sp>
        <p:nvSpPr>
          <p:cNvPr id="8" name="Rectangle: Rounded Corners 7">
            <a:extLst>
              <a:ext uri="{FF2B5EF4-FFF2-40B4-BE49-F238E27FC236}">
                <a16:creationId xmlns:a16="http://schemas.microsoft.com/office/drawing/2014/main" id="{9977C9B6-FE8B-48DF-8319-8C5647BE3079}"/>
              </a:ext>
            </a:extLst>
          </p:cNvPr>
          <p:cNvSpPr/>
          <p:nvPr/>
        </p:nvSpPr>
        <p:spPr>
          <a:xfrm>
            <a:off x="1225108" y="3632105"/>
            <a:ext cx="3307568" cy="74666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rtlCol="0"/>
          <a:lstStyle/>
          <a:p>
            <a:r>
              <a:rPr altLang="ar-SA" dirty="0" lang="en-US" sz="1400">
                <a:solidFill>
                  <a:schemeClr val="bg1"/>
                </a:solidFill>
                <a:cs charset="0" panose="020B0604020202020204" pitchFamily="34" typeface="Arial"/>
              </a:rPr>
              <a:t>Acute care situations in which hypoxemia is suspected</a:t>
            </a:r>
          </a:p>
        </p:txBody>
      </p:sp>
      <p:sp>
        <p:nvSpPr>
          <p:cNvPr id="11" name="Rectangle: Rounded Corners 10">
            <a:extLst>
              <a:ext uri="{FF2B5EF4-FFF2-40B4-BE49-F238E27FC236}">
                <a16:creationId xmlns:a16="http://schemas.microsoft.com/office/drawing/2014/main" id="{358C5052-CD41-4DA8-9E85-456DA4D8B2B5}"/>
              </a:ext>
            </a:extLst>
          </p:cNvPr>
          <p:cNvSpPr/>
          <p:nvPr/>
        </p:nvSpPr>
        <p:spPr>
          <a:xfrm>
            <a:off x="1225107" y="4507589"/>
            <a:ext cx="3307476" cy="5548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rtlCol="0"/>
          <a:lstStyle/>
          <a:p>
            <a:r>
              <a:rPr altLang="ar-SA" dirty="0" lang="en-US" sz="1400">
                <a:solidFill>
                  <a:schemeClr val="bg1"/>
                </a:solidFill>
                <a:cs charset="0" panose="020B0604020202020204" pitchFamily="34" typeface="Arial"/>
              </a:rPr>
              <a:t>Severe trauma</a:t>
            </a:r>
          </a:p>
        </p:txBody>
      </p:sp>
      <p:sp>
        <p:nvSpPr>
          <p:cNvPr id="13" name="Rectangle: Rounded Corners 12">
            <a:extLst>
              <a:ext uri="{FF2B5EF4-FFF2-40B4-BE49-F238E27FC236}">
                <a16:creationId xmlns:a16="http://schemas.microsoft.com/office/drawing/2014/main" id="{0EC912A8-0636-4D71-A870-E0BB00996EC4}"/>
              </a:ext>
            </a:extLst>
          </p:cNvPr>
          <p:cNvSpPr/>
          <p:nvPr/>
        </p:nvSpPr>
        <p:spPr>
          <a:xfrm>
            <a:off x="1225107" y="5191224"/>
            <a:ext cx="3312590" cy="6261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rtlCol="0"/>
          <a:lstStyle/>
          <a:p>
            <a:r>
              <a:rPr altLang="ar-SA" dirty="0" lang="en-US" sz="1400">
                <a:solidFill>
                  <a:schemeClr val="bg1"/>
                </a:solidFill>
                <a:cs charset="0" panose="020B0604020202020204" pitchFamily="34" typeface="Arial"/>
              </a:rPr>
              <a:t>Acute myocardial infarction</a:t>
            </a:r>
          </a:p>
        </p:txBody>
      </p:sp>
      <p:sp>
        <p:nvSpPr>
          <p:cNvPr id="15" name="Rectangle: Rounded Corners 14">
            <a:extLst>
              <a:ext uri="{FF2B5EF4-FFF2-40B4-BE49-F238E27FC236}">
                <a16:creationId xmlns:a16="http://schemas.microsoft.com/office/drawing/2014/main" id="{F0C405D7-A393-4933-9FF7-421B2B52BDAE}"/>
              </a:ext>
            </a:extLst>
          </p:cNvPr>
          <p:cNvSpPr/>
          <p:nvPr/>
        </p:nvSpPr>
        <p:spPr>
          <a:xfrm>
            <a:off x="5317176" y="1945459"/>
            <a:ext cx="3246486" cy="6261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rtlCol="0"/>
          <a:lstStyle/>
          <a:p>
            <a:r>
              <a:rPr altLang="ar-SA" dirty="0" lang="en-US" sz="1400">
                <a:solidFill>
                  <a:schemeClr val="bg1"/>
                </a:solidFill>
                <a:cs charset="0" panose="020B0604020202020204" pitchFamily="34" typeface="Arial"/>
              </a:rPr>
              <a:t>During surgery to maintain tissue oxygenation under anesthesia</a:t>
            </a:r>
          </a:p>
        </p:txBody>
      </p:sp>
      <p:sp>
        <p:nvSpPr>
          <p:cNvPr id="17" name="Rectangle: Rounded Corners 16">
            <a:extLst>
              <a:ext uri="{FF2B5EF4-FFF2-40B4-BE49-F238E27FC236}">
                <a16:creationId xmlns:a16="http://schemas.microsoft.com/office/drawing/2014/main" id="{304E1FF3-36EB-44E2-9F87-63F10F293709}"/>
              </a:ext>
            </a:extLst>
          </p:cNvPr>
          <p:cNvSpPr/>
          <p:nvPr/>
        </p:nvSpPr>
        <p:spPr>
          <a:xfrm>
            <a:off x="5279361" y="2756769"/>
            <a:ext cx="3309845" cy="64527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rtlCol="0"/>
          <a:lstStyle/>
          <a:p>
            <a:r>
              <a:rPr altLang="ar-SA" dirty="0" lang="en-US" sz="1400">
                <a:solidFill>
                  <a:schemeClr val="bg1"/>
                </a:solidFill>
                <a:cs charset="0" panose="020B0604020202020204" pitchFamily="34" typeface="Arial"/>
              </a:rPr>
              <a:t>Resuscitation of patients</a:t>
            </a:r>
          </a:p>
        </p:txBody>
      </p:sp>
      <p:sp>
        <p:nvSpPr>
          <p:cNvPr id="19" name="Rectangle: Rounded Corners 18">
            <a:extLst>
              <a:ext uri="{FF2B5EF4-FFF2-40B4-BE49-F238E27FC236}">
                <a16:creationId xmlns:a16="http://schemas.microsoft.com/office/drawing/2014/main" id="{C393A342-6F3A-42ED-BF53-656338DD95C6}"/>
              </a:ext>
            </a:extLst>
          </p:cNvPr>
          <p:cNvSpPr/>
          <p:nvPr/>
        </p:nvSpPr>
        <p:spPr>
          <a:xfrm>
            <a:off x="5279361" y="5460734"/>
            <a:ext cx="3312589" cy="81290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ar-SA" dirty="0" lang="en-US" sz="1400">
                <a:solidFill>
                  <a:schemeClr val="bg1"/>
                </a:solidFill>
                <a:cs charset="0" panose="020B0604020202020204" pitchFamily="34" typeface="Arial"/>
              </a:rPr>
              <a:t>The treatment of such diseases as chronic obstructive pulmonary disease, pneumonia, and pulmonary embolism</a:t>
            </a:r>
          </a:p>
        </p:txBody>
      </p:sp>
      <p:sp>
        <p:nvSpPr>
          <p:cNvPr id="21" name="Rectangle: Rounded Corners 20">
            <a:extLst>
              <a:ext uri="{FF2B5EF4-FFF2-40B4-BE49-F238E27FC236}">
                <a16:creationId xmlns:a16="http://schemas.microsoft.com/office/drawing/2014/main" id="{05A27384-A87B-40DF-8BBC-4A316DB70321}"/>
              </a:ext>
            </a:extLst>
          </p:cNvPr>
          <p:cNvSpPr/>
          <p:nvPr/>
        </p:nvSpPr>
        <p:spPr>
          <a:xfrm>
            <a:off x="5279361" y="4546760"/>
            <a:ext cx="3309845" cy="70107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rtlCol="0"/>
          <a:lstStyle/>
          <a:p>
            <a:r>
              <a:rPr altLang="ar-SA" dirty="0" lang="en-US" sz="1400">
                <a:solidFill>
                  <a:schemeClr val="bg1"/>
                </a:solidFill>
                <a:cs charset="0" panose="020B0604020202020204" pitchFamily="34" typeface="Arial"/>
              </a:rPr>
              <a:t>For the newborn experiencing respiratory distress syndrome</a:t>
            </a:r>
          </a:p>
        </p:txBody>
      </p:sp>
      <p:sp>
        <p:nvSpPr>
          <p:cNvPr id="22" name="Rectangle: Rounded Corners 21">
            <a:extLst>
              <a:ext uri="{FF2B5EF4-FFF2-40B4-BE49-F238E27FC236}">
                <a16:creationId xmlns:a16="http://schemas.microsoft.com/office/drawing/2014/main" id="{5B0F7AFA-D658-4B3F-AD21-91E812D8C6D9}"/>
              </a:ext>
            </a:extLst>
          </p:cNvPr>
          <p:cNvSpPr/>
          <p:nvPr/>
        </p:nvSpPr>
        <p:spPr>
          <a:xfrm>
            <a:off x="5281637" y="3587197"/>
            <a:ext cx="3307568" cy="7466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rtlCol="0"/>
          <a:lstStyle/>
          <a:p>
            <a:r>
              <a:rPr altLang="ar-SA" dirty="0" lang="en-US" sz="1400">
                <a:solidFill>
                  <a:schemeClr val="bg1"/>
                </a:solidFill>
                <a:cs charset="0" panose="020B0604020202020204" pitchFamily="34" typeface="Arial"/>
              </a:rPr>
              <a:t>The treatment of respiratory burns or poisoning by carbon monoxide and other chemical substances</a:t>
            </a:r>
          </a:p>
        </p:txBody>
      </p:sp>
    </p:spTree>
  </p:cSld>
  <p:clrMapOvr>
    <a:masterClrMapping/>
  </p:clrMapOvr>
  <p:transition spd="med">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79FDB26F-DFCB-4B4C-B6CD-EAE83D90922B}"/>
              </a:ext>
            </a:extLst>
          </p:cNvPr>
          <p:cNvPicPr>
            <a:picLocks noChangeAspect="1"/>
          </p:cNvPicPr>
          <p:nvPr/>
        </p:nvPicPr>
        <p:blipFill>
          <a:blip r:embed="rId2"/>
          <a:stretch>
            <a:fillRect/>
          </a:stretch>
        </p:blipFill>
        <p:spPr>
          <a:xfrm>
            <a:off x="685800" y="533400"/>
            <a:ext cx="7848600" cy="5579293"/>
          </a:xfrm>
          <a:prstGeom prst="rect">
            <a:avLst/>
          </a:prstGeom>
        </p:spPr>
      </p:pic>
      <p:sp>
        <p:nvSpPr>
          <p:cNvPr id="5" name="Rectangle: Rounded Corners 4">
            <a:extLst>
              <a:ext uri="{FF2B5EF4-FFF2-40B4-BE49-F238E27FC236}">
                <a16:creationId xmlns:a16="http://schemas.microsoft.com/office/drawing/2014/main" id="{70FDCF35-19FD-4CF2-945C-9CFEE1DB5D52}"/>
              </a:ext>
            </a:extLst>
          </p:cNvPr>
          <p:cNvSpPr/>
          <p:nvPr/>
        </p:nvSpPr>
        <p:spPr>
          <a:xfrm>
            <a:off x="1219200" y="533400"/>
            <a:ext cx="4038600" cy="381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7093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DF38FA32-D550-2242-BDD1-E201A30B982D}"/>
              </a:ext>
            </a:extLst>
          </p:cNvPr>
          <p:cNvPicPr>
            <a:picLocks noChangeAspect="1"/>
          </p:cNvPicPr>
          <p:nvPr/>
        </p:nvPicPr>
        <p:blipFill>
          <a:blip r:embed="rId2"/>
          <a:stretch>
            <a:fillRect/>
          </a:stretch>
        </p:blipFill>
        <p:spPr>
          <a:xfrm>
            <a:off x="762000" y="685800"/>
            <a:ext cx="7696200" cy="5577012"/>
          </a:xfrm>
          <a:prstGeom prst="rect">
            <a:avLst/>
          </a:prstGeom>
        </p:spPr>
      </p:pic>
    </p:spTree>
    <p:extLst>
      <p:ext uri="{BB962C8B-B14F-4D97-AF65-F5344CB8AC3E}">
        <p14:creationId xmlns:p14="http://schemas.microsoft.com/office/powerpoint/2010/main" val="358211771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E442B55C-B177-684F-8DEB-CC18A100DB6D}"/>
              </a:ext>
            </a:extLst>
          </p:cNvPr>
          <p:cNvPicPr>
            <a:picLocks noChangeAspect="1"/>
          </p:cNvPicPr>
          <p:nvPr/>
        </p:nvPicPr>
        <p:blipFill>
          <a:blip r:embed="rId2"/>
          <a:stretch>
            <a:fillRect/>
          </a:stretch>
        </p:blipFill>
        <p:spPr>
          <a:xfrm>
            <a:off x="-21116" y="1447800"/>
            <a:ext cx="9144000" cy="2743200"/>
          </a:xfrm>
          <a:prstGeom prst="rect">
            <a:avLst/>
          </a:prstGeom>
        </p:spPr>
      </p:pic>
      <p:sp>
        <p:nvSpPr>
          <p:cNvPr id="5" name="Rectangle: Rounded Corners 4">
            <a:extLst>
              <a:ext uri="{FF2B5EF4-FFF2-40B4-BE49-F238E27FC236}">
                <a16:creationId xmlns:a16="http://schemas.microsoft.com/office/drawing/2014/main" id="{B61420C0-6E1E-4B2B-B1C5-AA61761CD9AF}"/>
              </a:ext>
            </a:extLst>
          </p:cNvPr>
          <p:cNvSpPr/>
          <p:nvPr/>
        </p:nvSpPr>
        <p:spPr>
          <a:xfrm>
            <a:off x="533400" y="1600200"/>
            <a:ext cx="5562600" cy="3048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8152506"/>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5B75C908-F567-8343-AF2E-4DA939C20BDD}"/>
              </a:ext>
            </a:extLst>
          </p:cNvPr>
          <p:cNvPicPr>
            <a:picLocks noChangeAspect="1"/>
          </p:cNvPicPr>
          <p:nvPr/>
        </p:nvPicPr>
        <p:blipFill>
          <a:blip r:embed="rId2"/>
          <a:stretch>
            <a:fillRect/>
          </a:stretch>
        </p:blipFill>
        <p:spPr>
          <a:xfrm>
            <a:off x="838200" y="685800"/>
            <a:ext cx="7696200" cy="5561442"/>
          </a:xfrm>
          <a:prstGeom prst="rect">
            <a:avLst/>
          </a:prstGeom>
        </p:spPr>
      </p:pic>
      <p:sp>
        <p:nvSpPr>
          <p:cNvPr id="5" name="Rectangle: Rounded Corners 4">
            <a:extLst>
              <a:ext uri="{FF2B5EF4-FFF2-40B4-BE49-F238E27FC236}">
                <a16:creationId xmlns:a16="http://schemas.microsoft.com/office/drawing/2014/main" id="{1D8110D6-D129-409B-AF01-9E1B76175B53}"/>
              </a:ext>
            </a:extLst>
          </p:cNvPr>
          <p:cNvSpPr/>
          <p:nvPr/>
        </p:nvSpPr>
        <p:spPr>
          <a:xfrm>
            <a:off x="1295400" y="574034"/>
            <a:ext cx="3810000" cy="41656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495099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E0E762D7-E961-3841-A74C-30A26F54C09E}"/>
              </a:ext>
            </a:extLst>
          </p:cNvPr>
          <p:cNvPicPr>
            <a:picLocks noChangeAspect="1"/>
          </p:cNvPicPr>
          <p:nvPr/>
        </p:nvPicPr>
        <p:blipFill>
          <a:blip r:embed="rId2"/>
          <a:stretch>
            <a:fillRect/>
          </a:stretch>
        </p:blipFill>
        <p:spPr>
          <a:xfrm>
            <a:off x="838200" y="228600"/>
            <a:ext cx="7772400" cy="5994782"/>
          </a:xfrm>
          <a:prstGeom prst="rect">
            <a:avLst/>
          </a:prstGeom>
        </p:spPr>
      </p:pic>
      <p:sp>
        <p:nvSpPr>
          <p:cNvPr id="4" name="Rectangle: Rounded Corners 3">
            <a:extLst>
              <a:ext uri="{FF2B5EF4-FFF2-40B4-BE49-F238E27FC236}">
                <a16:creationId xmlns:a16="http://schemas.microsoft.com/office/drawing/2014/main" id="{D134D920-229E-4A82-92E9-5FA8A5CEF410}"/>
              </a:ext>
            </a:extLst>
          </p:cNvPr>
          <p:cNvSpPr/>
          <p:nvPr/>
        </p:nvSpPr>
        <p:spPr>
          <a:xfrm>
            <a:off x="1219200" y="2787152"/>
            <a:ext cx="5410200" cy="337048"/>
          </a:xfrm>
          <a:prstGeom prst="round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DD53A04D-AC05-4A5B-9AA2-0B9B1D07512A}"/>
              </a:ext>
            </a:extLst>
          </p:cNvPr>
          <p:cNvGrpSpPr/>
          <p:nvPr/>
        </p:nvGrpSpPr>
        <p:grpSpPr>
          <a:xfrm>
            <a:off x="856561" y="304800"/>
            <a:ext cx="7772400" cy="5994782"/>
            <a:chOff x="838200" y="30296"/>
            <a:chExt cx="7772400" cy="5994782"/>
          </a:xfrm>
        </p:grpSpPr>
        <p:pic>
          <p:nvPicPr>
            <p:cNvPr id="5" name="Picture 4" descr="Table&#10;&#10;Description automatically generated">
              <a:extLst>
                <a:ext uri="{FF2B5EF4-FFF2-40B4-BE49-F238E27FC236}">
                  <a16:creationId xmlns:a16="http://schemas.microsoft.com/office/drawing/2014/main" id="{999C822C-DCD4-474A-B7F2-6065126EFDD3}"/>
                </a:ext>
              </a:extLst>
            </p:cNvPr>
            <p:cNvPicPr>
              <a:picLocks noChangeAspect="1"/>
            </p:cNvPicPr>
            <p:nvPr/>
          </p:nvPicPr>
          <p:blipFill>
            <a:blip r:embed="rId2"/>
            <a:stretch>
              <a:fillRect/>
            </a:stretch>
          </p:blipFill>
          <p:spPr>
            <a:xfrm>
              <a:off x="838200" y="30296"/>
              <a:ext cx="7772400" cy="5994782"/>
            </a:xfrm>
            <a:prstGeom prst="rect">
              <a:avLst/>
            </a:prstGeom>
          </p:spPr>
        </p:pic>
        <p:sp>
          <p:nvSpPr>
            <p:cNvPr id="6" name="Rectangle: Rounded Corners 5">
              <a:extLst>
                <a:ext uri="{FF2B5EF4-FFF2-40B4-BE49-F238E27FC236}">
                  <a16:creationId xmlns:a16="http://schemas.microsoft.com/office/drawing/2014/main" id="{5FF5A78D-ABDC-424B-83FE-E424021D7E48}"/>
                </a:ext>
              </a:extLst>
            </p:cNvPr>
            <p:cNvSpPr/>
            <p:nvPr/>
          </p:nvSpPr>
          <p:spPr>
            <a:xfrm>
              <a:off x="1219200" y="2588848"/>
              <a:ext cx="5410200" cy="337048"/>
            </a:xfrm>
            <a:prstGeom prst="round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9939961"/>
      </p:ext>
    </p:extLst>
  </p:cSld>
  <p:clrMapOvr>
    <a:masterClrMapping/>
  </p:clrMapOvr>
</p:sld>
</file>

<file path=ppt/slides/slide125.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pic>
        <p:nvPicPr>
          <p:cNvPr descr="Table&#10;&#10;Description automatically generated" id="3" name="Picture 2">
            <a:extLst>
              <a:ext uri="{FF2B5EF4-FFF2-40B4-BE49-F238E27FC236}">
                <a16:creationId xmlns:a16="http://schemas.microsoft.com/office/drawing/2014/main" id="{E3A788FF-77AF-E040-A11A-241F47147C87}"/>
              </a:ext>
            </a:extLst>
          </p:cNvPr>
          <p:cNvPicPr>
            <a:picLocks noChangeAspect="1"/>
          </p:cNvPicPr>
          <p:nvPr/>
        </p:nvPicPr>
        <p:blipFill rotWithShape="1">
          <a:blip r:embed="rId2"/>
          <a:srcRect r="30"/>
          <a:stretch/>
        </p:blipFill>
        <p:spPr>
          <a:xfrm>
            <a:off x="762000" y="304800"/>
            <a:ext cx="7696200" cy="5991261"/>
          </a:xfrm>
          <a:prstGeom prst="rect">
            <a:avLst/>
          </a:prstGeom>
        </p:spPr>
      </p:pic>
      <p:sp>
        <p:nvSpPr>
          <p:cNvPr id="5" name="Rectangle: Rounded Corners 4">
            <a:extLst>
              <a:ext uri="{FF2B5EF4-FFF2-40B4-BE49-F238E27FC236}">
                <a16:creationId xmlns:a16="http://schemas.microsoft.com/office/drawing/2014/main" id="{3B59FCCD-F254-415B-AB76-E007302D2219}"/>
              </a:ext>
            </a:extLst>
          </p:cNvPr>
          <p:cNvSpPr/>
          <p:nvPr/>
        </p:nvSpPr>
        <p:spPr>
          <a:xfrm>
            <a:off x="1295400" y="243368"/>
            <a:ext cx="7086600" cy="31857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lang="en-US"/>
          </a:p>
        </p:txBody>
      </p:sp>
    </p:spTree>
    <p:extLst>
      <p:ext uri="{BB962C8B-B14F-4D97-AF65-F5344CB8AC3E}">
        <p14:creationId xmlns:p14="http://schemas.microsoft.com/office/powerpoint/2010/main" val="1036020330"/>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3CD107F3-DD73-8D40-B519-AC972A499EC2}"/>
              </a:ext>
            </a:extLst>
          </p:cNvPr>
          <p:cNvPicPr>
            <a:picLocks noChangeAspect="1"/>
          </p:cNvPicPr>
          <p:nvPr/>
        </p:nvPicPr>
        <p:blipFill>
          <a:blip r:embed="rId2"/>
          <a:stretch>
            <a:fillRect/>
          </a:stretch>
        </p:blipFill>
        <p:spPr>
          <a:xfrm>
            <a:off x="762000" y="152400"/>
            <a:ext cx="7696200" cy="6005800"/>
          </a:xfrm>
          <a:prstGeom prst="rect">
            <a:avLst/>
          </a:prstGeom>
        </p:spPr>
      </p:pic>
      <p:sp>
        <p:nvSpPr>
          <p:cNvPr id="5" name="Rectangle: Rounded Corners 4">
            <a:extLst>
              <a:ext uri="{FF2B5EF4-FFF2-40B4-BE49-F238E27FC236}">
                <a16:creationId xmlns:a16="http://schemas.microsoft.com/office/drawing/2014/main" id="{BD52DD5F-D57B-4443-8719-37D2004536A8}"/>
              </a:ext>
            </a:extLst>
          </p:cNvPr>
          <p:cNvSpPr/>
          <p:nvPr/>
        </p:nvSpPr>
        <p:spPr>
          <a:xfrm>
            <a:off x="1219200" y="152400"/>
            <a:ext cx="7162800" cy="44396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908048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9E607D1-DBA2-964D-A29C-2031CA8C475B}"/>
              </a:ext>
            </a:extLst>
          </p:cNvPr>
          <p:cNvPicPr>
            <a:picLocks noChangeAspect="1"/>
          </p:cNvPicPr>
          <p:nvPr/>
        </p:nvPicPr>
        <p:blipFill>
          <a:blip r:embed="rId2"/>
          <a:stretch>
            <a:fillRect/>
          </a:stretch>
        </p:blipFill>
        <p:spPr>
          <a:xfrm>
            <a:off x="304800" y="771181"/>
            <a:ext cx="2632364" cy="5143500"/>
          </a:xfrm>
          <a:prstGeom prst="rect">
            <a:avLst/>
          </a:prstGeom>
        </p:spPr>
      </p:pic>
      <p:grpSp>
        <p:nvGrpSpPr>
          <p:cNvPr id="2" name="Group 1">
            <a:extLst>
              <a:ext uri="{FF2B5EF4-FFF2-40B4-BE49-F238E27FC236}">
                <a16:creationId xmlns:a16="http://schemas.microsoft.com/office/drawing/2014/main" id="{BA4C3229-32A3-409E-9767-94D224C2DFA7}"/>
              </a:ext>
            </a:extLst>
          </p:cNvPr>
          <p:cNvGrpSpPr/>
          <p:nvPr/>
        </p:nvGrpSpPr>
        <p:grpSpPr>
          <a:xfrm>
            <a:off x="3048000" y="381000"/>
            <a:ext cx="5314182" cy="5816912"/>
            <a:chOff x="3048000" y="520544"/>
            <a:chExt cx="5314182" cy="5816912"/>
          </a:xfrm>
        </p:grpSpPr>
        <p:pic>
          <p:nvPicPr>
            <p:cNvPr id="3" name="Picture 2" descr="Table&#10;&#10;Description automatically generated">
              <a:extLst>
                <a:ext uri="{FF2B5EF4-FFF2-40B4-BE49-F238E27FC236}">
                  <a16:creationId xmlns:a16="http://schemas.microsoft.com/office/drawing/2014/main" id="{35B0049C-2DB6-E04D-B2A8-D05425D6C20E}"/>
                </a:ext>
              </a:extLst>
            </p:cNvPr>
            <p:cNvPicPr>
              <a:picLocks noChangeAspect="1"/>
            </p:cNvPicPr>
            <p:nvPr/>
          </p:nvPicPr>
          <p:blipFill>
            <a:blip r:embed="rId3"/>
            <a:stretch>
              <a:fillRect/>
            </a:stretch>
          </p:blipFill>
          <p:spPr>
            <a:xfrm>
              <a:off x="3048000" y="520544"/>
              <a:ext cx="5314182" cy="5816912"/>
            </a:xfrm>
            <a:prstGeom prst="rect">
              <a:avLst/>
            </a:prstGeom>
          </p:spPr>
        </p:pic>
        <p:sp>
          <p:nvSpPr>
            <p:cNvPr id="7" name="Rectangle: Rounded Corners 6">
              <a:extLst>
                <a:ext uri="{FF2B5EF4-FFF2-40B4-BE49-F238E27FC236}">
                  <a16:creationId xmlns:a16="http://schemas.microsoft.com/office/drawing/2014/main" id="{5CC83CBB-AB9E-4BF1-A2C9-E9460FB33236}"/>
                </a:ext>
              </a:extLst>
            </p:cNvPr>
            <p:cNvSpPr/>
            <p:nvPr/>
          </p:nvSpPr>
          <p:spPr>
            <a:xfrm>
              <a:off x="3276600" y="3342931"/>
              <a:ext cx="3657600" cy="381000"/>
            </a:xfrm>
            <a:prstGeom prst="roundRect">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Rectangle: Rounded Corners 5">
            <a:extLst>
              <a:ext uri="{FF2B5EF4-FFF2-40B4-BE49-F238E27FC236}">
                <a16:creationId xmlns:a16="http://schemas.microsoft.com/office/drawing/2014/main" id="{C0BF415C-585D-4048-BE3D-4CE048FC4F13}"/>
              </a:ext>
            </a:extLst>
          </p:cNvPr>
          <p:cNvSpPr/>
          <p:nvPr/>
        </p:nvSpPr>
        <p:spPr>
          <a:xfrm>
            <a:off x="3124200" y="304800"/>
            <a:ext cx="1752600" cy="381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4516925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CB53F7E6-6685-BB40-8633-BC48DA120B1F}"/>
              </a:ext>
            </a:extLst>
          </p:cNvPr>
          <p:cNvPicPr>
            <a:picLocks noChangeAspect="1"/>
          </p:cNvPicPr>
          <p:nvPr/>
        </p:nvPicPr>
        <p:blipFill>
          <a:blip r:embed="rId2"/>
          <a:stretch>
            <a:fillRect/>
          </a:stretch>
        </p:blipFill>
        <p:spPr>
          <a:xfrm>
            <a:off x="762000" y="304800"/>
            <a:ext cx="7696200" cy="5853638"/>
          </a:xfrm>
          <a:prstGeom prst="rect">
            <a:avLst/>
          </a:prstGeom>
        </p:spPr>
      </p:pic>
      <p:sp>
        <p:nvSpPr>
          <p:cNvPr id="4" name="Rectangle: Rounded Corners 3">
            <a:extLst>
              <a:ext uri="{FF2B5EF4-FFF2-40B4-BE49-F238E27FC236}">
                <a16:creationId xmlns:a16="http://schemas.microsoft.com/office/drawing/2014/main" id="{C3449784-3D25-4243-A33F-470BBBF42F79}"/>
              </a:ext>
            </a:extLst>
          </p:cNvPr>
          <p:cNvSpPr/>
          <p:nvPr/>
        </p:nvSpPr>
        <p:spPr>
          <a:xfrm>
            <a:off x="1219200" y="228600"/>
            <a:ext cx="2362200" cy="3048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36877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F941636B-976B-AC4B-AB73-7F608D368804}"/>
              </a:ext>
            </a:extLst>
          </p:cNvPr>
          <p:cNvPicPr>
            <a:picLocks noChangeAspect="1"/>
          </p:cNvPicPr>
          <p:nvPr/>
        </p:nvPicPr>
        <p:blipFill>
          <a:blip r:embed="rId2"/>
          <a:stretch>
            <a:fillRect/>
          </a:stretch>
        </p:blipFill>
        <p:spPr>
          <a:xfrm>
            <a:off x="633413" y="1371600"/>
            <a:ext cx="7877175" cy="3886200"/>
          </a:xfrm>
          <a:prstGeom prst="rect">
            <a:avLst/>
          </a:prstGeom>
        </p:spPr>
      </p:pic>
    </p:spTree>
    <p:extLst>
      <p:ext uri="{BB962C8B-B14F-4D97-AF65-F5344CB8AC3E}">
        <p14:creationId xmlns:p14="http://schemas.microsoft.com/office/powerpoint/2010/main" val="3815503117"/>
      </p:ext>
    </p:extLst>
  </p:cSld>
  <p:clrMapOvr>
    <a:masterClrMapping/>
  </p:clrMapOvr>
</p:sld>
</file>

<file path=ppt/slides/slide13.xml><?xml version="1.0" encoding="utf-8"?>
<p:sld xmlns:p="http://schemas.openxmlformats.org/presentationml/2006/main" xmlns:a="http://schemas.openxmlformats.org/drawingml/2006/main" xmlns:r="http://schemas.openxmlformats.org/officeDocument/2006/relationships">
  <p:cSld>
    <p:spTree>
      <p:nvGrpSpPr>
        <p:cNvPr id="1" name="Shape 575"/>
        <p:cNvGrpSpPr/>
        <p:nvPr/>
      </p:nvGrpSpPr>
      <p:grpSpPr>
        <a:xfrm>
          <a:off x="0" y="0"/>
          <a:ext cx="0" cy="0"/>
          <a:chOff x="0" y="0"/>
          <a:chExt cx="0" cy="0"/>
        </a:xfrm>
      </p:grpSpPr>
      <p:sp>
        <p:nvSpPr>
          <p:cNvPr id="11" name="Title 10">
            <a:extLst>
              <a:ext uri="{FF2B5EF4-FFF2-40B4-BE49-F238E27FC236}">
                <a16:creationId xmlns:a16="http://schemas.microsoft.com/office/drawing/2014/main" id="{50024ACC-B71C-423F-B888-808CF6845106}"/>
              </a:ext>
            </a:extLst>
          </p:cNvPr>
          <p:cNvSpPr>
            <a:spLocks noGrp="1"/>
          </p:cNvSpPr>
          <p:nvPr>
            <p:ph type="title"/>
          </p:nvPr>
        </p:nvSpPr>
        <p:spPr>
          <a:xfrm>
            <a:off x="257174" y="277016"/>
            <a:ext cx="2495550" cy="1524000"/>
          </a:xfrm>
        </p:spPr>
        <p:txBody>
          <a:bodyPr anchor="t">
            <a:noAutofit/>
          </a:bodyPr>
          <a:lstStyle/>
          <a:p>
            <a:pPr algn="ctr"/>
            <a:r>
              <a:rPr b="1" dirty="0" lang="en-US" sz="3600">
                <a:solidFill>
                  <a:schemeClr val="bg1"/>
                </a:solidFill>
                <a:latin typeface="+mn-lt"/>
              </a:rPr>
              <a:t>Short Term Oxygen Therapy</a:t>
            </a:r>
            <a:endParaRPr dirty="0" lang="en-US" sz="3600">
              <a:solidFill>
                <a:schemeClr val="bg1"/>
              </a:solidFill>
              <a:latin typeface="+mn-lt"/>
            </a:endParaRPr>
          </a:p>
        </p:txBody>
      </p:sp>
      <p:sp>
        <p:nvSpPr>
          <p:cNvPr id="13" name="Text Placeholder 12">
            <a:extLst>
              <a:ext uri="{FF2B5EF4-FFF2-40B4-BE49-F238E27FC236}">
                <a16:creationId xmlns:a16="http://schemas.microsoft.com/office/drawing/2014/main" id="{90B975CC-D818-46C9-9438-2CF2C19298F7}"/>
              </a:ext>
            </a:extLst>
          </p:cNvPr>
          <p:cNvSpPr>
            <a:spLocks noGrp="1"/>
          </p:cNvSpPr>
          <p:nvPr>
            <p:ph idx="2" sz="half" type="body"/>
          </p:nvPr>
        </p:nvSpPr>
        <p:spPr>
          <a:xfrm>
            <a:off x="152400" y="1981200"/>
            <a:ext cx="2743200" cy="4419600"/>
          </a:xfrm>
        </p:spPr>
        <p:txBody>
          <a:bodyPr/>
          <a:lstStyle/>
          <a:p>
            <a:r>
              <a:rPr altLang="ar-SA" b="1" dirty="0" lang="en-US" sz="2000" u="sng">
                <a:solidFill>
                  <a:schemeClr val="bg1"/>
                </a:solidFill>
                <a:cs charset="0" panose="020B0604020202020204" pitchFamily="34" typeface="Arial"/>
              </a:rPr>
              <a:t>ACUTE OXYGEN THERAPY</a:t>
            </a:r>
          </a:p>
          <a:p>
            <a:pPr indent="-285750" marL="285750">
              <a:buClr>
                <a:schemeClr val="bg1"/>
              </a:buClr>
              <a:buFont charset="0" panose="020B0604020202020204" pitchFamily="34" typeface="Arial"/>
              <a:buChar char="•"/>
            </a:pPr>
            <a:r>
              <a:rPr altLang="ar-SA" dirty="0" lang="en-US" sz="2000">
                <a:solidFill>
                  <a:schemeClr val="bg1"/>
                </a:solidFill>
                <a:cs charset="0" panose="020B0604020202020204" pitchFamily="34" typeface="Arial"/>
              </a:rPr>
              <a:t>Acute hypoxemia (PaO2 &lt;60mm Hg; SpO2 &lt;90%)</a:t>
            </a:r>
          </a:p>
          <a:p>
            <a:pPr indent="-285750" marL="285750">
              <a:buClr>
                <a:schemeClr val="bg1"/>
              </a:buClr>
              <a:buFont charset="0" panose="020B0604020202020204" pitchFamily="34" typeface="Arial"/>
              <a:buChar char="•"/>
            </a:pPr>
            <a:r>
              <a:rPr altLang="ar-SA" dirty="0" lang="en-US" sz="2000">
                <a:solidFill>
                  <a:schemeClr val="bg1"/>
                </a:solidFill>
                <a:cs charset="0" panose="020B0604020202020204" pitchFamily="34" typeface="Arial"/>
              </a:rPr>
              <a:t>Cardiac and Respiratory arrest</a:t>
            </a:r>
          </a:p>
          <a:p>
            <a:pPr indent="-285750" marL="285750">
              <a:buClr>
                <a:schemeClr val="bg1"/>
              </a:buClr>
              <a:buFont charset="0" panose="020B0604020202020204" pitchFamily="34" typeface="Arial"/>
              <a:buChar char="•"/>
            </a:pPr>
            <a:r>
              <a:rPr altLang="ar-SA" dirty="0" lang="en-US" sz="2000">
                <a:solidFill>
                  <a:schemeClr val="bg1"/>
                </a:solidFill>
                <a:cs charset="0" panose="020B0604020202020204" pitchFamily="34" typeface="Arial"/>
              </a:rPr>
              <a:t>Hypotension (SBP &lt;100 mm Hg)</a:t>
            </a:r>
          </a:p>
          <a:p>
            <a:pPr indent="-285750" marL="285750">
              <a:buClr>
                <a:schemeClr val="bg1"/>
              </a:buClr>
              <a:buFont charset="0" panose="020B0604020202020204" pitchFamily="34" typeface="Arial"/>
              <a:buChar char="•"/>
            </a:pPr>
            <a:r>
              <a:rPr altLang="ar-SA" dirty="0" lang="en-US" sz="2000">
                <a:solidFill>
                  <a:schemeClr val="bg1"/>
                </a:solidFill>
                <a:cs charset="0" panose="020B0604020202020204" pitchFamily="34" typeface="Arial"/>
              </a:rPr>
              <a:t>Low cardiac output + metabolic acidosis (HCO3‾ &lt; 18 mmol/L)</a:t>
            </a:r>
          </a:p>
          <a:p>
            <a:pPr indent="-285750" marL="285750">
              <a:buClr>
                <a:schemeClr val="bg1"/>
              </a:buClr>
              <a:buFont charset="0" panose="020B0604020202020204" pitchFamily="34" typeface="Arial"/>
              <a:buChar char="•"/>
            </a:pPr>
            <a:r>
              <a:rPr altLang="ar-SA" dirty="0" lang="en-US" sz="2000">
                <a:solidFill>
                  <a:schemeClr val="bg1"/>
                </a:solidFill>
                <a:cs charset="0" panose="020B0604020202020204" pitchFamily="34" typeface="Arial"/>
              </a:rPr>
              <a:t>Respiratory distress (RR &gt; 24/min)</a:t>
            </a:r>
            <a:endParaRPr dirty="0" lang="en-US" sz="2000">
              <a:solidFill>
                <a:schemeClr val="bg1"/>
              </a:solidFill>
            </a:endParaRPr>
          </a:p>
        </p:txBody>
      </p:sp>
      <p:pic>
        <p:nvPicPr>
          <p:cNvPr id="6" name="Picture 5">
            <a:extLst>
              <a:ext uri="{FF2B5EF4-FFF2-40B4-BE49-F238E27FC236}">
                <a16:creationId xmlns:a16="http://schemas.microsoft.com/office/drawing/2014/main" id="{9F0FA7AA-B7B0-4C9B-AECD-9D130D5D67F1}"/>
              </a:ext>
            </a:extLst>
          </p:cNvPr>
          <p:cNvPicPr>
            <a:picLocks noChangeAspect="1"/>
          </p:cNvPicPr>
          <p:nvPr/>
        </p:nvPicPr>
        <p:blipFill rotWithShape="1">
          <a:blip r:embed="rId3"/>
          <a:srcRect r="-26"/>
          <a:stretch/>
        </p:blipFill>
        <p:spPr>
          <a:xfrm>
            <a:off x="3352800" y="3649658"/>
            <a:ext cx="5534026" cy="3217867"/>
          </a:xfrm>
          <a:prstGeom prst="rect">
            <a:avLst/>
          </a:prstGeom>
        </p:spPr>
      </p:pic>
      <p:pic>
        <p:nvPicPr>
          <p:cNvPr id="7" name="Picture 6">
            <a:extLst>
              <a:ext uri="{FF2B5EF4-FFF2-40B4-BE49-F238E27FC236}">
                <a16:creationId xmlns:a16="http://schemas.microsoft.com/office/drawing/2014/main" id="{C8F49EAA-DEBC-4996-B122-98484ECC1F57}"/>
              </a:ext>
            </a:extLst>
          </p:cNvPr>
          <p:cNvPicPr>
            <a:picLocks noChangeAspect="1"/>
          </p:cNvPicPr>
          <p:nvPr/>
        </p:nvPicPr>
        <p:blipFill>
          <a:blip r:embed="rId4"/>
          <a:stretch>
            <a:fillRect/>
          </a:stretch>
        </p:blipFill>
        <p:spPr>
          <a:xfrm>
            <a:off x="3400426" y="0"/>
            <a:ext cx="5486400" cy="3602033"/>
          </a:xfrm>
          <a:prstGeom prst="rect">
            <a:avLst/>
          </a:prstGeom>
        </p:spPr>
      </p:pic>
    </p:spTree>
    <p:extLst>
      <p:ext uri="{BB962C8B-B14F-4D97-AF65-F5344CB8AC3E}">
        <p14:creationId xmlns:p14="http://schemas.microsoft.com/office/powerpoint/2010/main" val="236798658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A23BC544-B4E8-AF4B-BDA7-1E136D0B1D90}"/>
              </a:ext>
            </a:extLst>
          </p:cNvPr>
          <p:cNvPicPr>
            <a:picLocks noChangeAspect="1"/>
          </p:cNvPicPr>
          <p:nvPr/>
        </p:nvPicPr>
        <p:blipFill>
          <a:blip r:embed="rId2"/>
          <a:stretch>
            <a:fillRect/>
          </a:stretch>
        </p:blipFill>
        <p:spPr>
          <a:xfrm>
            <a:off x="642937" y="1371600"/>
            <a:ext cx="7858125" cy="3295650"/>
          </a:xfrm>
          <a:prstGeom prst="rect">
            <a:avLst/>
          </a:prstGeom>
        </p:spPr>
      </p:pic>
      <p:sp>
        <p:nvSpPr>
          <p:cNvPr id="5" name="Rectangle: Rounded Corners 4">
            <a:extLst>
              <a:ext uri="{FF2B5EF4-FFF2-40B4-BE49-F238E27FC236}">
                <a16:creationId xmlns:a16="http://schemas.microsoft.com/office/drawing/2014/main" id="{03F51529-011E-442B-A40A-1BE78D608FC5}"/>
              </a:ext>
            </a:extLst>
          </p:cNvPr>
          <p:cNvSpPr/>
          <p:nvPr/>
        </p:nvSpPr>
        <p:spPr>
          <a:xfrm>
            <a:off x="1219200" y="1447800"/>
            <a:ext cx="2819400" cy="381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140549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76AE6C3C-5638-B34E-AADA-A3CFC99AFD79}"/>
              </a:ext>
            </a:extLst>
          </p:cNvPr>
          <p:cNvPicPr>
            <a:picLocks noChangeAspect="1"/>
          </p:cNvPicPr>
          <p:nvPr/>
        </p:nvPicPr>
        <p:blipFill>
          <a:blip r:embed="rId2"/>
          <a:stretch>
            <a:fillRect/>
          </a:stretch>
        </p:blipFill>
        <p:spPr>
          <a:xfrm>
            <a:off x="838200" y="304800"/>
            <a:ext cx="7696200" cy="6033011"/>
          </a:xfrm>
          <a:prstGeom prst="rect">
            <a:avLst/>
          </a:prstGeom>
        </p:spPr>
      </p:pic>
      <p:sp>
        <p:nvSpPr>
          <p:cNvPr id="2" name="Rectangle: Rounded Corners 1">
            <a:extLst>
              <a:ext uri="{FF2B5EF4-FFF2-40B4-BE49-F238E27FC236}">
                <a16:creationId xmlns:a16="http://schemas.microsoft.com/office/drawing/2014/main" id="{A0A6C781-8D5C-42DA-8901-C7584D602855}"/>
              </a:ext>
            </a:extLst>
          </p:cNvPr>
          <p:cNvSpPr/>
          <p:nvPr/>
        </p:nvSpPr>
        <p:spPr>
          <a:xfrm>
            <a:off x="1524000" y="304800"/>
            <a:ext cx="2362200" cy="381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485910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8962E3AB-C806-1E4A-8CCE-F42D219A73D6}"/>
              </a:ext>
            </a:extLst>
          </p:cNvPr>
          <p:cNvPicPr>
            <a:picLocks noChangeAspect="1"/>
          </p:cNvPicPr>
          <p:nvPr/>
        </p:nvPicPr>
        <p:blipFill>
          <a:blip r:embed="rId2">
            <a:duotone>
              <a:schemeClr val="accent2">
                <a:shade val="45000"/>
                <a:satMod val="135000"/>
              </a:schemeClr>
              <a:prstClr val="white"/>
            </a:duotone>
          </a:blip>
          <a:stretch>
            <a:fillRect/>
          </a:stretch>
        </p:blipFill>
        <p:spPr>
          <a:xfrm>
            <a:off x="685800" y="78827"/>
            <a:ext cx="7772400" cy="6172200"/>
          </a:xfrm>
          <a:prstGeom prst="rect">
            <a:avLst/>
          </a:prstGeom>
        </p:spPr>
      </p:pic>
    </p:spTree>
    <p:extLst>
      <p:ext uri="{BB962C8B-B14F-4D97-AF65-F5344CB8AC3E}">
        <p14:creationId xmlns:p14="http://schemas.microsoft.com/office/powerpoint/2010/main" val="292477894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682C0-94CC-4559-A675-88644C764552}"/>
              </a:ext>
            </a:extLst>
          </p:cNvPr>
          <p:cNvSpPr>
            <a:spLocks noGrp="1"/>
          </p:cNvSpPr>
          <p:nvPr>
            <p:ph type="title"/>
          </p:nvPr>
        </p:nvSpPr>
        <p:spPr>
          <a:xfrm>
            <a:off x="152400" y="398463"/>
            <a:ext cx="8763000" cy="1354137"/>
          </a:xfrm>
        </p:spPr>
        <p:txBody>
          <a:bodyPr>
            <a:normAutofit/>
          </a:bodyPr>
          <a:lstStyle/>
          <a:p>
            <a:pPr algn="ctr"/>
            <a:r>
              <a:rPr lang="en-US" b="1" dirty="0">
                <a:solidFill>
                  <a:schemeClr val="accent2">
                    <a:lumMod val="75000"/>
                  </a:schemeClr>
                </a:solidFill>
                <a:latin typeface="Calibri" panose="020F0502020204030204" pitchFamily="34" charset="0"/>
                <a:ea typeface="MS PGothic" panose="020B0600070205080204" pitchFamily="34" charset="-128"/>
                <a:cs typeface="Arial" panose="020B0604020202020204" pitchFamily="34" charset="0"/>
              </a:rPr>
              <a:t>Rationale Use of Oxygen in Covid Facilities</a:t>
            </a:r>
            <a:endParaRPr lang="en-IN" b="1" dirty="0">
              <a:solidFill>
                <a:schemeClr val="accent2">
                  <a:lumMod val="75000"/>
                </a:schemeClr>
              </a:solidFill>
              <a:latin typeface="Calibri" panose="020F0502020204030204" pitchFamily="34" charset="0"/>
              <a:ea typeface="MS PGothic" panose="020B0600070205080204" pitchFamily="34" charset="-128"/>
              <a:cs typeface="Arial" panose="020B0604020202020204" pitchFamily="34" charset="0"/>
            </a:endParaRPr>
          </a:p>
        </p:txBody>
      </p:sp>
      <p:sp>
        <p:nvSpPr>
          <p:cNvPr id="3" name="Content Placeholder 2">
            <a:extLst>
              <a:ext uri="{FF2B5EF4-FFF2-40B4-BE49-F238E27FC236}">
                <a16:creationId xmlns:a16="http://schemas.microsoft.com/office/drawing/2014/main" id="{A5B13F7A-98D3-40B8-9F1E-B223F969472C}"/>
              </a:ext>
            </a:extLst>
          </p:cNvPr>
          <p:cNvSpPr>
            <a:spLocks noGrp="1"/>
          </p:cNvSpPr>
          <p:nvPr>
            <p:ph idx="1"/>
          </p:nvPr>
        </p:nvSpPr>
        <p:spPr>
          <a:xfrm>
            <a:off x="822325" y="1981200"/>
            <a:ext cx="7772400" cy="4478337"/>
          </a:xfrm>
        </p:spPr>
        <p:txBody>
          <a:bodyPr/>
          <a:lstStyle/>
          <a:p>
            <a:pPr>
              <a:lnSpc>
                <a:spcPct val="100000"/>
              </a:lnSpc>
              <a:spcBef>
                <a:spcPts val="600"/>
              </a:spcBef>
              <a:spcAft>
                <a:spcPts val="600"/>
              </a:spcAft>
            </a:pPr>
            <a:r>
              <a:rPr lang="en-US" sz="1800" b="1" u="sng" dirty="0">
                <a:solidFill>
                  <a:schemeClr val="tx2"/>
                </a:solidFill>
                <a:effectLst/>
                <a:latin typeface="Calibri" panose="020F0502020204030204" pitchFamily="34" charset="0"/>
                <a:ea typeface="Calibri" panose="020F0502020204030204" pitchFamily="34" charset="0"/>
                <a:cs typeface="Mangal" panose="02040503050203030202" pitchFamily="18" charset="0"/>
              </a:rPr>
              <a:t>CLASSIFYING AREA AS PER NEED OF OXYGEN </a:t>
            </a:r>
            <a:endParaRPr lang="en-IN" sz="1800" u="sng" dirty="0">
              <a:solidFill>
                <a:schemeClr val="tx2"/>
              </a:solidFill>
              <a:effectLst/>
              <a:latin typeface="Calibri" panose="020F0502020204030204" pitchFamily="34" charset="0"/>
              <a:ea typeface="Calibri" panose="020F0502020204030204" pitchFamily="34" charset="0"/>
              <a:cs typeface="Mangal" panose="02040503050203030202" pitchFamily="18" charset="0"/>
            </a:endParaRPr>
          </a:p>
          <a:p>
            <a:pPr marL="214313" indent="-214313">
              <a:lnSpc>
                <a:spcPct val="100000"/>
              </a:lnSpc>
              <a:spcBef>
                <a:spcPts val="600"/>
              </a:spcBef>
              <a:spcAft>
                <a:spcPts val="6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Mangal" panose="02040503050203030202" pitchFamily="18" charset="0"/>
              </a:rPr>
              <a:t>Zone-A: Ward or Floor for patients who do not require Oxygen (e.g., patients maintaining oxygen saturation 94% or above in room air).</a:t>
            </a:r>
            <a:endParaRPr lang="en-IN" sz="1800" dirty="0">
              <a:effectLst/>
              <a:latin typeface="Calibri" panose="020F0502020204030204" pitchFamily="34" charset="0"/>
              <a:ea typeface="Calibri" panose="020F0502020204030204" pitchFamily="34" charset="0"/>
              <a:cs typeface="Mangal" panose="02040503050203030202" pitchFamily="18" charset="0"/>
            </a:endParaRPr>
          </a:p>
          <a:p>
            <a:pPr marL="214313" indent="-214313">
              <a:lnSpc>
                <a:spcPct val="100000"/>
              </a:lnSpc>
              <a:spcBef>
                <a:spcPts val="600"/>
              </a:spcBef>
              <a:spcAft>
                <a:spcPts val="6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Mangal" panose="02040503050203030202" pitchFamily="18" charset="0"/>
              </a:rPr>
              <a:t>Zone-B: Ward or Floor for patients who require O</a:t>
            </a:r>
            <a:r>
              <a:rPr lang="en-US" sz="1800" baseline="-25000" dirty="0">
                <a:effectLst/>
                <a:latin typeface="Calibri" panose="020F0502020204030204" pitchFamily="34" charset="0"/>
                <a:ea typeface="Calibri" panose="020F0502020204030204" pitchFamily="34" charset="0"/>
                <a:cs typeface="Mangal" panose="02040503050203030202" pitchFamily="18" charset="0"/>
              </a:rPr>
              <a:t>2</a:t>
            </a:r>
            <a:r>
              <a:rPr lang="en-US" sz="1800" dirty="0">
                <a:effectLst/>
                <a:latin typeface="Calibri" panose="020F0502020204030204" pitchFamily="34" charset="0"/>
                <a:ea typeface="Calibri" panose="020F0502020204030204" pitchFamily="34" charset="0"/>
                <a:cs typeface="Mangal" panose="02040503050203030202" pitchFamily="18" charset="0"/>
              </a:rPr>
              <a:t>-1 to 5 </a:t>
            </a:r>
            <a:r>
              <a:rPr lang="en-US" sz="1800" dirty="0" err="1">
                <a:effectLst/>
                <a:latin typeface="Calibri" panose="020F0502020204030204" pitchFamily="34" charset="0"/>
                <a:ea typeface="Calibri" panose="020F0502020204030204" pitchFamily="34" charset="0"/>
                <a:cs typeface="Mangal" panose="02040503050203030202" pitchFamily="18" charset="0"/>
              </a:rPr>
              <a:t>litres</a:t>
            </a:r>
            <a:r>
              <a:rPr lang="en-US" sz="1800" dirty="0">
                <a:effectLst/>
                <a:latin typeface="Calibri" panose="020F0502020204030204" pitchFamily="34" charset="0"/>
                <a:ea typeface="Calibri" panose="020F0502020204030204" pitchFamily="34" charset="0"/>
                <a:cs typeface="Mangal" panose="02040503050203030202" pitchFamily="18" charset="0"/>
              </a:rPr>
              <a:t> per minute. </a:t>
            </a:r>
            <a:endParaRPr lang="en-IN" sz="1800" dirty="0">
              <a:effectLst/>
              <a:latin typeface="Calibri" panose="020F0502020204030204" pitchFamily="34" charset="0"/>
              <a:ea typeface="Calibri" panose="020F0502020204030204" pitchFamily="34" charset="0"/>
              <a:cs typeface="Mangal" panose="02040503050203030202" pitchFamily="18" charset="0"/>
            </a:endParaRPr>
          </a:p>
          <a:p>
            <a:pPr marL="214313" indent="-214313">
              <a:lnSpc>
                <a:spcPct val="100000"/>
              </a:lnSpc>
              <a:spcBef>
                <a:spcPts val="600"/>
              </a:spcBef>
              <a:spcAft>
                <a:spcPts val="6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Mangal" panose="02040503050203030202" pitchFamily="18" charset="0"/>
              </a:rPr>
              <a:t>Zone-C: Ward or Floor for patients who require O</a:t>
            </a:r>
            <a:r>
              <a:rPr lang="en-US" sz="1800" baseline="-25000" dirty="0">
                <a:effectLst/>
                <a:latin typeface="Calibri" panose="020F0502020204030204" pitchFamily="34" charset="0"/>
                <a:ea typeface="Calibri" panose="020F0502020204030204" pitchFamily="34" charset="0"/>
                <a:cs typeface="Mangal" panose="02040503050203030202" pitchFamily="18" charset="0"/>
              </a:rPr>
              <a:t>2</a:t>
            </a:r>
            <a:r>
              <a:rPr lang="en-US" sz="1800" dirty="0">
                <a:effectLst/>
                <a:latin typeface="Calibri" panose="020F0502020204030204" pitchFamily="34" charset="0"/>
                <a:ea typeface="Calibri" panose="020F0502020204030204" pitchFamily="34" charset="0"/>
                <a:cs typeface="Mangal" panose="02040503050203030202" pitchFamily="18" charset="0"/>
              </a:rPr>
              <a:t>-6 to 10 </a:t>
            </a:r>
            <a:r>
              <a:rPr lang="en-US" sz="1800" dirty="0" err="1">
                <a:effectLst/>
                <a:latin typeface="Calibri" panose="020F0502020204030204" pitchFamily="34" charset="0"/>
                <a:ea typeface="Calibri" panose="020F0502020204030204" pitchFamily="34" charset="0"/>
                <a:cs typeface="Mangal" panose="02040503050203030202" pitchFamily="18" charset="0"/>
              </a:rPr>
              <a:t>litres</a:t>
            </a:r>
            <a:r>
              <a:rPr lang="en-US" sz="1800" dirty="0">
                <a:effectLst/>
                <a:latin typeface="Calibri" panose="020F0502020204030204" pitchFamily="34" charset="0"/>
                <a:ea typeface="Calibri" panose="020F0502020204030204" pitchFamily="34" charset="0"/>
                <a:cs typeface="Mangal" panose="02040503050203030202" pitchFamily="18" charset="0"/>
              </a:rPr>
              <a:t> per minute. </a:t>
            </a:r>
            <a:endParaRPr lang="en-IN" sz="1800" dirty="0">
              <a:effectLst/>
              <a:latin typeface="Calibri" panose="020F0502020204030204" pitchFamily="34" charset="0"/>
              <a:ea typeface="Calibri" panose="020F0502020204030204" pitchFamily="34" charset="0"/>
              <a:cs typeface="Mangal" panose="02040503050203030202" pitchFamily="18" charset="0"/>
            </a:endParaRPr>
          </a:p>
          <a:p>
            <a:pPr marL="214313" indent="-214313">
              <a:lnSpc>
                <a:spcPct val="100000"/>
              </a:lnSpc>
              <a:spcBef>
                <a:spcPts val="600"/>
              </a:spcBef>
              <a:spcAft>
                <a:spcPts val="6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Mangal" panose="02040503050203030202" pitchFamily="18" charset="0"/>
              </a:rPr>
              <a:t>Zone-D: Ward or Floor for patients who require O</a:t>
            </a:r>
            <a:r>
              <a:rPr lang="en-US" sz="1800" baseline="-25000" dirty="0">
                <a:effectLst/>
                <a:latin typeface="Calibri" panose="020F0502020204030204" pitchFamily="34" charset="0"/>
                <a:ea typeface="Calibri" panose="020F0502020204030204" pitchFamily="34" charset="0"/>
                <a:cs typeface="Mangal" panose="02040503050203030202" pitchFamily="18" charset="0"/>
              </a:rPr>
              <a:t>2</a:t>
            </a:r>
            <a:r>
              <a:rPr lang="en-US" sz="1800" dirty="0">
                <a:effectLst/>
                <a:latin typeface="Calibri" panose="020F0502020204030204" pitchFamily="34" charset="0"/>
                <a:ea typeface="Calibri" panose="020F0502020204030204" pitchFamily="34" charset="0"/>
                <a:cs typeface="Mangal" panose="02040503050203030202" pitchFamily="18" charset="0"/>
              </a:rPr>
              <a:t>-11 to 15 </a:t>
            </a:r>
            <a:r>
              <a:rPr lang="en-US" sz="1800" dirty="0" err="1">
                <a:effectLst/>
                <a:latin typeface="Calibri" panose="020F0502020204030204" pitchFamily="34" charset="0"/>
                <a:ea typeface="Calibri" panose="020F0502020204030204" pitchFamily="34" charset="0"/>
                <a:cs typeface="Mangal" panose="02040503050203030202" pitchFamily="18" charset="0"/>
              </a:rPr>
              <a:t>litres</a:t>
            </a:r>
            <a:r>
              <a:rPr lang="en-US" sz="1800" dirty="0">
                <a:effectLst/>
                <a:latin typeface="Calibri" panose="020F0502020204030204" pitchFamily="34" charset="0"/>
                <a:ea typeface="Calibri" panose="020F0502020204030204" pitchFamily="34" charset="0"/>
                <a:cs typeface="Mangal" panose="02040503050203030202" pitchFamily="18" charset="0"/>
              </a:rPr>
              <a:t> per minute. </a:t>
            </a:r>
            <a:endParaRPr lang="en-IN" sz="1800" dirty="0">
              <a:effectLst/>
              <a:latin typeface="Calibri" panose="020F0502020204030204" pitchFamily="34" charset="0"/>
              <a:ea typeface="Calibri" panose="020F0502020204030204" pitchFamily="34" charset="0"/>
              <a:cs typeface="Mangal" panose="02040503050203030202" pitchFamily="18" charset="0"/>
            </a:endParaRPr>
          </a:p>
          <a:p>
            <a:pPr marL="214313" indent="-214313">
              <a:lnSpc>
                <a:spcPct val="100000"/>
              </a:lnSpc>
              <a:spcBef>
                <a:spcPts val="600"/>
              </a:spcBef>
              <a:spcAft>
                <a:spcPts val="6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Mangal" panose="02040503050203030202" pitchFamily="18" charset="0"/>
              </a:rPr>
              <a:t>Zone-E: Ward or Floor for patients who require O</a:t>
            </a:r>
            <a:r>
              <a:rPr lang="en-US" sz="1800" baseline="-25000" dirty="0">
                <a:effectLst/>
                <a:latin typeface="Calibri" panose="020F0502020204030204" pitchFamily="34" charset="0"/>
                <a:ea typeface="Calibri" panose="020F0502020204030204" pitchFamily="34" charset="0"/>
                <a:cs typeface="Mangal" panose="02040503050203030202" pitchFamily="18" charset="0"/>
              </a:rPr>
              <a:t>2</a:t>
            </a:r>
            <a:r>
              <a:rPr lang="en-US" sz="1800" dirty="0">
                <a:effectLst/>
                <a:latin typeface="Calibri" panose="020F0502020204030204" pitchFamily="34" charset="0"/>
                <a:ea typeface="Calibri" panose="020F0502020204030204" pitchFamily="34" charset="0"/>
                <a:cs typeface="Mangal" panose="02040503050203030202" pitchFamily="18" charset="0"/>
              </a:rPr>
              <a:t>-16 to 30 </a:t>
            </a:r>
            <a:r>
              <a:rPr lang="en-US" sz="1800" dirty="0" err="1">
                <a:effectLst/>
                <a:latin typeface="Calibri" panose="020F0502020204030204" pitchFamily="34" charset="0"/>
                <a:ea typeface="Calibri" panose="020F0502020204030204" pitchFamily="34" charset="0"/>
                <a:cs typeface="Mangal" panose="02040503050203030202" pitchFamily="18" charset="0"/>
              </a:rPr>
              <a:t>litres</a:t>
            </a:r>
            <a:r>
              <a:rPr lang="en-US" sz="1800" dirty="0">
                <a:effectLst/>
                <a:latin typeface="Calibri" panose="020F0502020204030204" pitchFamily="34" charset="0"/>
                <a:ea typeface="Calibri" panose="020F0502020204030204" pitchFamily="34" charset="0"/>
                <a:cs typeface="Mangal" panose="02040503050203030202" pitchFamily="18" charset="0"/>
              </a:rPr>
              <a:t> per minute. </a:t>
            </a:r>
            <a:endParaRPr lang="en-IN" sz="1800" dirty="0">
              <a:effectLst/>
              <a:latin typeface="Calibri" panose="020F0502020204030204" pitchFamily="34" charset="0"/>
              <a:ea typeface="Calibri" panose="020F0502020204030204" pitchFamily="34" charset="0"/>
              <a:cs typeface="Mangal" panose="02040503050203030202" pitchFamily="18" charset="0"/>
            </a:endParaRPr>
          </a:p>
          <a:p>
            <a:pPr marL="214313" indent="-214313">
              <a:lnSpc>
                <a:spcPct val="100000"/>
              </a:lnSpc>
              <a:spcBef>
                <a:spcPts val="600"/>
              </a:spcBef>
              <a:spcAft>
                <a:spcPts val="60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Mangal" panose="02040503050203030202" pitchFamily="18" charset="0"/>
              </a:rPr>
              <a:t>Zone-F: Ward or Floor for patients who require O</a:t>
            </a:r>
            <a:r>
              <a:rPr lang="en-US" sz="1800" baseline="-25000" dirty="0">
                <a:effectLst/>
                <a:latin typeface="Calibri" panose="020F0502020204030204" pitchFamily="34" charset="0"/>
                <a:ea typeface="Calibri" panose="020F0502020204030204" pitchFamily="34" charset="0"/>
                <a:cs typeface="Mangal" panose="02040503050203030202" pitchFamily="18" charset="0"/>
              </a:rPr>
              <a:t>2</a:t>
            </a:r>
            <a:r>
              <a:rPr lang="en-US" sz="1800" dirty="0">
                <a:effectLst/>
                <a:latin typeface="Calibri" panose="020F0502020204030204" pitchFamily="34" charset="0"/>
                <a:ea typeface="Calibri" panose="020F0502020204030204" pitchFamily="34" charset="0"/>
                <a:cs typeface="Mangal" panose="02040503050203030202" pitchFamily="18" charset="0"/>
              </a:rPr>
              <a:t>-30+ </a:t>
            </a:r>
            <a:r>
              <a:rPr lang="en-US" sz="1800" dirty="0" err="1">
                <a:effectLst/>
                <a:latin typeface="Calibri" panose="020F0502020204030204" pitchFamily="34" charset="0"/>
                <a:ea typeface="Calibri" panose="020F0502020204030204" pitchFamily="34" charset="0"/>
                <a:cs typeface="Mangal" panose="02040503050203030202" pitchFamily="18" charset="0"/>
              </a:rPr>
              <a:t>litres</a:t>
            </a:r>
            <a:r>
              <a:rPr lang="en-US" sz="1800" dirty="0">
                <a:effectLst/>
                <a:latin typeface="Calibri" panose="020F0502020204030204" pitchFamily="34" charset="0"/>
                <a:ea typeface="Calibri" panose="020F0502020204030204" pitchFamily="34" charset="0"/>
                <a:cs typeface="Mangal" panose="02040503050203030202" pitchFamily="18" charset="0"/>
              </a:rPr>
              <a:t> per minute. </a:t>
            </a:r>
            <a:endParaRPr lang="en-IN" sz="1800" dirty="0">
              <a:effectLst/>
              <a:latin typeface="Calibri" panose="020F0502020204030204" pitchFamily="34" charset="0"/>
              <a:ea typeface="Calibri" panose="020F0502020204030204" pitchFamily="34" charset="0"/>
              <a:cs typeface="Mangal" panose="02040503050203030202" pitchFamily="18" charset="0"/>
            </a:endParaRPr>
          </a:p>
          <a:p>
            <a:endParaRPr lang="en-IN" sz="1800" dirty="0"/>
          </a:p>
        </p:txBody>
      </p:sp>
    </p:spTree>
    <p:extLst>
      <p:ext uri="{BB962C8B-B14F-4D97-AF65-F5344CB8AC3E}">
        <p14:creationId xmlns:p14="http://schemas.microsoft.com/office/powerpoint/2010/main" val="4031948989"/>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682C0-94CC-4559-A675-88644C764552}"/>
              </a:ext>
            </a:extLst>
          </p:cNvPr>
          <p:cNvSpPr>
            <a:spLocks noGrp="1"/>
          </p:cNvSpPr>
          <p:nvPr>
            <p:ph type="title"/>
          </p:nvPr>
        </p:nvSpPr>
        <p:spPr>
          <a:xfrm>
            <a:off x="609600" y="762000"/>
            <a:ext cx="8153400" cy="1008824"/>
          </a:xfrm>
        </p:spPr>
        <p:txBody>
          <a:bodyPr vert="horz" lIns="91440" tIns="45720" rIns="91440" bIns="45720" rtlCol="0" anchor="b">
            <a:normAutofit/>
          </a:bodyPr>
          <a:lstStyle/>
          <a:p>
            <a:pPr algn="ctr"/>
            <a:r>
              <a:rPr lang="en-US" b="1" dirty="0">
                <a:solidFill>
                  <a:schemeClr val="accent2">
                    <a:lumMod val="75000"/>
                  </a:schemeClr>
                </a:solidFill>
                <a:latin typeface="Calibri" panose="020F0502020204030204" pitchFamily="34" charset="0"/>
                <a:ea typeface="MS PGothic" panose="020B0600070205080204" pitchFamily="34" charset="-128"/>
                <a:cs typeface="Arial" panose="020B0604020202020204" pitchFamily="34" charset="0"/>
              </a:rPr>
              <a:t>Rationale Use of Oxygen in Covid Facilities</a:t>
            </a:r>
            <a:endParaRPr lang="en-IN" b="1" dirty="0">
              <a:solidFill>
                <a:schemeClr val="accent2">
                  <a:lumMod val="75000"/>
                </a:schemeClr>
              </a:solidFill>
              <a:latin typeface="Calibri" panose="020F0502020204030204" pitchFamily="34" charset="0"/>
              <a:ea typeface="MS PGothic" panose="020B0600070205080204" pitchFamily="34" charset="-128"/>
              <a:cs typeface="Arial" panose="020B0604020202020204" pitchFamily="34" charset="0"/>
            </a:endParaRPr>
          </a:p>
        </p:txBody>
      </p:sp>
      <p:sp>
        <p:nvSpPr>
          <p:cNvPr id="3" name="Content Placeholder 2">
            <a:extLst>
              <a:ext uri="{FF2B5EF4-FFF2-40B4-BE49-F238E27FC236}">
                <a16:creationId xmlns:a16="http://schemas.microsoft.com/office/drawing/2014/main" id="{A5B13F7A-98D3-40B8-9F1E-B223F969472C}"/>
              </a:ext>
            </a:extLst>
          </p:cNvPr>
          <p:cNvSpPr>
            <a:spLocks noGrp="1"/>
          </p:cNvSpPr>
          <p:nvPr>
            <p:ph idx="1"/>
          </p:nvPr>
        </p:nvSpPr>
        <p:spPr>
          <a:xfrm>
            <a:off x="914399" y="1846263"/>
            <a:ext cx="7451726" cy="4022725"/>
          </a:xfrm>
        </p:spPr>
        <p:txBody>
          <a:bodyPr/>
          <a:lstStyle/>
          <a:p>
            <a:pPr>
              <a:lnSpc>
                <a:spcPct val="150000"/>
              </a:lnSpc>
            </a:pPr>
            <a:r>
              <a:rPr lang="en-US" sz="1600" b="1" u="sng" dirty="0">
                <a:solidFill>
                  <a:schemeClr val="tx2"/>
                </a:solidFill>
                <a:effectLst/>
                <a:latin typeface="Calibri" panose="020F0502020204030204" pitchFamily="34" charset="0"/>
                <a:ea typeface="Calibri" panose="020F0502020204030204" pitchFamily="34" charset="0"/>
                <a:cs typeface="Mangal" panose="02040503050203030202" pitchFamily="18" charset="0"/>
              </a:rPr>
              <a:t>ESTABLISHMENT OF ADMISSION &amp; DISCHARGE COMMITTEE</a:t>
            </a:r>
          </a:p>
          <a:p>
            <a:pPr marL="257175" indent="-257175">
              <a:lnSpc>
                <a:spcPct val="200000"/>
              </a:lnSpc>
              <a:spcBef>
                <a:spcPts val="0"/>
              </a:spcBef>
              <a:spcAft>
                <a:spcPts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Head of the Facility</a:t>
            </a:r>
            <a:endParaRPr lang="en-IN" sz="1600" dirty="0">
              <a:latin typeface="Calibri" panose="020F0502020204030204" pitchFamily="34" charset="0"/>
              <a:ea typeface="Calibri" panose="020F0502020204030204" pitchFamily="34" charset="0"/>
              <a:cs typeface="Mangal" panose="02040503050203030202" pitchFamily="18" charset="0"/>
            </a:endParaRPr>
          </a:p>
          <a:p>
            <a:pPr marL="257175" indent="-257175">
              <a:lnSpc>
                <a:spcPct val="200000"/>
              </a:lnSpc>
              <a:spcBef>
                <a:spcPts val="0"/>
              </a:spcBef>
              <a:spcAft>
                <a:spcPts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Senior Physician/Anesthetist</a:t>
            </a:r>
            <a:endParaRPr lang="en-IN" sz="1600" dirty="0">
              <a:latin typeface="Calibri" panose="020F0502020204030204" pitchFamily="34" charset="0"/>
              <a:ea typeface="Calibri" panose="020F0502020204030204" pitchFamily="34" charset="0"/>
              <a:cs typeface="Mangal" panose="02040503050203030202" pitchFamily="18" charset="0"/>
            </a:endParaRPr>
          </a:p>
          <a:p>
            <a:pPr marL="257175" indent="-257175">
              <a:lnSpc>
                <a:spcPct val="200000"/>
              </a:lnSpc>
              <a:spcBef>
                <a:spcPts val="0"/>
              </a:spcBef>
              <a:spcAft>
                <a:spcPts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I/c OF DCH/DCHC</a:t>
            </a:r>
            <a:endParaRPr lang="en-IN" sz="1600" dirty="0">
              <a:latin typeface="Calibri" panose="020F0502020204030204" pitchFamily="34" charset="0"/>
              <a:ea typeface="Calibri" panose="020F0502020204030204" pitchFamily="34" charset="0"/>
              <a:cs typeface="Mangal" panose="02040503050203030202" pitchFamily="18" charset="0"/>
            </a:endParaRPr>
          </a:p>
          <a:p>
            <a:pPr marL="257175" indent="-257175">
              <a:lnSpc>
                <a:spcPct val="200000"/>
              </a:lnSpc>
              <a:spcBef>
                <a:spcPts val="0"/>
              </a:spcBef>
              <a:spcAft>
                <a:spcPts val="60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District Collector representative</a:t>
            </a:r>
            <a:endParaRPr lang="en-IN" sz="1600" dirty="0">
              <a:latin typeface="Calibri" panose="020F0502020204030204" pitchFamily="34" charset="0"/>
              <a:ea typeface="Calibri" panose="020F0502020204030204" pitchFamily="34" charset="0"/>
              <a:cs typeface="Mangal" panose="02040503050203030202" pitchFamily="18" charset="0"/>
            </a:endParaRPr>
          </a:p>
          <a:p>
            <a:endParaRPr lang="en-IN" dirty="0"/>
          </a:p>
        </p:txBody>
      </p:sp>
    </p:spTree>
    <p:extLst>
      <p:ext uri="{BB962C8B-B14F-4D97-AF65-F5344CB8AC3E}">
        <p14:creationId xmlns:p14="http://schemas.microsoft.com/office/powerpoint/2010/main" val="220229907"/>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682C0-94CC-4559-A675-88644C764552}"/>
              </a:ext>
            </a:extLst>
          </p:cNvPr>
          <p:cNvSpPr>
            <a:spLocks noGrp="1"/>
          </p:cNvSpPr>
          <p:nvPr>
            <p:ph type="title"/>
          </p:nvPr>
        </p:nvSpPr>
        <p:spPr>
          <a:xfrm>
            <a:off x="561045" y="838200"/>
            <a:ext cx="8125755" cy="877094"/>
          </a:xfrm>
        </p:spPr>
        <p:txBody>
          <a:bodyPr vert="horz" lIns="91440" tIns="45720" rIns="91440" bIns="45720" rtlCol="0" anchor="b">
            <a:noAutofit/>
          </a:bodyPr>
          <a:lstStyle/>
          <a:p>
            <a:pPr algn="ctr"/>
            <a:r>
              <a:rPr lang="en-US" b="1" dirty="0">
                <a:solidFill>
                  <a:schemeClr val="accent2">
                    <a:lumMod val="75000"/>
                  </a:schemeClr>
                </a:solidFill>
                <a:latin typeface="Calibri" panose="020F0502020204030204" pitchFamily="34" charset="0"/>
                <a:ea typeface="MS PGothic" panose="020B0600070205080204" pitchFamily="34" charset="-128"/>
                <a:cs typeface="Arial" panose="020B0604020202020204" pitchFamily="34" charset="0"/>
              </a:rPr>
              <a:t>Rationale Use of Oxygen in Covid Facilities</a:t>
            </a:r>
            <a:endParaRPr lang="en-IN" b="1" dirty="0">
              <a:solidFill>
                <a:schemeClr val="accent2">
                  <a:lumMod val="75000"/>
                </a:schemeClr>
              </a:solidFill>
              <a:latin typeface="Calibri" panose="020F0502020204030204" pitchFamily="34" charset="0"/>
              <a:ea typeface="MS PGothic" panose="020B0600070205080204" pitchFamily="34" charset="-128"/>
              <a:cs typeface="Arial" panose="020B0604020202020204" pitchFamily="34" charset="0"/>
            </a:endParaRPr>
          </a:p>
        </p:txBody>
      </p:sp>
      <p:sp>
        <p:nvSpPr>
          <p:cNvPr id="3" name="Content Placeholder 2">
            <a:extLst>
              <a:ext uri="{FF2B5EF4-FFF2-40B4-BE49-F238E27FC236}">
                <a16:creationId xmlns:a16="http://schemas.microsoft.com/office/drawing/2014/main" id="{A5B13F7A-98D3-40B8-9F1E-B223F969472C}"/>
              </a:ext>
            </a:extLst>
          </p:cNvPr>
          <p:cNvSpPr>
            <a:spLocks noGrp="1"/>
          </p:cNvSpPr>
          <p:nvPr>
            <p:ph idx="1"/>
          </p:nvPr>
        </p:nvSpPr>
        <p:spPr>
          <a:xfrm>
            <a:off x="914399" y="1981200"/>
            <a:ext cx="7451725" cy="3887788"/>
          </a:xfrm>
        </p:spPr>
        <p:txBody>
          <a:bodyPr/>
          <a:lstStyle/>
          <a:p>
            <a:pPr>
              <a:lnSpc>
                <a:spcPct val="150000"/>
              </a:lnSpc>
            </a:pPr>
            <a:r>
              <a:rPr lang="en-US" sz="2400" b="1" u="sng" dirty="0">
                <a:solidFill>
                  <a:schemeClr val="tx2"/>
                </a:solidFill>
                <a:effectLst/>
                <a:latin typeface="Calibri" panose="020F0502020204030204" pitchFamily="34" charset="0"/>
                <a:ea typeface="Calibri" panose="020F0502020204030204" pitchFamily="34" charset="0"/>
                <a:cs typeface="Mangal" panose="02040503050203030202" pitchFamily="18" charset="0"/>
              </a:rPr>
              <a:t>IMPROVING AVAILABILITY OF OXYGEN</a:t>
            </a:r>
          </a:p>
          <a:p>
            <a:pPr marL="257175" indent="-257175">
              <a:lnSpc>
                <a:spcPct val="200000"/>
              </a:lnSpc>
              <a:spcBef>
                <a:spcPts val="0"/>
              </a:spcBef>
              <a:spcAft>
                <a:spcPts val="0"/>
              </a:spcAft>
              <a:buFont typeface="Arial" panose="020B0604020202020204" pitchFamily="34" charset="0"/>
              <a:buChar char="•"/>
            </a:pPr>
            <a:r>
              <a:rPr lang="en-US" sz="2400" dirty="0">
                <a:latin typeface="Calibri" panose="020F0502020204030204" pitchFamily="34" charset="0"/>
                <a:ea typeface="Calibri" panose="020F0502020204030204" pitchFamily="34" charset="0"/>
                <a:cs typeface="Mangal" panose="02040503050203030202" pitchFamily="18" charset="0"/>
              </a:rPr>
              <a:t>Oxygen storage capacity</a:t>
            </a:r>
          </a:p>
          <a:p>
            <a:pPr marL="257175" indent="-257175">
              <a:lnSpc>
                <a:spcPct val="200000"/>
              </a:lnSpc>
              <a:spcBef>
                <a:spcPts val="0"/>
              </a:spcBef>
              <a:spcAft>
                <a:spcPts val="0"/>
              </a:spcAft>
              <a:buFont typeface="Arial" panose="020B0604020202020204" pitchFamily="34" charset="0"/>
              <a:buChar char="•"/>
            </a:pPr>
            <a:r>
              <a:rPr lang="en-US" sz="2400" dirty="0">
                <a:latin typeface="Calibri" panose="020F0502020204030204" pitchFamily="34" charset="0"/>
                <a:ea typeface="Calibri" panose="020F0502020204030204" pitchFamily="34" charset="0"/>
                <a:cs typeface="Mangal" panose="02040503050203030202" pitchFamily="18" charset="0"/>
              </a:rPr>
              <a:t>Oxygen generation system</a:t>
            </a:r>
          </a:p>
          <a:p>
            <a:pPr marL="257175" indent="-257175">
              <a:lnSpc>
                <a:spcPct val="200000"/>
              </a:lnSpc>
              <a:spcBef>
                <a:spcPts val="0"/>
              </a:spcBef>
              <a:spcAft>
                <a:spcPts val="0"/>
              </a:spcAft>
              <a:buFont typeface="Arial" panose="020B0604020202020204" pitchFamily="34" charset="0"/>
              <a:buChar char="•"/>
            </a:pPr>
            <a:r>
              <a:rPr lang="en-US" sz="2400" dirty="0">
                <a:latin typeface="Calibri" panose="020F0502020204030204" pitchFamily="34" charset="0"/>
                <a:ea typeface="Calibri" panose="020F0502020204030204" pitchFamily="34" charset="0"/>
                <a:cs typeface="Mangal" panose="02040503050203030202" pitchFamily="18" charset="0"/>
              </a:rPr>
              <a:t>Oxygen distribution system. </a:t>
            </a:r>
          </a:p>
          <a:p>
            <a:pPr marL="257175" indent="-257175">
              <a:lnSpc>
                <a:spcPct val="200000"/>
              </a:lnSpc>
              <a:spcBef>
                <a:spcPts val="0"/>
              </a:spcBef>
              <a:spcAft>
                <a:spcPts val="0"/>
              </a:spcAft>
              <a:buFont typeface="Arial" panose="020B0604020202020204" pitchFamily="34" charset="0"/>
              <a:buChar char="•"/>
            </a:pPr>
            <a:r>
              <a:rPr lang="en-US" sz="2400" dirty="0">
                <a:latin typeface="Calibri" panose="020F0502020204030204" pitchFamily="34" charset="0"/>
                <a:ea typeface="Calibri" panose="020F0502020204030204" pitchFamily="34" charset="0"/>
                <a:cs typeface="Mangal" panose="02040503050203030202" pitchFamily="18" charset="0"/>
              </a:rPr>
              <a:t>Maintenance of Oxygen delivery system</a:t>
            </a:r>
          </a:p>
          <a:p>
            <a:endParaRPr lang="en-IN" sz="2000" dirty="0"/>
          </a:p>
        </p:txBody>
      </p:sp>
    </p:spTree>
    <p:extLst>
      <p:ext uri="{BB962C8B-B14F-4D97-AF65-F5344CB8AC3E}">
        <p14:creationId xmlns:p14="http://schemas.microsoft.com/office/powerpoint/2010/main" val="358313287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682C0-94CC-4559-A675-88644C764552}"/>
              </a:ext>
            </a:extLst>
          </p:cNvPr>
          <p:cNvSpPr>
            <a:spLocks noGrp="1"/>
          </p:cNvSpPr>
          <p:nvPr>
            <p:ph type="title"/>
          </p:nvPr>
        </p:nvSpPr>
        <p:spPr>
          <a:xfrm>
            <a:off x="685800" y="838200"/>
            <a:ext cx="8110153" cy="901262"/>
          </a:xfrm>
        </p:spPr>
        <p:txBody>
          <a:bodyPr vert="horz" lIns="91440" tIns="45720" rIns="91440" bIns="45720" rtlCol="0" anchor="b">
            <a:normAutofit/>
          </a:bodyPr>
          <a:lstStyle/>
          <a:p>
            <a:pPr algn="ctr"/>
            <a:r>
              <a:rPr lang="en-US" b="1" dirty="0">
                <a:solidFill>
                  <a:schemeClr val="accent2">
                    <a:lumMod val="75000"/>
                  </a:schemeClr>
                </a:solidFill>
                <a:latin typeface="Calibri" panose="020F0502020204030204" pitchFamily="34" charset="0"/>
                <a:ea typeface="MS PGothic" panose="020B0600070205080204" pitchFamily="34" charset="-128"/>
                <a:cs typeface="Arial" panose="020B0604020202020204" pitchFamily="34" charset="0"/>
              </a:rPr>
              <a:t>Rationale Use of Oxygen in Covid Facilities</a:t>
            </a:r>
            <a:endParaRPr lang="en-IN" b="1" dirty="0">
              <a:solidFill>
                <a:schemeClr val="accent2">
                  <a:lumMod val="75000"/>
                </a:schemeClr>
              </a:solidFill>
              <a:latin typeface="Calibri" panose="020F0502020204030204" pitchFamily="34" charset="0"/>
              <a:ea typeface="MS PGothic" panose="020B0600070205080204" pitchFamily="34" charset="-128"/>
              <a:cs typeface="Arial" panose="020B0604020202020204" pitchFamily="34" charset="0"/>
            </a:endParaRPr>
          </a:p>
        </p:txBody>
      </p:sp>
      <p:sp>
        <p:nvSpPr>
          <p:cNvPr id="3" name="Content Placeholder 2">
            <a:extLst>
              <a:ext uri="{FF2B5EF4-FFF2-40B4-BE49-F238E27FC236}">
                <a16:creationId xmlns:a16="http://schemas.microsoft.com/office/drawing/2014/main" id="{A5B13F7A-98D3-40B8-9F1E-B223F969472C}"/>
              </a:ext>
            </a:extLst>
          </p:cNvPr>
          <p:cNvSpPr>
            <a:spLocks noGrp="1"/>
          </p:cNvSpPr>
          <p:nvPr>
            <p:ph idx="1"/>
          </p:nvPr>
        </p:nvSpPr>
        <p:spPr>
          <a:xfrm>
            <a:off x="855279" y="1981200"/>
            <a:ext cx="7526722" cy="4419600"/>
          </a:xfrm>
        </p:spPr>
        <p:txBody>
          <a:bodyPr>
            <a:noAutofit/>
          </a:bodyPr>
          <a:lstStyle/>
          <a:p>
            <a:pPr>
              <a:lnSpc>
                <a:spcPct val="100000"/>
              </a:lnSpc>
            </a:pPr>
            <a:r>
              <a:rPr lang="en-US" sz="1600" b="1" u="sng" dirty="0">
                <a:solidFill>
                  <a:schemeClr val="tx2"/>
                </a:solidFill>
                <a:effectLst/>
                <a:latin typeface="Calibri" panose="020F0502020204030204" pitchFamily="34" charset="0"/>
                <a:ea typeface="Calibri" panose="020F0502020204030204" pitchFamily="34" charset="0"/>
                <a:cs typeface="Mangal" panose="02040503050203030202" pitchFamily="18" charset="0"/>
              </a:rPr>
              <a:t>MONITORING OF OXYGEN USE</a:t>
            </a:r>
          </a:p>
          <a:p>
            <a:pPr marL="257175" indent="-257175">
              <a:lnSpc>
                <a:spcPct val="100000"/>
              </a:lnSpc>
              <a:spcBef>
                <a:spcPts val="0"/>
              </a:spcBef>
              <a:spcAft>
                <a:spcPts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Each patient should be examined four hourly for oxygen saturation </a:t>
            </a:r>
          </a:p>
          <a:p>
            <a:pPr marL="257175" indent="-257175">
              <a:lnSpc>
                <a:spcPct val="100000"/>
              </a:lnSpc>
              <a:spcBef>
                <a:spcPts val="0"/>
              </a:spcBef>
              <a:spcAft>
                <a:spcPts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One I/c Doctor to be appointed for each zone to monitor the oxygen consumption of the zone. </a:t>
            </a:r>
          </a:p>
          <a:p>
            <a:pPr marL="257175" indent="-257175">
              <a:lnSpc>
                <a:spcPct val="100000"/>
              </a:lnSpc>
              <a:spcBef>
                <a:spcPts val="0"/>
              </a:spcBef>
              <a:spcAft>
                <a:spcPts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Daily zone wise audit of Oxygen use should be done by zone in charge. </a:t>
            </a:r>
          </a:p>
          <a:p>
            <a:pPr marL="257175" indent="-257175">
              <a:lnSpc>
                <a:spcPct val="100000"/>
              </a:lnSpc>
              <a:spcBef>
                <a:spcPts val="0"/>
              </a:spcBef>
              <a:spcAft>
                <a:spcPts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Use of Oxygen from cylinder/tank should be compared with actual consumption by patient with the help of Form-A. If there is discrepancy. It should be immediately brought to notice of ADC. </a:t>
            </a:r>
          </a:p>
          <a:p>
            <a:pPr marL="257175" indent="-257175">
              <a:lnSpc>
                <a:spcPct val="100000"/>
              </a:lnSpc>
              <a:spcBef>
                <a:spcPts val="0"/>
              </a:spcBef>
              <a:spcAft>
                <a:spcPts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One Staff Nurse called as “Oxygen Sister” to be appointed for every 50 beds. (Round time-3-4 Hrs.)</a:t>
            </a:r>
          </a:p>
          <a:p>
            <a:pPr marL="257175" indent="-257175">
              <a:lnSpc>
                <a:spcPct val="100000"/>
              </a:lnSpc>
              <a:spcBef>
                <a:spcPts val="0"/>
              </a:spcBef>
              <a:spcAft>
                <a:spcPts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If patient is improved and maintaining 94% or higher saturation at room air, patient should be shifted to Zone-A.</a:t>
            </a:r>
          </a:p>
          <a:p>
            <a:pPr marL="257175" indent="-257175">
              <a:lnSpc>
                <a:spcPct val="100000"/>
              </a:lnSpc>
              <a:spcBef>
                <a:spcPts val="0"/>
              </a:spcBef>
              <a:spcAft>
                <a:spcPts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There will be daily count of patients in each zone, estimated Oxygen consumption and actual Oxygen consumption. In case of discrepancy, investigations should be done whether Oxygen is wasted in any zone. </a:t>
            </a:r>
          </a:p>
          <a:p>
            <a:pPr marL="257175" indent="-257175">
              <a:lnSpc>
                <a:spcPct val="100000"/>
              </a:lnSpc>
              <a:spcBef>
                <a:spcPts val="0"/>
              </a:spcBef>
              <a:spcAft>
                <a:spcPts val="0"/>
              </a:spcAft>
              <a:buFont typeface="Arial" panose="020B0604020202020204" pitchFamily="34" charset="0"/>
              <a:buChar char="•"/>
            </a:pPr>
            <a:r>
              <a:rPr lang="en-US" sz="1600" dirty="0">
                <a:latin typeface="Calibri" panose="020F0502020204030204" pitchFamily="34" charset="0"/>
                <a:ea typeface="Calibri" panose="020F0502020204030204" pitchFamily="34" charset="0"/>
                <a:cs typeface="Mangal" panose="02040503050203030202" pitchFamily="18" charset="0"/>
              </a:rPr>
              <a:t>Following monitoring format should be used for checking consumption. Format should be filled in zone wise by I/c doctor of each zone. </a:t>
            </a:r>
          </a:p>
        </p:txBody>
      </p:sp>
    </p:spTree>
    <p:extLst>
      <p:ext uri="{BB962C8B-B14F-4D97-AF65-F5344CB8AC3E}">
        <p14:creationId xmlns:p14="http://schemas.microsoft.com/office/powerpoint/2010/main" val="386890124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124200" y="2800350"/>
            <a:ext cx="6019800" cy="1257300"/>
          </a:xfrm>
        </p:spPr>
        <p:txBody>
          <a:bodyPr rtlCol="0" anchor="ctr">
            <a:noAutofit/>
          </a:bodyPr>
          <a:lstStyle/>
          <a:p>
            <a:pPr marL="0" indent="0" algn="ctr"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latin typeface="Calibri" panose="020F0502020204030204" pitchFamily="34" charset="0"/>
              </a:rPr>
              <a:t>Oxygen Demand Aggregation System (ODAS)</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dirty="0">
              <a:solidFill>
                <a:schemeClr val="accent2">
                  <a:lumMod val="75000"/>
                </a:schemeClr>
              </a:solidFill>
              <a:latin typeface="Calibri" panose="020F0502020204030204" pitchFamily="34" charset="0"/>
            </a:endParaRPr>
          </a:p>
        </p:txBody>
      </p:sp>
    </p:spTree>
    <p:extLst>
      <p:ext uri="{BB962C8B-B14F-4D97-AF65-F5344CB8AC3E}">
        <p14:creationId xmlns:p14="http://schemas.microsoft.com/office/powerpoint/2010/main" val="293829189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851515" y="986892"/>
            <a:ext cx="7557473" cy="765708"/>
          </a:xfrm>
        </p:spPr>
        <p:txBody>
          <a:bodyPr anchor="b"/>
          <a:lstStyle/>
          <a:p>
            <a:pPr algn="ctr"/>
            <a:r>
              <a:rPr lang="en-US" sz="3600" b="1" spc="-38" dirty="0">
                <a:solidFill>
                  <a:schemeClr val="accent2">
                    <a:lumMod val="75000"/>
                  </a:schemeClr>
                </a:solidFill>
                <a:latin typeface="Calibri" panose="020F0502020204030204" pitchFamily="34" charset="0"/>
                <a:ea typeface="MS PGothic" panose="020B0600070205080204" pitchFamily="34" charset="-128"/>
                <a:cs typeface="Arial" panose="020B0604020202020204" pitchFamily="34" charset="0"/>
              </a:rPr>
              <a:t>Oxygen Demand Aggregation System</a:t>
            </a:r>
          </a:p>
        </p:txBody>
      </p:sp>
      <p:sp>
        <p:nvSpPr>
          <p:cNvPr id="71" name="Triangle 70">
            <a:extLst>
              <a:ext uri="{FF2B5EF4-FFF2-40B4-BE49-F238E27FC236}">
                <a16:creationId xmlns:a16="http://schemas.microsoft.com/office/drawing/2014/main" id="{6EFBB579-D29C-534E-B68C-AD5275040432}"/>
              </a:ext>
            </a:extLst>
          </p:cNvPr>
          <p:cNvSpPr/>
          <p:nvPr/>
        </p:nvSpPr>
        <p:spPr>
          <a:xfrm rot="10800000">
            <a:off x="468626" y="3373791"/>
            <a:ext cx="8141974" cy="238412"/>
          </a:xfrm>
          <a:prstGeom prst="triangle">
            <a:avLst>
              <a:gd name="adj" fmla="val 49498"/>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eaLnBrk="1" fontAlgn="auto" hangingPunct="1">
              <a:spcBef>
                <a:spcPts val="0"/>
              </a:spcBef>
              <a:spcAft>
                <a:spcPts val="0"/>
              </a:spcAft>
              <a:defRPr/>
            </a:pPr>
            <a:endParaRPr lang="en-US" sz="1350" dirty="0">
              <a:solidFill>
                <a:prstClr val="white"/>
              </a:solidFill>
              <a:latin typeface="Arial"/>
            </a:endParaRPr>
          </a:p>
        </p:txBody>
      </p:sp>
      <p:graphicFrame>
        <p:nvGraphicFramePr>
          <p:cNvPr id="13" name="Diagram 12">
            <a:extLst>
              <a:ext uri="{FF2B5EF4-FFF2-40B4-BE49-F238E27FC236}">
                <a16:creationId xmlns:a16="http://schemas.microsoft.com/office/drawing/2014/main" id="{6AF5761C-98E6-484E-9FF9-0314090D5325}"/>
              </a:ext>
            </a:extLst>
          </p:cNvPr>
          <p:cNvGraphicFramePr/>
          <p:nvPr/>
        </p:nvGraphicFramePr>
        <p:xfrm>
          <a:off x="533385" y="3918305"/>
          <a:ext cx="8141989" cy="21014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a:extLst>
              <a:ext uri="{FF2B5EF4-FFF2-40B4-BE49-F238E27FC236}">
                <a16:creationId xmlns:a16="http://schemas.microsoft.com/office/drawing/2014/main" id="{6E1A333E-CB0A-4DF0-80B8-591F6B197B40}"/>
              </a:ext>
            </a:extLst>
          </p:cNvPr>
          <p:cNvSpPr/>
          <p:nvPr/>
        </p:nvSpPr>
        <p:spPr>
          <a:xfrm>
            <a:off x="468627" y="2200396"/>
            <a:ext cx="2034543" cy="110528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defRPr/>
            </a:pPr>
            <a:r>
              <a:rPr lang="en-US" sz="1600" dirty="0">
                <a:latin typeface="Calibri" panose="020F0502020204030204" pitchFamily="34" charset="0"/>
              </a:rPr>
              <a:t>Indicators Tracked / Visualized</a:t>
            </a:r>
          </a:p>
          <a:p>
            <a:pPr algn="ctr" defTabSz="685800" eaLnBrk="1" fontAlgn="auto" hangingPunct="1">
              <a:spcBef>
                <a:spcPts val="0"/>
              </a:spcBef>
              <a:spcAft>
                <a:spcPts val="0"/>
              </a:spcAft>
              <a:defRPr/>
            </a:pPr>
            <a:r>
              <a:rPr lang="en-US" sz="1600" dirty="0">
                <a:solidFill>
                  <a:prstClr val="white"/>
                </a:solidFill>
                <a:latin typeface="Calibri" panose="020F0502020204030204" pitchFamily="34" charset="0"/>
              </a:rPr>
              <a:t>Tracked</a:t>
            </a:r>
          </a:p>
        </p:txBody>
      </p:sp>
      <p:sp>
        <p:nvSpPr>
          <p:cNvPr id="34" name="Rectangle 33">
            <a:extLst>
              <a:ext uri="{FF2B5EF4-FFF2-40B4-BE49-F238E27FC236}">
                <a16:creationId xmlns:a16="http://schemas.microsoft.com/office/drawing/2014/main" id="{001A51BC-A7C0-460F-B91E-C296B0419034}"/>
              </a:ext>
            </a:extLst>
          </p:cNvPr>
          <p:cNvSpPr/>
          <p:nvPr/>
        </p:nvSpPr>
        <p:spPr>
          <a:xfrm>
            <a:off x="2602214" y="2202804"/>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350" dirty="0">
                <a:solidFill>
                  <a:prstClr val="white"/>
                </a:solidFill>
                <a:latin typeface="Arial"/>
              </a:rPr>
              <a:t># General O2 Beds</a:t>
            </a:r>
          </a:p>
        </p:txBody>
      </p:sp>
      <p:sp>
        <p:nvSpPr>
          <p:cNvPr id="35" name="Rectangle 34">
            <a:extLst>
              <a:ext uri="{FF2B5EF4-FFF2-40B4-BE49-F238E27FC236}">
                <a16:creationId xmlns:a16="http://schemas.microsoft.com/office/drawing/2014/main" id="{19BA3AA7-035B-4011-B017-C40F332F349A}"/>
              </a:ext>
            </a:extLst>
          </p:cNvPr>
          <p:cNvSpPr/>
          <p:nvPr/>
        </p:nvSpPr>
        <p:spPr>
          <a:xfrm>
            <a:off x="2602214" y="2811496"/>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350" dirty="0">
                <a:solidFill>
                  <a:prstClr val="white"/>
                </a:solidFill>
                <a:latin typeface="Arial"/>
              </a:rPr>
              <a:t># Oxygen Concentrators</a:t>
            </a:r>
          </a:p>
        </p:txBody>
      </p:sp>
      <p:sp>
        <p:nvSpPr>
          <p:cNvPr id="36" name="Rectangle 35">
            <a:extLst>
              <a:ext uri="{FF2B5EF4-FFF2-40B4-BE49-F238E27FC236}">
                <a16:creationId xmlns:a16="http://schemas.microsoft.com/office/drawing/2014/main" id="{15E20958-23A1-46E0-AEBE-8A9FF602D7C7}"/>
              </a:ext>
            </a:extLst>
          </p:cNvPr>
          <p:cNvSpPr/>
          <p:nvPr/>
        </p:nvSpPr>
        <p:spPr>
          <a:xfrm>
            <a:off x="4145265" y="2811496"/>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200" dirty="0">
                <a:solidFill>
                  <a:prstClr val="white"/>
                </a:solidFill>
                <a:latin typeface="Calibri" panose="020F0502020204030204" pitchFamily="34" charset="0"/>
              </a:rPr>
              <a:t>Oxygen Plant Capacity (MT/D)</a:t>
            </a:r>
          </a:p>
        </p:txBody>
      </p:sp>
      <p:sp>
        <p:nvSpPr>
          <p:cNvPr id="37" name="Rectangle 36">
            <a:extLst>
              <a:ext uri="{FF2B5EF4-FFF2-40B4-BE49-F238E27FC236}">
                <a16:creationId xmlns:a16="http://schemas.microsoft.com/office/drawing/2014/main" id="{D575BADC-D12F-40A0-8481-14D01AC4D3BC}"/>
              </a:ext>
            </a:extLst>
          </p:cNvPr>
          <p:cNvSpPr/>
          <p:nvPr/>
        </p:nvSpPr>
        <p:spPr>
          <a:xfrm>
            <a:off x="5688316" y="2811496"/>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200" dirty="0">
                <a:solidFill>
                  <a:prstClr val="white"/>
                </a:solidFill>
                <a:latin typeface="Calibri" panose="020F0502020204030204" pitchFamily="34" charset="0"/>
              </a:rPr>
              <a:t>LMO tank capacity (MT)</a:t>
            </a:r>
          </a:p>
        </p:txBody>
      </p:sp>
      <p:sp>
        <p:nvSpPr>
          <p:cNvPr id="40" name="Rectangle 39">
            <a:extLst>
              <a:ext uri="{FF2B5EF4-FFF2-40B4-BE49-F238E27FC236}">
                <a16:creationId xmlns:a16="http://schemas.microsoft.com/office/drawing/2014/main" id="{B643C11A-7518-4A83-AE1A-9EC826DF3D57}"/>
              </a:ext>
            </a:extLst>
          </p:cNvPr>
          <p:cNvSpPr/>
          <p:nvPr/>
        </p:nvSpPr>
        <p:spPr>
          <a:xfrm>
            <a:off x="7231366" y="2811496"/>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200" dirty="0">
                <a:solidFill>
                  <a:prstClr val="white"/>
                </a:solidFill>
                <a:latin typeface="Calibri" panose="020F0502020204030204" pitchFamily="34" charset="0"/>
              </a:rPr>
              <a:t>Cylinders: Type, availability, count</a:t>
            </a:r>
          </a:p>
        </p:txBody>
      </p:sp>
      <p:sp>
        <p:nvSpPr>
          <p:cNvPr id="42" name="Rectangle 41">
            <a:extLst>
              <a:ext uri="{FF2B5EF4-FFF2-40B4-BE49-F238E27FC236}">
                <a16:creationId xmlns:a16="http://schemas.microsoft.com/office/drawing/2014/main" id="{669C257A-39EF-4703-A9C2-73C1E6D97BEF}"/>
              </a:ext>
            </a:extLst>
          </p:cNvPr>
          <p:cNvSpPr/>
          <p:nvPr/>
        </p:nvSpPr>
        <p:spPr>
          <a:xfrm>
            <a:off x="4145265" y="2201600"/>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350" dirty="0">
                <a:solidFill>
                  <a:prstClr val="white"/>
                </a:solidFill>
                <a:latin typeface="Arial"/>
              </a:rPr>
              <a:t># Intensive Care Unit O2 Beds</a:t>
            </a:r>
          </a:p>
        </p:txBody>
      </p:sp>
      <p:sp>
        <p:nvSpPr>
          <p:cNvPr id="44" name="Rectangle 43">
            <a:extLst>
              <a:ext uri="{FF2B5EF4-FFF2-40B4-BE49-F238E27FC236}">
                <a16:creationId xmlns:a16="http://schemas.microsoft.com/office/drawing/2014/main" id="{EA273E3C-603D-4538-8891-101CCA111512}"/>
              </a:ext>
            </a:extLst>
          </p:cNvPr>
          <p:cNvSpPr/>
          <p:nvPr/>
        </p:nvSpPr>
        <p:spPr>
          <a:xfrm>
            <a:off x="5688316" y="2200395"/>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200" dirty="0">
                <a:solidFill>
                  <a:prstClr val="white"/>
                </a:solidFill>
                <a:latin typeface="Calibri" panose="020F0502020204030204" pitchFamily="34" charset="0"/>
              </a:rPr>
              <a:t># High Dependency Unit Beds</a:t>
            </a:r>
          </a:p>
        </p:txBody>
      </p:sp>
      <p:sp>
        <p:nvSpPr>
          <p:cNvPr id="46" name="Rectangle 45">
            <a:extLst>
              <a:ext uri="{FF2B5EF4-FFF2-40B4-BE49-F238E27FC236}">
                <a16:creationId xmlns:a16="http://schemas.microsoft.com/office/drawing/2014/main" id="{C56F200B-732A-49A7-A7DA-26A22FE6552C}"/>
              </a:ext>
            </a:extLst>
          </p:cNvPr>
          <p:cNvSpPr/>
          <p:nvPr/>
        </p:nvSpPr>
        <p:spPr>
          <a:xfrm>
            <a:off x="7231366" y="2200395"/>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200" dirty="0">
                <a:solidFill>
                  <a:prstClr val="white"/>
                </a:solidFill>
                <a:latin typeface="Calibri" panose="020F0502020204030204" pitchFamily="34" charset="0"/>
              </a:rPr>
              <a:t># Ventilators</a:t>
            </a:r>
          </a:p>
        </p:txBody>
      </p:sp>
      <p:sp>
        <p:nvSpPr>
          <p:cNvPr id="48" name="Rectangle 47">
            <a:extLst>
              <a:ext uri="{FF2B5EF4-FFF2-40B4-BE49-F238E27FC236}">
                <a16:creationId xmlns:a16="http://schemas.microsoft.com/office/drawing/2014/main" id="{9240C844-E0B8-4340-80A8-52D20E716948}"/>
              </a:ext>
            </a:extLst>
          </p:cNvPr>
          <p:cNvSpPr/>
          <p:nvPr/>
        </p:nvSpPr>
        <p:spPr>
          <a:xfrm>
            <a:off x="851515" y="3695066"/>
            <a:ext cx="7440971" cy="23841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eaLnBrk="1" fontAlgn="auto" hangingPunct="1">
              <a:spcBef>
                <a:spcPts val="0"/>
              </a:spcBef>
              <a:spcAft>
                <a:spcPts val="0"/>
              </a:spcAft>
              <a:defRPr/>
            </a:pPr>
            <a:r>
              <a:rPr lang="en-US" sz="1600" dirty="0">
                <a:solidFill>
                  <a:prstClr val="white"/>
                </a:solidFill>
                <a:latin typeface="Calibri" panose="020F0502020204030204" pitchFamily="34" charset="0"/>
              </a:rPr>
              <a:t>Decision-making support</a:t>
            </a:r>
          </a:p>
        </p:txBody>
      </p:sp>
      <p:sp>
        <p:nvSpPr>
          <p:cNvPr id="17" name="Rectangle 16">
            <a:extLst>
              <a:ext uri="{FF2B5EF4-FFF2-40B4-BE49-F238E27FC236}">
                <a16:creationId xmlns:a16="http://schemas.microsoft.com/office/drawing/2014/main" id="{F1DD0136-C0BF-4BC5-B127-FA8AA4FC5CE9}"/>
              </a:ext>
            </a:extLst>
          </p:cNvPr>
          <p:cNvSpPr/>
          <p:nvPr/>
        </p:nvSpPr>
        <p:spPr>
          <a:xfrm>
            <a:off x="2602214" y="2201599"/>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200" dirty="0">
                <a:solidFill>
                  <a:prstClr val="white"/>
                </a:solidFill>
                <a:latin typeface="Calibri" panose="020F0502020204030204" pitchFamily="34" charset="0"/>
              </a:rPr>
              <a:t># General O2 Beds</a:t>
            </a:r>
          </a:p>
        </p:txBody>
      </p:sp>
      <p:sp>
        <p:nvSpPr>
          <p:cNvPr id="18" name="Rectangle 17">
            <a:extLst>
              <a:ext uri="{FF2B5EF4-FFF2-40B4-BE49-F238E27FC236}">
                <a16:creationId xmlns:a16="http://schemas.microsoft.com/office/drawing/2014/main" id="{87DA6562-D695-498D-A457-36ABDFF824B4}"/>
              </a:ext>
            </a:extLst>
          </p:cNvPr>
          <p:cNvSpPr/>
          <p:nvPr/>
        </p:nvSpPr>
        <p:spPr>
          <a:xfrm>
            <a:off x="2602214" y="2810291"/>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200" dirty="0">
                <a:solidFill>
                  <a:prstClr val="white"/>
                </a:solidFill>
                <a:latin typeface="Calibri" panose="020F0502020204030204" pitchFamily="34" charset="0"/>
              </a:rPr>
              <a:t># Oxygen Concentrators</a:t>
            </a:r>
          </a:p>
        </p:txBody>
      </p:sp>
      <p:sp>
        <p:nvSpPr>
          <p:cNvPr id="19" name="Rectangle 18">
            <a:extLst>
              <a:ext uri="{FF2B5EF4-FFF2-40B4-BE49-F238E27FC236}">
                <a16:creationId xmlns:a16="http://schemas.microsoft.com/office/drawing/2014/main" id="{F86CEB9C-D4B6-466E-BEAE-DC5821178F02}"/>
              </a:ext>
            </a:extLst>
          </p:cNvPr>
          <p:cNvSpPr/>
          <p:nvPr/>
        </p:nvSpPr>
        <p:spPr>
          <a:xfrm>
            <a:off x="4145265" y="2200395"/>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200" dirty="0">
                <a:solidFill>
                  <a:prstClr val="white"/>
                </a:solidFill>
                <a:latin typeface="Calibri" panose="020F0502020204030204" pitchFamily="34" charset="0"/>
              </a:rPr>
              <a:t># Intensive Care Unit O2 Beds</a:t>
            </a:r>
          </a:p>
        </p:txBody>
      </p:sp>
    </p:spTree>
    <p:extLst>
      <p:ext uri="{BB962C8B-B14F-4D97-AF65-F5344CB8AC3E}">
        <p14:creationId xmlns:p14="http://schemas.microsoft.com/office/powerpoint/2010/main" val="2664681897"/>
      </p:ext>
    </p:extLst>
  </p:cSld>
  <p:clrMapOvr>
    <a:masterClrMapping/>
  </p:clrMapOvr>
  <p:transition spd="med">
    <p:fade/>
  </p:transition>
</p:sld>
</file>

<file path=ppt/slides/slide139.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ext Placeholder 1"/>
          <p:cNvSpPr>
            <a:spLocks noGrp="1"/>
          </p:cNvSpPr>
          <p:nvPr>
            <p:ph idx="13" sz="quarter" type="body"/>
          </p:nvPr>
        </p:nvSpPr>
        <p:spPr>
          <a:xfrm>
            <a:off x="838200" y="1023580"/>
            <a:ext cx="7467600" cy="677985"/>
          </a:xfrm>
        </p:spPr>
        <p:txBody>
          <a:bodyPr anchor="b"/>
          <a:lstStyle/>
          <a:p>
            <a:pPr algn="ctr"/>
            <a:r>
              <a:rPr b="1" dirty="0" lang="en-US" spc="-38" sz="3600">
                <a:solidFill>
                  <a:schemeClr val="accent2">
                    <a:lumMod val="75000"/>
                  </a:schemeClr>
                </a:solidFill>
                <a:latin charset="0" panose="020F0502020204030204" pitchFamily="34" typeface="Calibri"/>
                <a:ea charset="-128" panose="020B0600070205080204" pitchFamily="34" typeface="MS PGothic"/>
                <a:cs charset="0" panose="020B0604020202020204" pitchFamily="34" typeface="Arial"/>
              </a:rPr>
              <a:t>Oxygen Demand Aggregation System</a:t>
            </a:r>
          </a:p>
        </p:txBody>
      </p:sp>
      <p:grpSp>
        <p:nvGrpSpPr>
          <p:cNvPr id="4" name="Group 3">
            <a:extLst>
              <a:ext uri="{FF2B5EF4-FFF2-40B4-BE49-F238E27FC236}">
                <a16:creationId xmlns:a16="http://schemas.microsoft.com/office/drawing/2014/main" id="{F3FCF06B-29E3-4667-BA12-B2094876DBB4}"/>
              </a:ext>
            </a:extLst>
          </p:cNvPr>
          <p:cNvGrpSpPr/>
          <p:nvPr/>
        </p:nvGrpSpPr>
        <p:grpSpPr>
          <a:xfrm>
            <a:off x="370452" y="2133600"/>
            <a:ext cx="8555495" cy="3840790"/>
            <a:chOff x="439340" y="1943878"/>
            <a:chExt cx="8555495" cy="3840790"/>
          </a:xfrm>
        </p:grpSpPr>
        <p:grpSp>
          <p:nvGrpSpPr>
            <p:cNvPr id="3" name="Group 2">
              <a:extLst>
                <a:ext uri="{FF2B5EF4-FFF2-40B4-BE49-F238E27FC236}">
                  <a16:creationId xmlns:a16="http://schemas.microsoft.com/office/drawing/2014/main" id="{62FCD898-D700-422B-AC1D-7AA09A5642BF}"/>
                </a:ext>
              </a:extLst>
            </p:cNvPr>
            <p:cNvGrpSpPr/>
            <p:nvPr/>
          </p:nvGrpSpPr>
          <p:grpSpPr>
            <a:xfrm>
              <a:off x="439340" y="1943878"/>
              <a:ext cx="8555495" cy="3640309"/>
              <a:chOff x="439340" y="1943878"/>
              <a:chExt cx="8555495" cy="3640309"/>
            </a:xfrm>
          </p:grpSpPr>
          <p:pic>
            <p:nvPicPr>
              <p:cNvPr descr="Table, calendar&#10;&#10;Description automatically generated" id="5" name="Picture 4">
                <a:extLst>
                  <a:ext uri="{FF2B5EF4-FFF2-40B4-BE49-F238E27FC236}">
                    <a16:creationId xmlns:a16="http://schemas.microsoft.com/office/drawing/2014/main" id="{8A3873F0-C2E3-4E05-86E9-84492DB455CF}"/>
                  </a:ext>
                </a:extLst>
              </p:cNvPr>
              <p:cNvPicPr>
                <a:picLocks noChangeAspect="1"/>
              </p:cNvPicPr>
              <p:nvPr/>
            </p:nvPicPr>
            <p:blipFill rotWithShape="1">
              <a:blip r:embed="rId3"/>
              <a:srcRect b="34"/>
              <a:stretch/>
            </p:blipFill>
            <p:spPr>
              <a:xfrm>
                <a:off x="3431849" y="1943878"/>
                <a:ext cx="5562986" cy="1980671"/>
              </a:xfrm>
              <a:prstGeom prst="rect">
                <a:avLst/>
              </a:prstGeom>
              <a:ln>
                <a:solidFill>
                  <a:schemeClr val="tx1"/>
                </a:solidFill>
              </a:ln>
            </p:spPr>
          </p:pic>
          <p:sp>
            <p:nvSpPr>
              <p:cNvPr id="22" name="Rectangle 21">
                <a:extLst>
                  <a:ext uri="{FF2B5EF4-FFF2-40B4-BE49-F238E27FC236}">
                    <a16:creationId xmlns:a16="http://schemas.microsoft.com/office/drawing/2014/main" id="{6BBC6FE1-3604-4510-BF67-A5C1447B5B72}"/>
                  </a:ext>
                </a:extLst>
              </p:cNvPr>
              <p:cNvSpPr/>
              <p:nvPr/>
            </p:nvSpPr>
            <p:spPr>
              <a:xfrm>
                <a:off x="7333058" y="3931485"/>
                <a:ext cx="1652595" cy="186649"/>
              </a:xfrm>
              <a:prstGeom prst="rect">
                <a:avLst/>
              </a:prstGeom>
              <a:solidFill>
                <a:schemeClr val="accent2"/>
              </a:solidFill>
              <a:ln>
                <a:noFill/>
              </a:ln>
            </p:spPr>
            <p:style>
              <a:lnRef idx="0">
                <a:scrgbClr b="0" g="0" r="0"/>
              </a:lnRef>
              <a:fillRef idx="0">
                <a:scrgbClr b="0" g="0" r="0"/>
              </a:fillRef>
              <a:effectRef idx="0">
                <a:scrgbClr b="0" g="0" r="0"/>
              </a:effectRef>
              <a:fontRef idx="minor">
                <a:schemeClr val="lt1"/>
              </a:fontRef>
            </p:style>
            <p:txBody>
              <a:bodyPr anchor="ctr" rtlCol="0"/>
              <a:lstStyle/>
              <a:p>
                <a:pPr algn="ctr" defTabSz="685800" eaLnBrk="1" fontAlgn="auto" hangingPunct="1">
                  <a:spcBef>
                    <a:spcPts val="0"/>
                  </a:spcBef>
                  <a:spcAft>
                    <a:spcPts val="0"/>
                  </a:spcAft>
                  <a:defRPr/>
                </a:pPr>
                <a:r>
                  <a:rPr dirty="0" lang="en-US" sz="1200">
                    <a:solidFill>
                      <a:prstClr val="white"/>
                    </a:solidFill>
                    <a:latin typeface="Arial"/>
                  </a:rPr>
                  <a:t>Summarized Reports</a:t>
                </a:r>
              </a:p>
            </p:txBody>
          </p:sp>
          <p:pic>
            <p:nvPicPr>
              <p:cNvPr descr="Text&#10;&#10;Description automatically generated" id="7" name="Picture 6">
                <a:extLst>
                  <a:ext uri="{FF2B5EF4-FFF2-40B4-BE49-F238E27FC236}">
                    <a16:creationId xmlns:a16="http://schemas.microsoft.com/office/drawing/2014/main" id="{25D748C9-E3DD-42A4-868D-14C9035837F8}"/>
                  </a:ext>
                </a:extLst>
              </p:cNvPr>
              <p:cNvPicPr>
                <a:picLocks noChangeAspect="1"/>
              </p:cNvPicPr>
              <p:nvPr/>
            </p:nvPicPr>
            <p:blipFill>
              <a:blip r:embed="rId4"/>
              <a:stretch>
                <a:fillRect/>
              </a:stretch>
            </p:blipFill>
            <p:spPr>
              <a:xfrm>
                <a:off x="439341" y="2453881"/>
                <a:ext cx="5264944" cy="2328863"/>
              </a:xfrm>
              <a:prstGeom prst="rect">
                <a:avLst/>
              </a:prstGeom>
              <a:ln>
                <a:solidFill>
                  <a:schemeClr val="tx1"/>
                </a:solidFill>
              </a:ln>
            </p:spPr>
          </p:pic>
          <p:sp>
            <p:nvSpPr>
              <p:cNvPr id="25" name="Rectangle 24">
                <a:extLst>
                  <a:ext uri="{FF2B5EF4-FFF2-40B4-BE49-F238E27FC236}">
                    <a16:creationId xmlns:a16="http://schemas.microsoft.com/office/drawing/2014/main" id="{9B4F3A3D-6768-441E-BAF3-AE4B3419C742}"/>
                  </a:ext>
                </a:extLst>
              </p:cNvPr>
              <p:cNvSpPr/>
              <p:nvPr/>
            </p:nvSpPr>
            <p:spPr>
              <a:xfrm>
                <a:off x="439340" y="4780064"/>
                <a:ext cx="1652595" cy="186649"/>
              </a:xfrm>
              <a:prstGeom prst="rect">
                <a:avLst/>
              </a:prstGeom>
              <a:solidFill>
                <a:schemeClr val="accent2"/>
              </a:solidFill>
              <a:ln>
                <a:noFill/>
              </a:ln>
            </p:spPr>
            <p:style>
              <a:lnRef idx="0">
                <a:scrgbClr b="0" g="0" r="0"/>
              </a:lnRef>
              <a:fillRef idx="0">
                <a:scrgbClr b="0" g="0" r="0"/>
              </a:fillRef>
              <a:effectRef idx="0">
                <a:scrgbClr b="0" g="0" r="0"/>
              </a:effectRef>
              <a:fontRef idx="minor">
                <a:schemeClr val="lt1"/>
              </a:fontRef>
            </p:style>
            <p:txBody>
              <a:bodyPr anchor="ctr" rtlCol="0"/>
              <a:lstStyle/>
              <a:p>
                <a:pPr algn="ctr" defTabSz="685800" eaLnBrk="1" fontAlgn="auto" hangingPunct="1">
                  <a:spcBef>
                    <a:spcPts val="0"/>
                  </a:spcBef>
                  <a:spcAft>
                    <a:spcPts val="0"/>
                  </a:spcAft>
                  <a:defRPr/>
                </a:pPr>
                <a:r>
                  <a:rPr dirty="0" lang="en-US" sz="1200">
                    <a:solidFill>
                      <a:prstClr val="white"/>
                    </a:solidFill>
                    <a:latin typeface="Arial"/>
                  </a:rPr>
                  <a:t>Demand estimation</a:t>
                </a:r>
              </a:p>
            </p:txBody>
          </p:sp>
          <p:pic>
            <p:nvPicPr>
              <p:cNvPr descr="Graphical user interface, text, application, email&#10;&#10;Description automatically generated" id="9" name="Picture 8">
                <a:extLst>
                  <a:ext uri="{FF2B5EF4-FFF2-40B4-BE49-F238E27FC236}">
                    <a16:creationId xmlns:a16="http://schemas.microsoft.com/office/drawing/2014/main" id="{D7AAD6E2-B14E-43BB-9813-6B5E366462C1}"/>
                  </a:ext>
                </a:extLst>
              </p:cNvPr>
              <p:cNvPicPr>
                <a:picLocks noChangeAspect="1"/>
              </p:cNvPicPr>
              <p:nvPr/>
            </p:nvPicPr>
            <p:blipFill>
              <a:blip r:embed="rId5"/>
              <a:stretch>
                <a:fillRect/>
              </a:stretch>
            </p:blipFill>
            <p:spPr>
              <a:xfrm>
                <a:off x="2539733" y="3841112"/>
                <a:ext cx="4471988" cy="1743075"/>
              </a:xfrm>
              <a:prstGeom prst="rect">
                <a:avLst/>
              </a:prstGeom>
              <a:ln>
                <a:solidFill>
                  <a:schemeClr val="tx1"/>
                </a:solidFill>
              </a:ln>
            </p:spPr>
          </p:pic>
        </p:grpSp>
        <p:sp>
          <p:nvSpPr>
            <p:cNvPr id="28" name="Rectangle 27">
              <a:extLst>
                <a:ext uri="{FF2B5EF4-FFF2-40B4-BE49-F238E27FC236}">
                  <a16:creationId xmlns:a16="http://schemas.microsoft.com/office/drawing/2014/main" id="{D619757E-D6CC-42A8-A0BF-78875571EA19}"/>
                </a:ext>
              </a:extLst>
            </p:cNvPr>
            <p:cNvSpPr/>
            <p:nvPr/>
          </p:nvSpPr>
          <p:spPr>
            <a:xfrm>
              <a:off x="5359126" y="5598019"/>
              <a:ext cx="1652595" cy="186649"/>
            </a:xfrm>
            <a:prstGeom prst="rect">
              <a:avLst/>
            </a:prstGeom>
            <a:solidFill>
              <a:schemeClr val="accent2"/>
            </a:solidFill>
            <a:ln>
              <a:noFill/>
            </a:ln>
          </p:spPr>
          <p:style>
            <a:lnRef idx="0">
              <a:scrgbClr b="0" g="0" r="0"/>
            </a:lnRef>
            <a:fillRef idx="0">
              <a:scrgbClr b="0" g="0" r="0"/>
            </a:fillRef>
            <a:effectRef idx="0">
              <a:scrgbClr b="0" g="0" r="0"/>
            </a:effectRef>
            <a:fontRef idx="minor">
              <a:schemeClr val="lt1"/>
            </a:fontRef>
          </p:style>
          <p:txBody>
            <a:bodyPr anchor="ctr" rtlCol="0"/>
            <a:lstStyle/>
            <a:p>
              <a:pPr algn="ctr" defTabSz="685800" eaLnBrk="1" fontAlgn="auto" hangingPunct="1">
                <a:spcBef>
                  <a:spcPts val="0"/>
                </a:spcBef>
                <a:spcAft>
                  <a:spcPts val="0"/>
                </a:spcAft>
                <a:defRPr/>
              </a:pPr>
              <a:r>
                <a:rPr dirty="0" lang="en-US" sz="1200">
                  <a:solidFill>
                    <a:prstClr val="white"/>
                  </a:solidFill>
                  <a:latin typeface="Arial"/>
                </a:rPr>
                <a:t>Demand evaluation</a:t>
              </a:r>
            </a:p>
          </p:txBody>
        </p:sp>
      </p:grpSp>
    </p:spTree>
    <p:extLst>
      <p:ext uri="{BB962C8B-B14F-4D97-AF65-F5344CB8AC3E}">
        <p14:creationId xmlns:p14="http://schemas.microsoft.com/office/powerpoint/2010/main" val="1070170763"/>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92"/>
        <p:cNvGrpSpPr/>
        <p:nvPr/>
      </p:nvGrpSpPr>
      <p:grpSpPr>
        <a:xfrm>
          <a:off x="0" y="0"/>
          <a:ext cx="0" cy="0"/>
          <a:chOff x="0" y="0"/>
          <a:chExt cx="0" cy="0"/>
        </a:xfrm>
      </p:grpSpPr>
      <p:sp>
        <p:nvSpPr>
          <p:cNvPr id="3" name="Title 2">
            <a:extLst>
              <a:ext uri="{FF2B5EF4-FFF2-40B4-BE49-F238E27FC236}">
                <a16:creationId xmlns:a16="http://schemas.microsoft.com/office/drawing/2014/main" id="{6460AFFD-9944-4307-83B0-AE39DD7F897F}"/>
              </a:ext>
            </a:extLst>
          </p:cNvPr>
          <p:cNvSpPr>
            <a:spLocks noGrp="1"/>
          </p:cNvSpPr>
          <p:nvPr>
            <p:ph type="title"/>
          </p:nvPr>
        </p:nvSpPr>
        <p:spPr>
          <a:xfrm>
            <a:off x="944880" y="695674"/>
            <a:ext cx="7543800" cy="1031874"/>
          </a:xfrm>
        </p:spPr>
        <p:txBody>
          <a:bodyPr>
            <a:normAutofit/>
          </a:bodyPr>
          <a:lstStyle/>
          <a:p>
            <a:pPr algn="ctr"/>
            <a:r>
              <a:rPr lang="en-US" b="1" spc="-50" dirty="0">
                <a:solidFill>
                  <a:schemeClr val="accent2">
                    <a:lumMod val="75000"/>
                  </a:schemeClr>
                </a:solidFill>
                <a:latin typeface="+mn-lt"/>
              </a:rPr>
              <a:t>Long Term Oxygen Therapy</a:t>
            </a:r>
            <a:endParaRPr lang="en-US" dirty="0">
              <a:latin typeface="+mn-lt"/>
            </a:endParaRPr>
          </a:p>
        </p:txBody>
      </p:sp>
      <p:sp>
        <p:nvSpPr>
          <p:cNvPr id="5" name="Content Placeholder 4">
            <a:extLst>
              <a:ext uri="{FF2B5EF4-FFF2-40B4-BE49-F238E27FC236}">
                <a16:creationId xmlns:a16="http://schemas.microsoft.com/office/drawing/2014/main" id="{9472F304-30EB-4F5C-AED9-563006AF0415}"/>
              </a:ext>
            </a:extLst>
          </p:cNvPr>
          <p:cNvSpPr>
            <a:spLocks noGrp="1"/>
          </p:cNvSpPr>
          <p:nvPr>
            <p:ph sz="half" idx="1"/>
          </p:nvPr>
        </p:nvSpPr>
        <p:spPr>
          <a:xfrm>
            <a:off x="822960" y="1905000"/>
            <a:ext cx="7787640" cy="4038600"/>
          </a:xfrm>
        </p:spPr>
        <p:txBody>
          <a:bodyPr/>
          <a:lstStyle/>
          <a:p>
            <a:pPr marL="0" indent="0">
              <a:lnSpc>
                <a:spcPct val="150000"/>
              </a:lnSpc>
              <a:buClr>
                <a:schemeClr val="accent2"/>
              </a:buClr>
              <a:buNone/>
            </a:pPr>
            <a:r>
              <a:rPr lang="en-GB" sz="2000" b="1" dirty="0">
                <a:solidFill>
                  <a:schemeClr val="accent2"/>
                </a:solidFill>
                <a:cs typeface="Calibri" panose="020F0502020204030204" pitchFamily="34" charset="0"/>
              </a:rPr>
              <a:t>Continuous Oxygen</a:t>
            </a:r>
          </a:p>
          <a:p>
            <a:pPr marL="214313" indent="-214313">
              <a:lnSpc>
                <a:spcPct val="150000"/>
              </a:lnSpc>
              <a:buClr>
                <a:schemeClr val="accent2"/>
              </a:buClr>
              <a:buFont typeface="Courier New" panose="02070309020205020404" pitchFamily="49" charset="0"/>
              <a:buChar char="o"/>
            </a:pPr>
            <a:r>
              <a:rPr lang="en-GB" sz="2000" dirty="0">
                <a:solidFill>
                  <a:schemeClr val="accent2"/>
                </a:solidFill>
                <a:cs typeface="Calibri" panose="020F0502020204030204" pitchFamily="34" charset="0"/>
              </a:rPr>
              <a:t>Resting PaO2 </a:t>
            </a:r>
            <a:r>
              <a:rPr lang="en-GB" sz="2000" b="1" dirty="0">
                <a:solidFill>
                  <a:schemeClr val="accent2"/>
                </a:solidFill>
                <a:cs typeface="Calibri" panose="020F0502020204030204" pitchFamily="34" charset="0"/>
              </a:rPr>
              <a:t>&lt;55 mm Hg/ SpO2 &lt;88%</a:t>
            </a:r>
          </a:p>
          <a:p>
            <a:pPr marL="214313" indent="-214313">
              <a:lnSpc>
                <a:spcPct val="150000"/>
              </a:lnSpc>
              <a:buClr>
                <a:schemeClr val="accent2"/>
              </a:buClr>
              <a:buFont typeface="Courier New" panose="02070309020205020404" pitchFamily="49" charset="0"/>
              <a:buChar char="o"/>
            </a:pPr>
            <a:r>
              <a:rPr lang="en-GB" sz="2000" dirty="0">
                <a:solidFill>
                  <a:schemeClr val="accent2"/>
                </a:solidFill>
                <a:cs typeface="Calibri" panose="020F0502020204030204" pitchFamily="34" charset="0"/>
              </a:rPr>
              <a:t>Resting PaO2 of </a:t>
            </a:r>
            <a:r>
              <a:rPr lang="en-GB" sz="2000" b="1" dirty="0">
                <a:solidFill>
                  <a:schemeClr val="accent2"/>
                </a:solidFill>
                <a:cs typeface="Calibri" panose="020F0502020204030204" pitchFamily="34" charset="0"/>
              </a:rPr>
              <a:t>56-59 mm Hg/ SpO2 of 89%</a:t>
            </a:r>
            <a:r>
              <a:rPr lang="en-GB" sz="2000" dirty="0">
                <a:solidFill>
                  <a:schemeClr val="accent2"/>
                </a:solidFill>
                <a:cs typeface="Calibri" panose="020F0502020204030204" pitchFamily="34" charset="0"/>
              </a:rPr>
              <a:t> in the presence of </a:t>
            </a:r>
            <a:r>
              <a:rPr lang="en-GB" sz="2000" dirty="0" err="1">
                <a:solidFill>
                  <a:schemeClr val="accent2"/>
                </a:solidFill>
                <a:cs typeface="Calibri" panose="020F0502020204030204" pitchFamily="34" charset="0"/>
              </a:rPr>
              <a:t>cor</a:t>
            </a:r>
            <a:r>
              <a:rPr lang="en-GB" sz="2000" dirty="0">
                <a:solidFill>
                  <a:schemeClr val="accent2"/>
                </a:solidFill>
                <a:cs typeface="Calibri" panose="020F0502020204030204" pitchFamily="34" charset="0"/>
              </a:rPr>
              <a:t> pulmonale (right heart failure)</a:t>
            </a:r>
          </a:p>
          <a:p>
            <a:endParaRPr lang="en-US" sz="2000" dirty="0"/>
          </a:p>
        </p:txBody>
      </p:sp>
    </p:spTree>
    <p:extLst>
      <p:ext uri="{BB962C8B-B14F-4D97-AF65-F5344CB8AC3E}">
        <p14:creationId xmlns:p14="http://schemas.microsoft.com/office/powerpoint/2010/main" val="147931981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352800" y="2743200"/>
            <a:ext cx="5181600" cy="1257300"/>
          </a:xfrm>
        </p:spPr>
        <p:txBody>
          <a:bodyPr rtlCol="0" anchor="ctr">
            <a:noAutofit/>
          </a:bodyPr>
          <a:lstStyle/>
          <a:p>
            <a:pPr marL="0" indent="0" algn="ctr"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latin typeface="Calibri" panose="020F0502020204030204" pitchFamily="34" charset="0"/>
              </a:rPr>
              <a:t>OxyCare Management Information System</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dirty="0">
              <a:solidFill>
                <a:schemeClr val="accent2">
                  <a:lumMod val="75000"/>
                </a:schemeClr>
              </a:solidFill>
              <a:latin typeface="Calibri" panose="020F0502020204030204" pitchFamily="34" charset="0"/>
            </a:endParaRPr>
          </a:p>
        </p:txBody>
      </p:sp>
    </p:spTree>
    <p:extLst>
      <p:ext uri="{BB962C8B-B14F-4D97-AF65-F5344CB8AC3E}">
        <p14:creationId xmlns:p14="http://schemas.microsoft.com/office/powerpoint/2010/main" val="245877444"/>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50535" y="1143000"/>
            <a:ext cx="8242929" cy="620132"/>
          </a:xfrm>
        </p:spPr>
        <p:txBody>
          <a:bodyPr/>
          <a:lstStyle/>
          <a:p>
            <a:pPr algn="ctr"/>
            <a:r>
              <a:rPr lang="en-US" sz="3600" b="1" spc="-38" dirty="0">
                <a:solidFill>
                  <a:schemeClr val="accent2">
                    <a:lumMod val="75000"/>
                  </a:schemeClr>
                </a:solidFill>
                <a:latin typeface="Calibri" panose="020F0502020204030204" pitchFamily="34" charset="0"/>
                <a:ea typeface="MS PGothic" panose="020B0600070205080204" pitchFamily="34" charset="-128"/>
                <a:cs typeface="Arial" panose="020B0604020202020204" pitchFamily="34" charset="0"/>
              </a:rPr>
              <a:t>OxyCare Management Information System</a:t>
            </a:r>
          </a:p>
        </p:txBody>
      </p:sp>
      <p:sp>
        <p:nvSpPr>
          <p:cNvPr id="71" name="Triangle 70">
            <a:extLst>
              <a:ext uri="{FF2B5EF4-FFF2-40B4-BE49-F238E27FC236}">
                <a16:creationId xmlns:a16="http://schemas.microsoft.com/office/drawing/2014/main" id="{6EFBB579-D29C-534E-B68C-AD5275040432}"/>
              </a:ext>
            </a:extLst>
          </p:cNvPr>
          <p:cNvSpPr/>
          <p:nvPr/>
        </p:nvSpPr>
        <p:spPr>
          <a:xfrm rot="10800000">
            <a:off x="468626" y="3445108"/>
            <a:ext cx="8141974" cy="238412"/>
          </a:xfrm>
          <a:prstGeom prst="triangle">
            <a:avLst>
              <a:gd name="adj" fmla="val 49498"/>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200" dirty="0"/>
          </a:p>
        </p:txBody>
      </p:sp>
      <p:graphicFrame>
        <p:nvGraphicFramePr>
          <p:cNvPr id="13" name="Diagram 12">
            <a:extLst>
              <a:ext uri="{FF2B5EF4-FFF2-40B4-BE49-F238E27FC236}">
                <a16:creationId xmlns:a16="http://schemas.microsoft.com/office/drawing/2014/main" id="{6AF5761C-98E6-484E-9FF9-0314090D5325}"/>
              </a:ext>
            </a:extLst>
          </p:cNvPr>
          <p:cNvGraphicFramePr/>
          <p:nvPr>
            <p:extLst>
              <p:ext uri="{D42A27DB-BD31-4B8C-83A1-F6EECF244321}">
                <p14:modId xmlns:p14="http://schemas.microsoft.com/office/powerpoint/2010/main" val="971756106"/>
              </p:ext>
            </p:extLst>
          </p:nvPr>
        </p:nvGraphicFramePr>
        <p:xfrm>
          <a:off x="533385" y="4003910"/>
          <a:ext cx="8141989" cy="18728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angle 2">
            <a:extLst>
              <a:ext uri="{FF2B5EF4-FFF2-40B4-BE49-F238E27FC236}">
                <a16:creationId xmlns:a16="http://schemas.microsoft.com/office/drawing/2014/main" id="{6E1A333E-CB0A-4DF0-80B8-591F6B197B40}"/>
              </a:ext>
            </a:extLst>
          </p:cNvPr>
          <p:cNvSpPr/>
          <p:nvPr/>
        </p:nvSpPr>
        <p:spPr>
          <a:xfrm>
            <a:off x="558567" y="2286001"/>
            <a:ext cx="2034543" cy="1105281"/>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600" dirty="0">
                <a:latin typeface="Calibri" panose="020F0502020204030204" pitchFamily="34" charset="0"/>
              </a:rPr>
              <a:t>Indicators Tracked / Visualized</a:t>
            </a:r>
          </a:p>
        </p:txBody>
      </p:sp>
      <p:sp>
        <p:nvSpPr>
          <p:cNvPr id="34" name="Rectangle 33">
            <a:extLst>
              <a:ext uri="{FF2B5EF4-FFF2-40B4-BE49-F238E27FC236}">
                <a16:creationId xmlns:a16="http://schemas.microsoft.com/office/drawing/2014/main" id="{001A51BC-A7C0-460F-B91E-C296B0419034}"/>
              </a:ext>
            </a:extLst>
          </p:cNvPr>
          <p:cNvSpPr/>
          <p:nvPr/>
        </p:nvSpPr>
        <p:spPr>
          <a:xfrm>
            <a:off x="3029432" y="2288409"/>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latin typeface="Calibri" panose="020F0502020204030204" pitchFamily="34" charset="0"/>
              </a:rPr>
              <a:t># District Oxygen Concentrators</a:t>
            </a:r>
          </a:p>
        </p:txBody>
      </p:sp>
      <p:sp>
        <p:nvSpPr>
          <p:cNvPr id="35" name="Rectangle 34">
            <a:extLst>
              <a:ext uri="{FF2B5EF4-FFF2-40B4-BE49-F238E27FC236}">
                <a16:creationId xmlns:a16="http://schemas.microsoft.com/office/drawing/2014/main" id="{19BA3AA7-035B-4011-B017-C40F332F349A}"/>
              </a:ext>
            </a:extLst>
          </p:cNvPr>
          <p:cNvSpPr/>
          <p:nvPr/>
        </p:nvSpPr>
        <p:spPr>
          <a:xfrm>
            <a:off x="3029432" y="2897101"/>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latin typeface="Calibri" panose="020F0502020204030204" pitchFamily="34" charset="0"/>
              </a:rPr>
              <a:t>Online Verification</a:t>
            </a:r>
          </a:p>
        </p:txBody>
      </p:sp>
      <p:sp>
        <p:nvSpPr>
          <p:cNvPr id="36" name="Rectangle 35">
            <a:extLst>
              <a:ext uri="{FF2B5EF4-FFF2-40B4-BE49-F238E27FC236}">
                <a16:creationId xmlns:a16="http://schemas.microsoft.com/office/drawing/2014/main" id="{15E20958-23A1-46E0-AEBE-8A9FF602D7C7}"/>
              </a:ext>
            </a:extLst>
          </p:cNvPr>
          <p:cNvSpPr/>
          <p:nvPr/>
        </p:nvSpPr>
        <p:spPr>
          <a:xfrm>
            <a:off x="4887274" y="2897101"/>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latin typeface="Calibri" panose="020F0502020204030204" pitchFamily="34" charset="0"/>
              </a:rPr>
              <a:t>Pictures of OC functioning</a:t>
            </a:r>
          </a:p>
        </p:txBody>
      </p:sp>
      <p:sp>
        <p:nvSpPr>
          <p:cNvPr id="42" name="Rectangle 41">
            <a:extLst>
              <a:ext uri="{FF2B5EF4-FFF2-40B4-BE49-F238E27FC236}">
                <a16:creationId xmlns:a16="http://schemas.microsoft.com/office/drawing/2014/main" id="{669C257A-39EF-4703-A9C2-73C1E6D97BEF}"/>
              </a:ext>
            </a:extLst>
          </p:cNvPr>
          <p:cNvSpPr/>
          <p:nvPr/>
        </p:nvSpPr>
        <p:spPr>
          <a:xfrm>
            <a:off x="4887274" y="2287205"/>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latin typeface="Calibri" panose="020F0502020204030204" pitchFamily="34" charset="0"/>
              </a:rPr>
              <a:t>District wise allocation of OCs</a:t>
            </a:r>
          </a:p>
        </p:txBody>
      </p:sp>
      <p:sp>
        <p:nvSpPr>
          <p:cNvPr id="44" name="Rectangle 43">
            <a:extLst>
              <a:ext uri="{FF2B5EF4-FFF2-40B4-BE49-F238E27FC236}">
                <a16:creationId xmlns:a16="http://schemas.microsoft.com/office/drawing/2014/main" id="{EA273E3C-603D-4538-8891-101CCA111512}"/>
              </a:ext>
            </a:extLst>
          </p:cNvPr>
          <p:cNvSpPr/>
          <p:nvPr/>
        </p:nvSpPr>
        <p:spPr>
          <a:xfrm>
            <a:off x="6677660" y="2286000"/>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latin typeface="Calibri" panose="020F0502020204030204" pitchFamily="34" charset="0"/>
              </a:rPr>
              <a:t>Facility wise allocation of OCs</a:t>
            </a:r>
          </a:p>
        </p:txBody>
      </p:sp>
      <p:sp>
        <p:nvSpPr>
          <p:cNvPr id="46" name="Rectangle 45">
            <a:extLst>
              <a:ext uri="{FF2B5EF4-FFF2-40B4-BE49-F238E27FC236}">
                <a16:creationId xmlns:a16="http://schemas.microsoft.com/office/drawing/2014/main" id="{C56F200B-732A-49A7-A7DA-26A22FE6552C}"/>
              </a:ext>
            </a:extLst>
          </p:cNvPr>
          <p:cNvSpPr/>
          <p:nvPr/>
        </p:nvSpPr>
        <p:spPr>
          <a:xfrm>
            <a:off x="6677660" y="2906132"/>
            <a:ext cx="1444007" cy="48515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latin typeface="Calibri" panose="020F0502020204030204" pitchFamily="34" charset="0"/>
              </a:rPr>
              <a:t>Physical Verification</a:t>
            </a:r>
          </a:p>
        </p:txBody>
      </p:sp>
      <p:sp>
        <p:nvSpPr>
          <p:cNvPr id="48" name="Rectangle 47">
            <a:extLst>
              <a:ext uri="{FF2B5EF4-FFF2-40B4-BE49-F238E27FC236}">
                <a16:creationId xmlns:a16="http://schemas.microsoft.com/office/drawing/2014/main" id="{9240C844-E0B8-4340-80A8-52D20E716948}"/>
              </a:ext>
            </a:extLst>
          </p:cNvPr>
          <p:cNvSpPr/>
          <p:nvPr/>
        </p:nvSpPr>
        <p:spPr>
          <a:xfrm>
            <a:off x="851515" y="3780671"/>
            <a:ext cx="7440971" cy="23841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eaLnBrk="1" fontAlgn="auto" hangingPunct="1">
              <a:spcBef>
                <a:spcPts val="0"/>
              </a:spcBef>
              <a:spcAft>
                <a:spcPts val="0"/>
              </a:spcAft>
              <a:defRPr/>
            </a:pPr>
            <a:r>
              <a:rPr lang="en-US" sz="1600" dirty="0">
                <a:solidFill>
                  <a:prstClr val="white"/>
                </a:solidFill>
                <a:latin typeface="Calibri" panose="020F0502020204030204" pitchFamily="34" charset="0"/>
              </a:rPr>
              <a:t>Decision-making support</a:t>
            </a:r>
          </a:p>
        </p:txBody>
      </p:sp>
    </p:spTree>
    <p:extLst>
      <p:ext uri="{BB962C8B-B14F-4D97-AF65-F5344CB8AC3E}">
        <p14:creationId xmlns:p14="http://schemas.microsoft.com/office/powerpoint/2010/main" val="137659819"/>
      </p:ext>
    </p:extLst>
  </p:cSld>
  <p:clrMapOvr>
    <a:masterClrMapping/>
  </p:clrMapOvr>
  <p:transition spd="med">
    <p:fade/>
  </p:transition>
</p:sld>
</file>

<file path=ppt/slides/slide142.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ext Placeholder 1"/>
          <p:cNvSpPr>
            <a:spLocks noGrp="1"/>
          </p:cNvSpPr>
          <p:nvPr>
            <p:ph idx="13" sz="quarter" type="body"/>
          </p:nvPr>
        </p:nvSpPr>
        <p:spPr>
          <a:xfrm>
            <a:off x="436908" y="685800"/>
            <a:ext cx="8229600" cy="103671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chorCtr="0" bIns="0" compatLnSpc="1" lIns="0" numCol="1" rIns="0" tIns="0" vert="horz" wrap="square">
            <a:prstTxWarp prst="textNoShape">
              <a:avLst/>
            </a:prstTxWarp>
          </a:bodyPr>
          <a:lstStyle/>
          <a:p>
            <a:pPr algn="ctr"/>
            <a:r>
              <a:rPr b="1" dirty="0" lang="en-US" spc="-38" sz="3600">
                <a:solidFill>
                  <a:schemeClr val="accent2">
                    <a:lumMod val="75000"/>
                  </a:schemeClr>
                </a:solidFill>
                <a:latin charset="0" panose="020F0502020204030204" pitchFamily="34" typeface="Calibri"/>
                <a:ea charset="-128" panose="020B0600070205080204" pitchFamily="34" typeface="MS PGothic"/>
                <a:cs charset="0" panose="020B0604020202020204" pitchFamily="34" typeface="Arial"/>
              </a:rPr>
              <a:t>OxyCare Management Information System</a:t>
            </a:r>
          </a:p>
        </p:txBody>
      </p:sp>
      <p:grpSp>
        <p:nvGrpSpPr>
          <p:cNvPr id="3" name="Group 2">
            <a:extLst>
              <a:ext uri="{FF2B5EF4-FFF2-40B4-BE49-F238E27FC236}">
                <a16:creationId xmlns:a16="http://schemas.microsoft.com/office/drawing/2014/main" id="{7B1DFDFD-E6A0-4449-BC88-8C56C8834CC9}"/>
              </a:ext>
            </a:extLst>
          </p:cNvPr>
          <p:cNvGrpSpPr/>
          <p:nvPr/>
        </p:nvGrpSpPr>
        <p:grpSpPr>
          <a:xfrm>
            <a:off x="222884" y="2227845"/>
            <a:ext cx="8718750" cy="4020894"/>
            <a:chOff x="222885" y="1917631"/>
            <a:chExt cx="8718750" cy="4020894"/>
          </a:xfrm>
        </p:grpSpPr>
        <p:pic>
          <p:nvPicPr>
            <p:cNvPr id="4" name="Picture 3">
              <a:extLst>
                <a:ext uri="{FF2B5EF4-FFF2-40B4-BE49-F238E27FC236}">
                  <a16:creationId xmlns:a16="http://schemas.microsoft.com/office/drawing/2014/main" id="{833E2375-A133-4966-AC44-5023A6F2F2D5}"/>
                </a:ext>
              </a:extLst>
            </p:cNvPr>
            <p:cNvPicPr>
              <a:picLocks noChangeAspect="1"/>
            </p:cNvPicPr>
            <p:nvPr/>
          </p:nvPicPr>
          <p:blipFill rotWithShape="1">
            <a:blip r:embed="rId3"/>
            <a:srcRect b="39"/>
            <a:stretch/>
          </p:blipFill>
          <p:spPr>
            <a:xfrm>
              <a:off x="4551709" y="1917631"/>
              <a:ext cx="1929359" cy="3796507"/>
            </a:xfrm>
            <a:prstGeom prst="rect">
              <a:avLst/>
            </a:prstGeom>
            <a:ln>
              <a:solidFill>
                <a:schemeClr val="tx1"/>
              </a:solidFill>
            </a:ln>
          </p:spPr>
        </p:pic>
        <p:pic>
          <p:nvPicPr>
            <p:cNvPr id="6" name="Picture 5">
              <a:extLst>
                <a:ext uri="{FF2B5EF4-FFF2-40B4-BE49-F238E27FC236}">
                  <a16:creationId xmlns:a16="http://schemas.microsoft.com/office/drawing/2014/main" id="{D7F175EF-52D0-49FC-8F98-A003CF4F1B0D}"/>
                </a:ext>
              </a:extLst>
            </p:cNvPr>
            <p:cNvPicPr>
              <a:picLocks noChangeAspect="1"/>
            </p:cNvPicPr>
            <p:nvPr/>
          </p:nvPicPr>
          <p:blipFill rotWithShape="1">
            <a:blip r:embed="rId4"/>
            <a:srcRect b="22"/>
            <a:stretch/>
          </p:blipFill>
          <p:spPr>
            <a:xfrm>
              <a:off x="6567712" y="1917631"/>
              <a:ext cx="2373923" cy="2228357"/>
            </a:xfrm>
            <a:prstGeom prst="rect">
              <a:avLst/>
            </a:prstGeom>
            <a:ln>
              <a:solidFill>
                <a:schemeClr val="tx1"/>
              </a:solidFill>
            </a:ln>
          </p:spPr>
        </p:pic>
        <p:pic>
          <p:nvPicPr>
            <p:cNvPr id="8" name="Picture 7">
              <a:extLst>
                <a:ext uri="{FF2B5EF4-FFF2-40B4-BE49-F238E27FC236}">
                  <a16:creationId xmlns:a16="http://schemas.microsoft.com/office/drawing/2014/main" id="{F0B08CB0-665A-46E8-AA7A-14E5818EF000}"/>
                </a:ext>
              </a:extLst>
            </p:cNvPr>
            <p:cNvPicPr>
              <a:picLocks noChangeAspect="1"/>
            </p:cNvPicPr>
            <p:nvPr/>
          </p:nvPicPr>
          <p:blipFill rotWithShape="1">
            <a:blip r:embed="rId5"/>
            <a:srcRect b="13"/>
            <a:stretch/>
          </p:blipFill>
          <p:spPr>
            <a:xfrm>
              <a:off x="222885" y="1917631"/>
              <a:ext cx="2077037" cy="3734404"/>
            </a:xfrm>
            <a:prstGeom prst="rect">
              <a:avLst/>
            </a:prstGeom>
            <a:ln>
              <a:solidFill>
                <a:schemeClr val="tx1"/>
              </a:solidFill>
            </a:ln>
          </p:spPr>
        </p:pic>
        <p:pic>
          <p:nvPicPr>
            <p:cNvPr id="10" name="Picture 9">
              <a:extLst>
                <a:ext uri="{FF2B5EF4-FFF2-40B4-BE49-F238E27FC236}">
                  <a16:creationId xmlns:a16="http://schemas.microsoft.com/office/drawing/2014/main" id="{125CFFB4-3B6E-4D04-9135-F2B2A14E5123}"/>
                </a:ext>
              </a:extLst>
            </p:cNvPr>
            <p:cNvPicPr>
              <a:picLocks noChangeAspect="1"/>
            </p:cNvPicPr>
            <p:nvPr/>
          </p:nvPicPr>
          <p:blipFill rotWithShape="1">
            <a:blip r:embed="rId6"/>
            <a:srcRect b="-29"/>
            <a:stretch/>
          </p:blipFill>
          <p:spPr>
            <a:xfrm>
              <a:off x="2402891" y="1917631"/>
              <a:ext cx="2045849" cy="4020894"/>
            </a:xfrm>
            <a:prstGeom prst="rect">
              <a:avLst/>
            </a:prstGeom>
            <a:ln>
              <a:solidFill>
                <a:schemeClr val="tx1"/>
              </a:solidFill>
            </a:ln>
          </p:spPr>
        </p:pic>
      </p:grpSp>
      <p:sp>
        <p:nvSpPr>
          <p:cNvPr id="18" name="Rectangle 17">
            <a:extLst>
              <a:ext uri="{FF2B5EF4-FFF2-40B4-BE49-F238E27FC236}">
                <a16:creationId xmlns:a16="http://schemas.microsoft.com/office/drawing/2014/main" id="{DFB1A342-B2EC-48D3-8D56-40A3DEE7116E}"/>
              </a:ext>
            </a:extLst>
          </p:cNvPr>
          <p:cNvSpPr/>
          <p:nvPr/>
        </p:nvSpPr>
        <p:spPr>
          <a:xfrm>
            <a:off x="6584038" y="4238292"/>
            <a:ext cx="2337078" cy="1185158"/>
          </a:xfrm>
          <a:prstGeom prst="rect">
            <a:avLst/>
          </a:prstGeom>
          <a:solidFill>
            <a:schemeClr val="accent2"/>
          </a:solidFill>
          <a:ln>
            <a:noFill/>
          </a:ln>
        </p:spPr>
        <p:style>
          <a:lnRef idx="0">
            <a:scrgbClr b="0" g="0" r="0"/>
          </a:lnRef>
          <a:fillRef idx="0">
            <a:scrgbClr b="0" g="0" r="0"/>
          </a:fillRef>
          <a:effectRef idx="0">
            <a:scrgbClr b="0" g="0" r="0"/>
          </a:effectRef>
          <a:fontRef idx="minor">
            <a:schemeClr val="lt1"/>
          </a:fontRef>
        </p:style>
        <p:txBody>
          <a:bodyPr anchor="ctr" rtlCol="0"/>
          <a:lstStyle/>
          <a:p>
            <a:pPr algn="ctr" defTabSz="685800" eaLnBrk="1" fontAlgn="auto" hangingPunct="1">
              <a:spcBef>
                <a:spcPts val="0"/>
              </a:spcBef>
              <a:spcAft>
                <a:spcPts val="0"/>
              </a:spcAft>
              <a:defRPr/>
            </a:pPr>
            <a:r>
              <a:rPr dirty="0" lang="en-US" sz="1200">
                <a:solidFill>
                  <a:prstClr val="white"/>
                </a:solidFill>
                <a:latin typeface="Arial"/>
              </a:rPr>
              <a:t>1. Identification through QR Scanning</a:t>
            </a:r>
          </a:p>
          <a:p>
            <a:pPr algn="ctr" defTabSz="685800" eaLnBrk="1" fontAlgn="auto" hangingPunct="1">
              <a:spcBef>
                <a:spcPts val="0"/>
              </a:spcBef>
              <a:spcAft>
                <a:spcPts val="0"/>
              </a:spcAft>
              <a:defRPr/>
            </a:pPr>
            <a:r>
              <a:rPr dirty="0" lang="en-US" sz="1200">
                <a:solidFill>
                  <a:prstClr val="white"/>
                </a:solidFill>
                <a:latin typeface="Arial"/>
              </a:rPr>
              <a:t>2. Problem escalation option</a:t>
            </a:r>
          </a:p>
          <a:p>
            <a:pPr algn="ctr" defTabSz="685800" eaLnBrk="1" fontAlgn="auto" hangingPunct="1">
              <a:spcBef>
                <a:spcPts val="0"/>
              </a:spcBef>
              <a:spcAft>
                <a:spcPts val="0"/>
              </a:spcAft>
              <a:defRPr/>
            </a:pPr>
            <a:r>
              <a:rPr dirty="0" lang="en-US" sz="1200">
                <a:solidFill>
                  <a:prstClr val="white"/>
                </a:solidFill>
                <a:latin typeface="Arial"/>
              </a:rPr>
              <a:t>3. Menu</a:t>
            </a:r>
          </a:p>
          <a:p>
            <a:pPr algn="ctr" defTabSz="685800" eaLnBrk="1" fontAlgn="auto" hangingPunct="1">
              <a:spcBef>
                <a:spcPts val="0"/>
              </a:spcBef>
              <a:spcAft>
                <a:spcPts val="0"/>
              </a:spcAft>
              <a:defRPr/>
            </a:pPr>
            <a:r>
              <a:rPr dirty="0" lang="en-US" sz="1200">
                <a:solidFill>
                  <a:prstClr val="white"/>
                </a:solidFill>
                <a:latin typeface="Arial"/>
              </a:rPr>
              <a:t>4. Working status of OCs</a:t>
            </a:r>
          </a:p>
        </p:txBody>
      </p:sp>
    </p:spTree>
    <p:extLst>
      <p:ext uri="{BB962C8B-B14F-4D97-AF65-F5344CB8AC3E}">
        <p14:creationId xmlns:p14="http://schemas.microsoft.com/office/powerpoint/2010/main" val="2544516642"/>
      </p:ext>
    </p:extLst>
  </p:cSld>
  <p:clrMapOvr>
    <a:masterClrMapping/>
  </p:clrMapOvr>
  <p:transition spd="med">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2682D-2852-49CB-B5F8-DE6209420C9F}"/>
              </a:ext>
            </a:extLst>
          </p:cNvPr>
          <p:cNvSpPr>
            <a:spLocks noGrp="1"/>
          </p:cNvSpPr>
          <p:nvPr>
            <p:ph type="title"/>
          </p:nvPr>
        </p:nvSpPr>
        <p:spPr>
          <a:xfrm>
            <a:off x="822325" y="2743200"/>
            <a:ext cx="7543800" cy="1500187"/>
          </a:xfrm>
        </p:spPr>
        <p:txBody>
          <a:bodyPr>
            <a:normAutofit/>
          </a:bodyPr>
          <a:lstStyle/>
          <a:p>
            <a:pPr algn="ctr" eaLnBrk="1" fontAlgn="auto" hangingPunct="1">
              <a:spcAft>
                <a:spcPts val="0"/>
              </a:spcAft>
              <a:defRPr/>
            </a:pPr>
            <a:r>
              <a:rPr lang="en-US" sz="3600" b="1" dirty="0">
                <a:latin typeface="Calibri" panose="020F0502020204030204" pitchFamily="34" charset="0"/>
              </a:rPr>
              <a:t>Thank You!</a:t>
            </a:r>
          </a:p>
        </p:txBody>
      </p:sp>
      <p:sp>
        <p:nvSpPr>
          <p:cNvPr id="3" name="Text Placeholder 2">
            <a:extLst>
              <a:ext uri="{FF2B5EF4-FFF2-40B4-BE49-F238E27FC236}">
                <a16:creationId xmlns:a16="http://schemas.microsoft.com/office/drawing/2014/main" id="{3DDC4C97-4694-4FA3-A1C6-32E6107E510E}"/>
              </a:ext>
            </a:extLst>
          </p:cNvPr>
          <p:cNvSpPr>
            <a:spLocks noGrp="1"/>
          </p:cNvSpPr>
          <p:nvPr>
            <p:ph type="body" idx="1"/>
          </p:nvPr>
        </p:nvSpPr>
        <p:spPr>
          <a:xfrm>
            <a:off x="822325" y="4452938"/>
            <a:ext cx="7543800" cy="1719262"/>
          </a:xfrm>
        </p:spPr>
        <p:txBody>
          <a:bodyPr rtlCol="0">
            <a:normAutofit fontScale="25000" lnSpcReduction="20000"/>
          </a:bodyPr>
          <a:lstStyle/>
          <a:p>
            <a:pPr algn="just" eaLnBrk="1" fontAlgn="auto" hangingPunct="1">
              <a:lnSpc>
                <a:spcPct val="170000"/>
              </a:lnSpc>
              <a:defRPr/>
            </a:pPr>
            <a:r>
              <a:rPr lang="en-US" sz="4800" cap="none" dirty="0">
                <a:solidFill>
                  <a:schemeClr val="tx1"/>
                </a:solidFill>
                <a:latin typeface="Calibri" panose="020F0502020204030204" pitchFamily="34" charset="0"/>
                <a:cs typeface="Calibri" panose="020F0502020204030204" pitchFamily="34" charset="0"/>
              </a:rPr>
              <a:t>This presentation was made possible with support from the United States Agency for International Development funded RISE program, under the terms of the cooperative agreement 7200AA19CA00003. The contents are the responsibility of the RISE program and do not necessarily reflect the views of USAID or the United States Government.​</a:t>
            </a:r>
          </a:p>
          <a:p>
            <a:pPr algn="just" eaLnBrk="1" fontAlgn="auto" hangingPunct="1">
              <a:defRPr/>
            </a:pPr>
            <a:endParaRPr lang="en-US" dirty="0">
              <a:latin typeface="Calibri" panose="020F0502020204030204" pitchFamily="34" charset="0"/>
            </a:endParaRPr>
          </a:p>
        </p:txBody>
      </p:sp>
    </p:spTree>
    <p:extLst>
      <p:ext uri="{BB962C8B-B14F-4D97-AF65-F5344CB8AC3E}">
        <p14:creationId xmlns:p14="http://schemas.microsoft.com/office/powerpoint/2010/main" val="28218180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76D92-6BF8-4FA8-8021-DB872EA7C895}"/>
              </a:ext>
            </a:extLst>
          </p:cNvPr>
          <p:cNvSpPr>
            <a:spLocks noGrp="1"/>
          </p:cNvSpPr>
          <p:nvPr>
            <p:ph type="title"/>
          </p:nvPr>
        </p:nvSpPr>
        <p:spPr>
          <a:xfrm>
            <a:off x="877888" y="2362200"/>
            <a:ext cx="7543800" cy="1981200"/>
          </a:xfrm>
        </p:spPr>
        <p:txBody>
          <a:bodyPr>
            <a:normAutofit/>
          </a:bodyPr>
          <a:lstStyle/>
          <a:p>
            <a:pPr eaLnBrk="1" hangingPunct="1">
              <a:defRPr/>
            </a:pPr>
            <a:r>
              <a:rPr lang="en-US" sz="3600" b="1" spc="-50" dirty="0">
                <a:solidFill>
                  <a:schemeClr val="accent2">
                    <a:lumMod val="75000"/>
                  </a:schemeClr>
                </a:solidFill>
                <a:latin typeface="Calibri" panose="020F0502020204030204" pitchFamily="34" charset="0"/>
              </a:rPr>
              <a:t>Session V: </a:t>
            </a:r>
            <a:r>
              <a:rPr lang="en-US" sz="3600" b="1" dirty="0">
                <a:solidFill>
                  <a:schemeClr val="accent2">
                    <a:lumMod val="75000"/>
                  </a:schemeClr>
                </a:solidFill>
                <a:latin typeface="Calibri" panose="020F0502020204030204" pitchFamily="34" charset="0"/>
              </a:rPr>
              <a:t>Medical Gas Handling and </a:t>
            </a:r>
            <a:br>
              <a:rPr lang="en-US" sz="3600" b="1" dirty="0">
                <a:solidFill>
                  <a:schemeClr val="accent2">
                    <a:lumMod val="75000"/>
                  </a:schemeClr>
                </a:solidFill>
                <a:latin typeface="Calibri" panose="020F0502020204030204" pitchFamily="34" charset="0"/>
              </a:rPr>
            </a:br>
            <a:r>
              <a:rPr lang="en-US" sz="3600" b="1" dirty="0">
                <a:solidFill>
                  <a:schemeClr val="accent2">
                    <a:lumMod val="75000"/>
                  </a:schemeClr>
                </a:solidFill>
                <a:latin typeface="Calibri" panose="020F0502020204030204" pitchFamily="34" charset="0"/>
              </a:rPr>
              <a:t>                    Safety </a:t>
            </a:r>
            <a:endParaRPr lang="en-US" sz="3600" dirty="0">
              <a:solidFill>
                <a:schemeClr val="accent2">
                  <a:lumMod val="75000"/>
                </a:schemeClr>
              </a:solidFill>
              <a:latin typeface="Calibri" panose="020F0502020204030204" pitchFamily="34" charset="0"/>
            </a:endParaRPr>
          </a:p>
        </p:txBody>
      </p:sp>
    </p:spTree>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529"/>
        <p:cNvGrpSpPr/>
        <p:nvPr/>
      </p:nvGrpSpPr>
      <p:grpSpPr>
        <a:xfrm>
          <a:off x="0" y="0"/>
          <a:ext cx="0" cy="0"/>
          <a:chOff x="0" y="0"/>
          <a:chExt cx="0" cy="0"/>
        </a:xfrm>
      </p:grpSpPr>
      <p:sp>
        <p:nvSpPr>
          <p:cNvPr id="530" name="Google Shape;530;p2"/>
          <p:cNvSpPr txBox="1"/>
          <p:nvPr/>
        </p:nvSpPr>
        <p:spPr>
          <a:xfrm>
            <a:off x="990600" y="1219200"/>
            <a:ext cx="4737534" cy="465570"/>
          </a:xfrm>
          <a:prstGeom prst="rect">
            <a:avLst/>
          </a:prstGeom>
          <a:noFill/>
          <a:ln>
            <a:noFill/>
          </a:ln>
        </p:spPr>
        <p:txBody>
          <a:bodyPr spcFirstLastPara="1" wrap="square" lIns="0" tIns="0" rIns="0" bIns="0" anchor="ctr" anchorCtr="0">
            <a:noAutofit/>
          </a:bodyPr>
          <a:lstStyle/>
          <a:p>
            <a:pPr>
              <a:lnSpc>
                <a:spcPct val="125000"/>
              </a:lnSpc>
              <a:spcBef>
                <a:spcPts val="0"/>
              </a:spcBef>
              <a:spcAft>
                <a:spcPts val="0"/>
              </a:spcAft>
              <a:buClr>
                <a:schemeClr val="accent1"/>
              </a:buClr>
              <a:buSzPts val="3200"/>
            </a:pPr>
            <a:r>
              <a:rPr lang="en-US" sz="3600" b="1" dirty="0">
                <a:solidFill>
                  <a:schemeClr val="accent2">
                    <a:lumMod val="75000"/>
                  </a:schemeClr>
                </a:solidFill>
                <a:latin typeface="Calibri" panose="020F0502020204030204" pitchFamily="34" charset="0"/>
                <a:ea typeface="Arial"/>
                <a:cs typeface="Arial"/>
                <a:sym typeface="Arial"/>
              </a:rPr>
              <a:t>Session </a:t>
            </a:r>
            <a:r>
              <a:rPr lang="en-US" sz="3600" b="1" dirty="0">
                <a:solidFill>
                  <a:schemeClr val="accent2">
                    <a:lumMod val="75000"/>
                  </a:schemeClr>
                </a:solidFill>
                <a:latin typeface="Calibri" panose="020F0502020204030204" pitchFamily="34" charset="0"/>
                <a:cs typeface="Arial"/>
                <a:sym typeface="Arial"/>
              </a:rPr>
              <a:t>Overview</a:t>
            </a:r>
          </a:p>
        </p:txBody>
      </p:sp>
      <p:sp>
        <p:nvSpPr>
          <p:cNvPr id="532" name="Google Shape;532;p2"/>
          <p:cNvSpPr txBox="1"/>
          <p:nvPr/>
        </p:nvSpPr>
        <p:spPr>
          <a:xfrm>
            <a:off x="4519409" y="2977401"/>
            <a:ext cx="3312675" cy="24466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sz="2000" dirty="0">
                <a:solidFill>
                  <a:schemeClr val="dk2"/>
                </a:solidFill>
                <a:latin typeface="Calibri" panose="020F0502020204030204" pitchFamily="34" charset="0"/>
                <a:ea typeface="Arial"/>
                <a:cs typeface="Arial"/>
                <a:sym typeface="Arial"/>
              </a:rPr>
              <a:t>Safety In oxygen Cylinder</a:t>
            </a:r>
            <a:endParaRPr sz="2000" dirty="0">
              <a:solidFill>
                <a:schemeClr val="dk2"/>
              </a:solidFill>
              <a:latin typeface="Calibri" panose="020F0502020204030204" pitchFamily="34" charset="0"/>
              <a:ea typeface="Arial"/>
              <a:cs typeface="Arial"/>
              <a:sym typeface="Arial"/>
            </a:endParaRPr>
          </a:p>
        </p:txBody>
      </p:sp>
      <p:sp>
        <p:nvSpPr>
          <p:cNvPr id="533" name="Google Shape;533;p2"/>
          <p:cNvSpPr txBox="1"/>
          <p:nvPr/>
        </p:nvSpPr>
        <p:spPr>
          <a:xfrm>
            <a:off x="639431" y="3307801"/>
            <a:ext cx="3024390" cy="773818"/>
          </a:xfrm>
          <a:prstGeom prst="rect">
            <a:avLst/>
          </a:prstGeom>
          <a:noFill/>
          <a:ln>
            <a:noFill/>
          </a:ln>
        </p:spPr>
        <p:txBody>
          <a:bodyPr spcFirstLastPara="1" wrap="square" lIns="0" tIns="0" rIns="0" bIns="0" anchor="t" anchorCtr="0">
            <a:noAutofit/>
          </a:bodyPr>
          <a:lstStyle/>
          <a:p>
            <a:pPr>
              <a:lnSpc>
                <a:spcPct val="110000"/>
              </a:lnSpc>
              <a:spcBef>
                <a:spcPts val="0"/>
              </a:spcBef>
              <a:spcAft>
                <a:spcPts val="0"/>
              </a:spcAft>
              <a:buClr>
                <a:schemeClr val="accent1"/>
              </a:buClr>
              <a:buSzPts val="2000"/>
            </a:pPr>
            <a:r>
              <a:rPr lang="en-US" sz="1600" b="1" dirty="0">
                <a:solidFill>
                  <a:schemeClr val="accent1"/>
                </a:solidFill>
                <a:latin typeface="Calibri" panose="020F0502020204030204" pitchFamily="34" charset="0"/>
                <a:ea typeface="Arial"/>
                <a:cs typeface="Arial"/>
                <a:sym typeface="Arial"/>
              </a:rPr>
              <a:t>KEY TOPICS THAT WILL BE COVERED IN THIS SESSION</a:t>
            </a:r>
            <a:endParaRPr sz="1600" dirty="0">
              <a:solidFill>
                <a:srgbClr val="000000"/>
              </a:solidFill>
              <a:latin typeface="Calibri" panose="020F0502020204030204" pitchFamily="34" charset="0"/>
              <a:ea typeface="Arial"/>
              <a:cs typeface="Arial"/>
              <a:sym typeface="Arial"/>
            </a:endParaRPr>
          </a:p>
        </p:txBody>
      </p:sp>
      <p:cxnSp>
        <p:nvCxnSpPr>
          <p:cNvPr id="534" name="Google Shape;534;p2"/>
          <p:cNvCxnSpPr>
            <a:cxnSpLocks/>
          </p:cNvCxnSpPr>
          <p:nvPr/>
        </p:nvCxnSpPr>
        <p:spPr>
          <a:xfrm>
            <a:off x="4038600" y="2168894"/>
            <a:ext cx="0" cy="2948940"/>
          </a:xfrm>
          <a:prstGeom prst="straightConnector1">
            <a:avLst/>
          </a:prstGeom>
          <a:noFill/>
          <a:ln w="9525" cap="flat" cmpd="sng">
            <a:solidFill>
              <a:srgbClr val="D7D9E1"/>
            </a:solidFill>
            <a:prstDash val="solid"/>
            <a:round/>
            <a:headEnd type="none" w="sm" len="sm"/>
            <a:tailEnd type="none" w="sm" len="sm"/>
          </a:ln>
        </p:spPr>
      </p:cxnSp>
      <p:sp>
        <p:nvSpPr>
          <p:cNvPr id="535" name="Google Shape;535;p2"/>
          <p:cNvSpPr txBox="1"/>
          <p:nvPr/>
        </p:nvSpPr>
        <p:spPr>
          <a:xfrm>
            <a:off x="4144246" y="2236367"/>
            <a:ext cx="342450" cy="41614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sz="2100" dirty="0">
                <a:solidFill>
                  <a:schemeClr val="accent1"/>
                </a:solidFill>
                <a:latin typeface="Calibri" panose="020F0502020204030204" pitchFamily="34" charset="0"/>
                <a:ea typeface="Arial Narrow"/>
                <a:cs typeface="Arial Narrow"/>
                <a:sym typeface="Arial Narrow"/>
              </a:rPr>
              <a:t>01</a:t>
            </a:r>
            <a:endParaRPr sz="1500" dirty="0">
              <a:solidFill>
                <a:schemeClr val="accent1"/>
              </a:solidFill>
              <a:latin typeface="Calibri" panose="020F0502020204030204" pitchFamily="34" charset="0"/>
              <a:ea typeface="Arial Narrow"/>
              <a:cs typeface="Arial Narrow"/>
              <a:sym typeface="Arial Narrow"/>
            </a:endParaRPr>
          </a:p>
        </p:txBody>
      </p:sp>
      <p:sp>
        <p:nvSpPr>
          <p:cNvPr id="536" name="Google Shape;536;p2"/>
          <p:cNvSpPr txBox="1"/>
          <p:nvPr/>
        </p:nvSpPr>
        <p:spPr>
          <a:xfrm>
            <a:off x="4134441" y="3519388"/>
            <a:ext cx="342450" cy="41614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sz="2100" dirty="0">
                <a:solidFill>
                  <a:schemeClr val="accent1"/>
                </a:solidFill>
                <a:latin typeface="Calibri" panose="020F0502020204030204" pitchFamily="34" charset="0"/>
                <a:ea typeface="Arial Narrow"/>
                <a:cs typeface="Arial Narrow"/>
                <a:sym typeface="Arial Narrow"/>
              </a:rPr>
              <a:t>03</a:t>
            </a:r>
            <a:endParaRPr sz="1500" dirty="0">
              <a:solidFill>
                <a:schemeClr val="accent1"/>
              </a:solidFill>
              <a:latin typeface="Calibri" panose="020F0502020204030204" pitchFamily="34" charset="0"/>
              <a:ea typeface="Arial Narrow"/>
              <a:cs typeface="Arial Narrow"/>
              <a:sym typeface="Arial Narrow"/>
            </a:endParaRPr>
          </a:p>
        </p:txBody>
      </p:sp>
      <p:sp>
        <p:nvSpPr>
          <p:cNvPr id="539" name="Google Shape;539;p2"/>
          <p:cNvSpPr txBox="1"/>
          <p:nvPr/>
        </p:nvSpPr>
        <p:spPr>
          <a:xfrm>
            <a:off x="4533889" y="3545139"/>
            <a:ext cx="3312675" cy="24466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sz="2000" dirty="0">
                <a:latin typeface="Calibri" panose="020F0502020204030204" pitchFamily="34" charset="0"/>
                <a:ea typeface="Arial"/>
                <a:cs typeface="Arial"/>
                <a:sym typeface="Arial"/>
              </a:rPr>
              <a:t>Safety in MGPS, PSA</a:t>
            </a:r>
            <a:endParaRPr sz="2000" dirty="0">
              <a:latin typeface="Calibri" panose="020F0502020204030204" pitchFamily="34" charset="0"/>
              <a:ea typeface="Arial"/>
              <a:cs typeface="Arial"/>
              <a:sym typeface="Arial"/>
            </a:endParaRPr>
          </a:p>
        </p:txBody>
      </p:sp>
      <p:sp>
        <p:nvSpPr>
          <p:cNvPr id="540" name="Google Shape;540;p2"/>
          <p:cNvSpPr txBox="1"/>
          <p:nvPr/>
        </p:nvSpPr>
        <p:spPr>
          <a:xfrm>
            <a:off x="4600965" y="4038600"/>
            <a:ext cx="4120538" cy="41614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IN" sz="2000" dirty="0">
                <a:solidFill>
                  <a:srgbClr val="000000"/>
                </a:solidFill>
                <a:latin typeface="Calibri" panose="020F0502020204030204" pitchFamily="34" charset="0"/>
                <a:ea typeface="Arial"/>
                <a:cs typeface="Arial"/>
                <a:sym typeface="Arial"/>
              </a:rPr>
              <a:t>Safety in LMO</a:t>
            </a:r>
            <a:endParaRPr sz="2000" dirty="0">
              <a:solidFill>
                <a:srgbClr val="000000"/>
              </a:solidFill>
              <a:latin typeface="Calibri" panose="020F0502020204030204" pitchFamily="34" charset="0"/>
              <a:ea typeface="Arial"/>
              <a:cs typeface="Arial"/>
              <a:sym typeface="Arial"/>
            </a:endParaRPr>
          </a:p>
        </p:txBody>
      </p:sp>
      <p:sp>
        <p:nvSpPr>
          <p:cNvPr id="541" name="Google Shape;541;p2"/>
          <p:cNvSpPr txBox="1"/>
          <p:nvPr/>
        </p:nvSpPr>
        <p:spPr>
          <a:xfrm>
            <a:off x="4486696" y="2354751"/>
            <a:ext cx="3656025" cy="24466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sz="2000" dirty="0">
                <a:solidFill>
                  <a:schemeClr val="dk2"/>
                </a:solidFill>
                <a:latin typeface="Calibri" panose="020F0502020204030204" pitchFamily="34" charset="0"/>
                <a:ea typeface="Arial"/>
                <a:cs typeface="Arial"/>
                <a:sym typeface="Arial"/>
              </a:rPr>
              <a:t>Introduction</a:t>
            </a:r>
            <a:endParaRPr sz="2000" dirty="0">
              <a:solidFill>
                <a:srgbClr val="000000"/>
              </a:solidFill>
              <a:latin typeface="Calibri" panose="020F0502020204030204" pitchFamily="34" charset="0"/>
              <a:ea typeface="Arial"/>
              <a:cs typeface="Arial"/>
              <a:sym typeface="Arial"/>
            </a:endParaRPr>
          </a:p>
        </p:txBody>
      </p:sp>
      <p:sp>
        <p:nvSpPr>
          <p:cNvPr id="542" name="Google Shape;542;p2"/>
          <p:cNvSpPr txBox="1">
            <a:spLocks noGrp="1"/>
          </p:cNvSpPr>
          <p:nvPr>
            <p:ph type="sldNum" idx="12"/>
          </p:nvPr>
        </p:nvSpPr>
        <p:spPr>
          <a:xfrm>
            <a:off x="571500" y="5702738"/>
            <a:ext cx="135862" cy="123444"/>
          </a:xfrm>
          <a:prstGeom prst="rect">
            <a:avLst/>
          </a:prstGeom>
          <a:noFill/>
          <a:ln>
            <a:noFill/>
          </a:ln>
        </p:spPr>
        <p:txBody>
          <a:bodyPr spcFirstLastPara="1" vert="horz" wrap="square" lIns="0" tIns="0" rIns="0" bIns="0" numCol="1" anchor="ctr" anchorCtr="0" compatLnSpc="1">
            <a:prstTxWarp prst="textNoShape">
              <a:avLst/>
            </a:prstTxWarp>
            <a:noAutofit/>
          </a:bodyPr>
          <a:lstStyle/>
          <a:p>
            <a:fld id="{00000000-1234-1234-1234-123412341234}" type="slidenum">
              <a:rPr lang="en-US"/>
              <a:pPr/>
              <a:t>145</a:t>
            </a:fld>
            <a:endParaRPr/>
          </a:p>
        </p:txBody>
      </p:sp>
      <p:sp>
        <p:nvSpPr>
          <p:cNvPr id="21" name="Google Shape;535;p2">
            <a:extLst>
              <a:ext uri="{FF2B5EF4-FFF2-40B4-BE49-F238E27FC236}">
                <a16:creationId xmlns:a16="http://schemas.microsoft.com/office/drawing/2014/main" id="{526CE2A1-5BF0-4B99-B9BF-0721F3CE9D3B}"/>
              </a:ext>
            </a:extLst>
          </p:cNvPr>
          <p:cNvSpPr txBox="1"/>
          <p:nvPr/>
        </p:nvSpPr>
        <p:spPr>
          <a:xfrm>
            <a:off x="4144246" y="2891661"/>
            <a:ext cx="342450" cy="41614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sz="2100" dirty="0">
                <a:solidFill>
                  <a:schemeClr val="accent1"/>
                </a:solidFill>
                <a:latin typeface="Calibri" panose="020F0502020204030204" pitchFamily="34" charset="0"/>
                <a:ea typeface="Arial Narrow"/>
                <a:cs typeface="Arial Narrow"/>
                <a:sym typeface="Arial Narrow"/>
              </a:rPr>
              <a:t>02</a:t>
            </a:r>
            <a:endParaRPr sz="1500" dirty="0">
              <a:solidFill>
                <a:schemeClr val="accent1"/>
              </a:solidFill>
              <a:latin typeface="Calibri" panose="020F0502020204030204" pitchFamily="34" charset="0"/>
              <a:ea typeface="Arial Narrow"/>
              <a:cs typeface="Arial Narrow"/>
              <a:sym typeface="Arial Narrow"/>
            </a:endParaRPr>
          </a:p>
        </p:txBody>
      </p:sp>
      <p:sp>
        <p:nvSpPr>
          <p:cNvPr id="23" name="Google Shape;537;p2">
            <a:extLst>
              <a:ext uri="{FF2B5EF4-FFF2-40B4-BE49-F238E27FC236}">
                <a16:creationId xmlns:a16="http://schemas.microsoft.com/office/drawing/2014/main" id="{04AF50F2-D5D3-48D6-B173-938A31D19EC1}"/>
              </a:ext>
            </a:extLst>
          </p:cNvPr>
          <p:cNvSpPr txBox="1"/>
          <p:nvPr/>
        </p:nvSpPr>
        <p:spPr>
          <a:xfrm>
            <a:off x="4157458" y="4114800"/>
            <a:ext cx="376431" cy="41614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sz="2100" dirty="0">
                <a:solidFill>
                  <a:schemeClr val="accent1"/>
                </a:solidFill>
                <a:latin typeface="Calibri" panose="020F0502020204030204" pitchFamily="34" charset="0"/>
                <a:ea typeface="Arial Narrow"/>
                <a:cs typeface="Arial Narrow"/>
                <a:sym typeface="Arial Narrow"/>
              </a:rPr>
              <a:t>04</a:t>
            </a:r>
            <a:endParaRPr sz="2100" dirty="0">
              <a:solidFill>
                <a:schemeClr val="accent1"/>
              </a:solidFill>
              <a:latin typeface="Calibri" panose="020F0502020204030204" pitchFamily="34" charset="0"/>
              <a:ea typeface="Arial Narrow"/>
              <a:cs typeface="Arial Narrow"/>
              <a:sym typeface="Arial Narrow"/>
            </a:endParaRPr>
          </a:p>
        </p:txBody>
      </p:sp>
    </p:spTree>
    <p:extLst>
      <p:ext uri="{BB962C8B-B14F-4D97-AF65-F5344CB8AC3E}">
        <p14:creationId xmlns:p14="http://schemas.microsoft.com/office/powerpoint/2010/main" val="4045618210"/>
      </p:ext>
    </p:extLst>
  </p:cSld>
  <p:clrMapOvr>
    <a:masterClrMapping/>
  </p:clrMapOvr>
  <p:transition spd="med">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38200" y="2153199"/>
            <a:ext cx="6702972" cy="3077381"/>
          </a:xfrm>
          <a:prstGeom prst="rect">
            <a:avLst/>
          </a:prstGeom>
        </p:spPr>
        <p:txBody>
          <a:bodyPr wrap="square">
            <a:spAutoFit/>
          </a:bodyPr>
          <a:lstStyle/>
          <a:p>
            <a:pPr marL="257175" indent="-257175">
              <a:lnSpc>
                <a:spcPct val="200000"/>
              </a:lnSpc>
              <a:buClr>
                <a:schemeClr val="accent1"/>
              </a:buClr>
              <a:buFont typeface="Wingdings" panose="05000000000000000000" pitchFamily="2" charset="2"/>
              <a:buChar char="q"/>
            </a:pPr>
            <a:r>
              <a:rPr lang="en-US" sz="2000" dirty="0">
                <a:latin typeface="Calibri" panose="020F0502020204030204" pitchFamily="34" charset="0"/>
              </a:rPr>
              <a:t>Oxygen is not a Flammable Gas</a:t>
            </a:r>
          </a:p>
          <a:p>
            <a:pPr marL="257175" indent="-257175">
              <a:lnSpc>
                <a:spcPct val="200000"/>
              </a:lnSpc>
              <a:buClr>
                <a:schemeClr val="accent1"/>
              </a:buClr>
              <a:buFont typeface="Wingdings" panose="05000000000000000000" pitchFamily="2" charset="2"/>
              <a:buChar char="q"/>
            </a:pPr>
            <a:r>
              <a:rPr lang="en-US" sz="2000" dirty="0">
                <a:latin typeface="Calibri" panose="020F0502020204030204" pitchFamily="34" charset="0"/>
              </a:rPr>
              <a:t>Only Helps in Burning</a:t>
            </a:r>
          </a:p>
          <a:p>
            <a:pPr marL="257175" indent="-257175">
              <a:lnSpc>
                <a:spcPct val="200000"/>
              </a:lnSpc>
              <a:buClr>
                <a:schemeClr val="accent1"/>
              </a:buClr>
              <a:buFont typeface="Wingdings" panose="05000000000000000000" pitchFamily="2" charset="2"/>
              <a:buChar char="q"/>
            </a:pPr>
            <a:r>
              <a:rPr lang="en-US" sz="2000" b="1" dirty="0">
                <a:latin typeface="Calibri" panose="020F0502020204030204" pitchFamily="34" charset="0"/>
              </a:rPr>
              <a:t>Pressure is critical in Handling the Gas</a:t>
            </a:r>
          </a:p>
          <a:p>
            <a:pPr marL="257175" indent="-257175">
              <a:lnSpc>
                <a:spcPct val="200000"/>
              </a:lnSpc>
              <a:buClr>
                <a:schemeClr val="accent1"/>
              </a:buClr>
              <a:buFont typeface="Wingdings" panose="05000000000000000000" pitchFamily="2" charset="2"/>
              <a:buChar char="q"/>
            </a:pPr>
            <a:r>
              <a:rPr lang="en-US" sz="2000" b="1" dirty="0">
                <a:latin typeface="Calibri" panose="020F0502020204030204" pitchFamily="34" charset="0"/>
              </a:rPr>
              <a:t>Material used in Oxygen Service/Equipment/Line</a:t>
            </a:r>
          </a:p>
          <a:p>
            <a:pPr marL="257175" indent="-257175">
              <a:lnSpc>
                <a:spcPct val="200000"/>
              </a:lnSpc>
              <a:buClr>
                <a:schemeClr val="accent1"/>
              </a:buClr>
              <a:buFont typeface="Wingdings" panose="05000000000000000000" pitchFamily="2" charset="2"/>
              <a:buChar char="q"/>
            </a:pPr>
            <a:r>
              <a:rPr lang="en-US" sz="2000" dirty="0">
                <a:latin typeface="Calibri" panose="020F0502020204030204" pitchFamily="34" charset="0"/>
              </a:rPr>
              <a:t>Have you heard of the ‘fire triangle’?</a:t>
            </a:r>
          </a:p>
        </p:txBody>
      </p:sp>
      <p:sp>
        <p:nvSpPr>
          <p:cNvPr id="7" name="Title 1">
            <a:extLst>
              <a:ext uri="{FF2B5EF4-FFF2-40B4-BE49-F238E27FC236}">
                <a16:creationId xmlns:a16="http://schemas.microsoft.com/office/drawing/2014/main" id="{672EFC3F-B41F-42A6-864F-5ECCD3CD7B31}"/>
              </a:ext>
            </a:extLst>
          </p:cNvPr>
          <p:cNvSpPr>
            <a:spLocks noGrp="1"/>
          </p:cNvSpPr>
          <p:nvPr>
            <p:ph type="title"/>
          </p:nvPr>
        </p:nvSpPr>
        <p:spPr>
          <a:xfrm>
            <a:off x="533400" y="990600"/>
            <a:ext cx="7981950" cy="762000"/>
          </a:xfrm>
        </p:spPr>
        <p:txBody>
          <a:bodyPr>
            <a:noAutofit/>
          </a:bodyPr>
          <a:lstStyle/>
          <a:p>
            <a:pPr algn="ctr"/>
            <a:r>
              <a:rPr lang="en-US" b="1" dirty="0">
                <a:solidFill>
                  <a:schemeClr val="accent2">
                    <a:lumMod val="75000"/>
                  </a:schemeClr>
                </a:solidFill>
                <a:latin typeface="Calibri" panose="020F0502020204030204" pitchFamily="34" charset="0"/>
                <a:cs typeface="Arial"/>
              </a:rPr>
              <a:t>Introduction to Oxygen </a:t>
            </a:r>
          </a:p>
        </p:txBody>
      </p:sp>
      <p:pic>
        <p:nvPicPr>
          <p:cNvPr id="8" name="Graphic 7" descr="Fire Extinguisher outline">
            <a:extLst>
              <a:ext uri="{FF2B5EF4-FFF2-40B4-BE49-F238E27FC236}">
                <a16:creationId xmlns:a16="http://schemas.microsoft.com/office/drawing/2014/main" id="{F24DA88B-8C1A-4EE0-B384-104F54A23A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00800" y="2100659"/>
            <a:ext cx="2608868" cy="3182463"/>
          </a:xfrm>
          <a:prstGeom prst="rect">
            <a:avLst/>
          </a:prstGeom>
        </p:spPr>
      </p:pic>
    </p:spTree>
    <p:extLst>
      <p:ext uri="{BB962C8B-B14F-4D97-AF65-F5344CB8AC3E}">
        <p14:creationId xmlns:p14="http://schemas.microsoft.com/office/powerpoint/2010/main" val="110457795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90600" y="1828801"/>
            <a:ext cx="4648200" cy="4093428"/>
          </a:xfrm>
          <a:prstGeom prst="rect">
            <a:avLst/>
          </a:prstGeom>
        </p:spPr>
        <p:txBody>
          <a:bodyPr wrap="square">
            <a:spAutoFit/>
          </a:bodyPr>
          <a:lstStyle/>
          <a:p>
            <a:pPr marL="257175" indent="-257175">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Oxygen Cylinder has a pressure of 150 Bar</a:t>
            </a:r>
          </a:p>
          <a:p>
            <a:pPr marL="257175" indent="-257175">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Patient Requirement is 2 to 4.2 Bar,  1 LPM to 60 LPM</a:t>
            </a:r>
          </a:p>
          <a:p>
            <a:pPr marL="257175" indent="-257175">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Cylinder Valve is important </a:t>
            </a:r>
          </a:p>
          <a:p>
            <a:pPr marL="257175" indent="-257175">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Cylinder Guard</a:t>
            </a:r>
          </a:p>
          <a:p>
            <a:pPr marL="257175" indent="-257175">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Period Hydro Testing of Cylinders after 5 years</a:t>
            </a:r>
          </a:p>
          <a:p>
            <a:pPr marL="257175" indent="-257175">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Physical damage of Cylinder</a:t>
            </a:r>
          </a:p>
          <a:p>
            <a:pPr marL="257175" indent="-257175">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Flashback of Cylinders</a:t>
            </a:r>
          </a:p>
        </p:txBody>
      </p:sp>
      <p:sp>
        <p:nvSpPr>
          <p:cNvPr id="7" name="Title 1">
            <a:extLst>
              <a:ext uri="{FF2B5EF4-FFF2-40B4-BE49-F238E27FC236}">
                <a16:creationId xmlns:a16="http://schemas.microsoft.com/office/drawing/2014/main" id="{672EFC3F-B41F-42A6-864F-5ECCD3CD7B31}"/>
              </a:ext>
            </a:extLst>
          </p:cNvPr>
          <p:cNvSpPr>
            <a:spLocks noGrp="1"/>
          </p:cNvSpPr>
          <p:nvPr>
            <p:ph type="title"/>
          </p:nvPr>
        </p:nvSpPr>
        <p:spPr>
          <a:xfrm>
            <a:off x="628650" y="1210354"/>
            <a:ext cx="7886700" cy="519835"/>
          </a:xfrm>
        </p:spPr>
        <p:txBody>
          <a:bodyPr>
            <a:noAutofit/>
          </a:bodyPr>
          <a:lstStyle/>
          <a:p>
            <a:pPr algn="ctr"/>
            <a:r>
              <a:rPr lang="en-US" b="1" dirty="0">
                <a:solidFill>
                  <a:schemeClr val="accent2">
                    <a:lumMod val="75000"/>
                  </a:schemeClr>
                </a:solidFill>
                <a:latin typeface="Calibri" panose="020F0502020204030204" pitchFamily="34" charset="0"/>
                <a:cs typeface="Arial"/>
              </a:rPr>
              <a:t>Safety in Oxygen Cylinder</a:t>
            </a:r>
          </a:p>
        </p:txBody>
      </p:sp>
      <p:pic>
        <p:nvPicPr>
          <p:cNvPr id="1026" name="Picture 2">
            <a:extLst>
              <a:ext uri="{FF2B5EF4-FFF2-40B4-BE49-F238E27FC236}">
                <a16:creationId xmlns:a16="http://schemas.microsoft.com/office/drawing/2014/main" id="{C43D1198-FF2A-4E12-8886-3C029EB0BA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23915" y="2293124"/>
            <a:ext cx="2591435" cy="3047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17740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19199" y="1981200"/>
            <a:ext cx="7494709" cy="3477875"/>
          </a:xfrm>
          <a:prstGeom prst="rect">
            <a:avLst/>
          </a:prstGeom>
        </p:spPr>
        <p:txBody>
          <a:bodyPr wrap="square">
            <a:spAutoFit/>
          </a:bodyPr>
          <a:lstStyle/>
          <a:p>
            <a:pPr marL="365760" indent="-365760">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Compatible material to be used for piping SS/Copper</a:t>
            </a:r>
          </a:p>
          <a:p>
            <a:pPr marL="365760" indent="-365760">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Proper thickness of material should be used</a:t>
            </a:r>
          </a:p>
          <a:p>
            <a:pPr marL="365760" indent="-365760">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Proper Selection of Automatic and Sem-Automatic Panel to be used</a:t>
            </a:r>
          </a:p>
          <a:p>
            <a:pPr marL="365760" indent="-365760">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DC Alarm System with CE approval</a:t>
            </a:r>
          </a:p>
          <a:p>
            <a:pPr marL="365760" indent="-365760">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Coloring coding</a:t>
            </a:r>
          </a:p>
          <a:p>
            <a:pPr marL="365760" indent="-365760">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Distance between MGPS and Electrical Cabling</a:t>
            </a:r>
          </a:p>
          <a:p>
            <a:pPr marL="365760" indent="-365760">
              <a:spcBef>
                <a:spcPts val="600"/>
              </a:spcBef>
              <a:spcAft>
                <a:spcPts val="600"/>
              </a:spcAft>
              <a:buClr>
                <a:schemeClr val="accent1"/>
              </a:buClr>
              <a:buFont typeface="Wingdings" panose="05000000000000000000" pitchFamily="2" charset="2"/>
              <a:buChar char="q"/>
            </a:pPr>
            <a:r>
              <a:rPr lang="en-US" sz="2000" dirty="0">
                <a:latin typeface="Calibri" panose="020F0502020204030204" pitchFamily="34" charset="0"/>
              </a:rPr>
              <a:t>Design of MGPS</a:t>
            </a:r>
          </a:p>
        </p:txBody>
      </p:sp>
      <p:sp>
        <p:nvSpPr>
          <p:cNvPr id="7" name="Title 1">
            <a:extLst>
              <a:ext uri="{FF2B5EF4-FFF2-40B4-BE49-F238E27FC236}">
                <a16:creationId xmlns:a16="http://schemas.microsoft.com/office/drawing/2014/main" id="{672EFC3F-B41F-42A6-864F-5ECCD3CD7B31}"/>
              </a:ext>
            </a:extLst>
          </p:cNvPr>
          <p:cNvSpPr>
            <a:spLocks noGrp="1"/>
          </p:cNvSpPr>
          <p:nvPr>
            <p:ph type="title"/>
          </p:nvPr>
        </p:nvSpPr>
        <p:spPr>
          <a:xfrm>
            <a:off x="628650" y="1250420"/>
            <a:ext cx="7886700" cy="519835"/>
          </a:xfrm>
        </p:spPr>
        <p:txBody>
          <a:bodyPr>
            <a:noAutofit/>
          </a:bodyPr>
          <a:lstStyle/>
          <a:p>
            <a:pPr algn="ctr"/>
            <a:r>
              <a:rPr lang="en-US" b="1" dirty="0">
                <a:solidFill>
                  <a:schemeClr val="accent2">
                    <a:lumMod val="75000"/>
                  </a:schemeClr>
                </a:solidFill>
                <a:latin typeface="Calibri" panose="020F0502020204030204" pitchFamily="34" charset="0"/>
                <a:cs typeface="Arial"/>
              </a:rPr>
              <a:t>Safety in MGPS System</a:t>
            </a:r>
          </a:p>
        </p:txBody>
      </p:sp>
    </p:spTree>
    <p:extLst>
      <p:ext uri="{BB962C8B-B14F-4D97-AF65-F5344CB8AC3E}">
        <p14:creationId xmlns:p14="http://schemas.microsoft.com/office/powerpoint/2010/main" val="91432512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72EFC3F-B41F-42A6-864F-5ECCD3CD7B31}"/>
              </a:ext>
            </a:extLst>
          </p:cNvPr>
          <p:cNvSpPr>
            <a:spLocks noGrp="1"/>
          </p:cNvSpPr>
          <p:nvPr>
            <p:ph type="title"/>
          </p:nvPr>
        </p:nvSpPr>
        <p:spPr>
          <a:xfrm>
            <a:off x="628650" y="1233573"/>
            <a:ext cx="7886700" cy="519835"/>
          </a:xfrm>
        </p:spPr>
        <p:txBody>
          <a:bodyPr>
            <a:noAutofit/>
          </a:bodyPr>
          <a:lstStyle/>
          <a:p>
            <a:pPr algn="ctr"/>
            <a:r>
              <a:rPr lang="en-US" b="1" dirty="0">
                <a:solidFill>
                  <a:schemeClr val="accent2">
                    <a:lumMod val="75000"/>
                  </a:schemeClr>
                </a:solidFill>
                <a:latin typeface="Calibri" panose="020F0502020204030204" pitchFamily="34" charset="0"/>
                <a:cs typeface="Arial"/>
              </a:rPr>
              <a:t>MGPS System with Air Regulators</a:t>
            </a:r>
          </a:p>
        </p:txBody>
      </p:sp>
      <p:pic>
        <p:nvPicPr>
          <p:cNvPr id="2050" name="Picture 2">
            <a:extLst>
              <a:ext uri="{FF2B5EF4-FFF2-40B4-BE49-F238E27FC236}">
                <a16:creationId xmlns:a16="http://schemas.microsoft.com/office/drawing/2014/main" id="{72791E81-C9AC-44B4-9315-5F89F6FAC8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7584" y="2286000"/>
            <a:ext cx="4762500" cy="297604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A7CBC182-1BA9-4C84-A6B9-5794E16836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24400" y="1876654"/>
            <a:ext cx="4305300" cy="438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9907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AD7F5C-9417-4129-A94F-DE0E685AB92C}"/>
              </a:ext>
            </a:extLst>
          </p:cNvPr>
          <p:cNvSpPr>
            <a:spLocks noGrp="1"/>
          </p:cNvSpPr>
          <p:nvPr>
            <p:ph type="sldNum" idx="12"/>
          </p:nvPr>
        </p:nvSpPr>
        <p:spPr/>
        <p:txBody>
          <a:bodyPr/>
          <a:lstStyle/>
          <a:p>
            <a:fld id="{00000000-1234-1234-1234-123412341234}" type="slidenum">
              <a:rPr lang="en-US" smtClean="0">
                <a:latin typeface="+mn-lt"/>
              </a:rPr>
              <a:pPr/>
              <a:t>15</a:t>
            </a:fld>
            <a:endParaRPr lang="en-US">
              <a:latin typeface="+mn-lt"/>
            </a:endParaRPr>
          </a:p>
        </p:txBody>
      </p:sp>
      <p:sp>
        <p:nvSpPr>
          <p:cNvPr id="3" name="Google Shape;593;ge9eb37db0a_0_43">
            <a:extLst>
              <a:ext uri="{FF2B5EF4-FFF2-40B4-BE49-F238E27FC236}">
                <a16:creationId xmlns:a16="http://schemas.microsoft.com/office/drawing/2014/main" id="{39E23820-7DDC-4CFD-93F0-7BBF75748713}"/>
              </a:ext>
            </a:extLst>
          </p:cNvPr>
          <p:cNvSpPr txBox="1"/>
          <p:nvPr/>
        </p:nvSpPr>
        <p:spPr>
          <a:xfrm>
            <a:off x="948278" y="703587"/>
            <a:ext cx="7467599" cy="1023806"/>
          </a:xfrm>
          <a:prstGeom prst="rect">
            <a:avLst/>
          </a:prstGeom>
          <a:noFill/>
          <a:ln>
            <a:noFill/>
          </a:ln>
        </p:spPr>
        <p:txBody>
          <a:bodyPr spcFirstLastPara="1" wrap="square" lIns="0" tIns="0" rIns="0" bIns="0" anchor="b" anchorCtr="0">
            <a:noAutofit/>
          </a:bodyPr>
          <a:lstStyle/>
          <a:p>
            <a:pPr algn="ctr" defTabSz="685800">
              <a:lnSpc>
                <a:spcPct val="85000"/>
              </a:lnSpc>
              <a:buClr>
                <a:schemeClr val="accent1"/>
              </a:buClr>
              <a:buSzPts val="3200"/>
            </a:pPr>
            <a:r>
              <a:rPr lang="en-US" sz="3600" b="1" spc="-50" dirty="0">
                <a:solidFill>
                  <a:schemeClr val="accent2">
                    <a:lumMod val="75000"/>
                  </a:schemeClr>
                </a:solidFill>
                <a:latin typeface="+mn-lt"/>
                <a:ea typeface="+mj-ea"/>
                <a:cs typeface="+mj-cs"/>
              </a:rPr>
              <a:t>Assessment</a:t>
            </a:r>
            <a:endParaRPr lang="en-US" sz="3600" b="1" spc="-50" dirty="0">
              <a:solidFill>
                <a:schemeClr val="accent2">
                  <a:lumMod val="75000"/>
                </a:schemeClr>
              </a:solidFill>
              <a:latin typeface="+mn-lt"/>
              <a:ea typeface="+mj-ea"/>
              <a:cs typeface="+mj-cs"/>
              <a:sym typeface="Arial"/>
            </a:endParaRPr>
          </a:p>
        </p:txBody>
      </p:sp>
      <p:grpSp>
        <p:nvGrpSpPr>
          <p:cNvPr id="4" name="Group 3">
            <a:extLst>
              <a:ext uri="{FF2B5EF4-FFF2-40B4-BE49-F238E27FC236}">
                <a16:creationId xmlns:a16="http://schemas.microsoft.com/office/drawing/2014/main" id="{9AC5962E-0D38-4A2D-AB6A-379027AEA22F}"/>
              </a:ext>
            </a:extLst>
          </p:cNvPr>
          <p:cNvGrpSpPr/>
          <p:nvPr/>
        </p:nvGrpSpPr>
        <p:grpSpPr>
          <a:xfrm>
            <a:off x="707362" y="1952168"/>
            <a:ext cx="7904308" cy="3830268"/>
            <a:chOff x="559408" y="2303664"/>
            <a:chExt cx="7904308" cy="3588693"/>
          </a:xfrm>
        </p:grpSpPr>
        <p:sp>
          <p:nvSpPr>
            <p:cNvPr id="5" name="TextBox 4">
              <a:extLst>
                <a:ext uri="{FF2B5EF4-FFF2-40B4-BE49-F238E27FC236}">
                  <a16:creationId xmlns:a16="http://schemas.microsoft.com/office/drawing/2014/main" id="{47B3691B-CA68-4BE6-8B45-633023313A20}"/>
                </a:ext>
              </a:extLst>
            </p:cNvPr>
            <p:cNvSpPr txBox="1"/>
            <p:nvPr/>
          </p:nvSpPr>
          <p:spPr>
            <a:xfrm>
              <a:off x="559408" y="2303664"/>
              <a:ext cx="2584580" cy="3373872"/>
            </a:xfrm>
            <a:prstGeom prst="rect">
              <a:avLst/>
            </a:prstGeom>
            <a:noFill/>
          </p:spPr>
          <p:txBody>
            <a:bodyPr wrap="square" rtlCol="0">
              <a:spAutoFit/>
            </a:bodyPr>
            <a:lstStyle/>
            <a:p>
              <a:pPr algn="just" eaLnBrk="1" hangingPunct="1">
                <a:spcBef>
                  <a:spcPts val="600"/>
                </a:spcBef>
                <a:spcAft>
                  <a:spcPts val="600"/>
                </a:spcAft>
                <a:buClr>
                  <a:schemeClr val="accent2"/>
                </a:buClr>
                <a:buSzPct val="60000"/>
                <a:buFont typeface="Wingdings" panose="05000000000000000000" pitchFamily="2" charset="2"/>
              </a:pPr>
              <a:r>
                <a:rPr lang="en-US" altLang="ar-SA" dirty="0">
                  <a:solidFill>
                    <a:schemeClr val="accent2"/>
                  </a:solidFill>
                  <a:latin typeface="+mn-lt"/>
                  <a:cs typeface="Arial" panose="020B0604020202020204" pitchFamily="34" charset="0"/>
                </a:rPr>
                <a:t>The need for oxygen therapy should be </a:t>
              </a:r>
              <a:r>
                <a:rPr lang="en-US" altLang="ar-SA" b="1" dirty="0">
                  <a:solidFill>
                    <a:schemeClr val="accent2"/>
                  </a:solidFill>
                  <a:latin typeface="+mn-lt"/>
                  <a:cs typeface="Arial" panose="020B0604020202020204" pitchFamily="34" charset="0"/>
                </a:rPr>
                <a:t>assessed by</a:t>
              </a:r>
            </a:p>
            <a:p>
              <a:pPr marL="400050" indent="-400050" algn="just" eaLnBrk="1" hangingPunct="1">
                <a:spcBef>
                  <a:spcPts val="600"/>
                </a:spcBef>
                <a:spcAft>
                  <a:spcPts val="600"/>
                </a:spcAft>
                <a:buClr>
                  <a:schemeClr val="accent2"/>
                </a:buClr>
                <a:buSzPct val="60000"/>
                <a:buFont typeface="+mj-lt"/>
                <a:buAutoNum type="romanUcPeriod"/>
              </a:pPr>
              <a:r>
                <a:rPr lang="en-US" altLang="ar-SA" b="1" dirty="0">
                  <a:solidFill>
                    <a:schemeClr val="accent2"/>
                  </a:solidFill>
                  <a:latin typeface="+mn-lt"/>
                  <a:cs typeface="Arial" panose="020B0604020202020204" pitchFamily="34" charset="0"/>
                </a:rPr>
                <a:t>Monitoring of ABG </a:t>
              </a:r>
              <a:r>
                <a:rPr lang="en-US" altLang="ar-SA" dirty="0">
                  <a:solidFill>
                    <a:schemeClr val="accent2"/>
                  </a:solidFill>
                  <a:latin typeface="+mn-lt"/>
                  <a:cs typeface="Arial" panose="020B0604020202020204" pitchFamily="34" charset="0"/>
                </a:rPr>
                <a:t>(arterial blood gases) </a:t>
              </a:r>
            </a:p>
            <a:p>
              <a:pPr marL="400050" indent="-400050" algn="just" eaLnBrk="1" hangingPunct="1">
                <a:spcBef>
                  <a:spcPts val="600"/>
                </a:spcBef>
                <a:spcAft>
                  <a:spcPts val="600"/>
                </a:spcAft>
                <a:buClr>
                  <a:schemeClr val="accent2"/>
                </a:buClr>
                <a:buSzPct val="60000"/>
                <a:buFont typeface="+mj-lt"/>
                <a:buAutoNum type="romanUcPeriod"/>
              </a:pPr>
              <a:r>
                <a:rPr lang="en-US" altLang="ar-SA" dirty="0">
                  <a:solidFill>
                    <a:schemeClr val="accent2"/>
                  </a:solidFill>
                  <a:latin typeface="+mn-lt"/>
                  <a:cs typeface="Arial" panose="020B0604020202020204" pitchFamily="34" charset="0"/>
                </a:rPr>
                <a:t>PaO2 (partial pressure of oxygen), SpO2 (oxygen saturation)</a:t>
              </a:r>
            </a:p>
            <a:p>
              <a:pPr marL="400050" indent="-400050" algn="just" eaLnBrk="1" hangingPunct="1">
                <a:spcBef>
                  <a:spcPts val="600"/>
                </a:spcBef>
                <a:spcAft>
                  <a:spcPts val="600"/>
                </a:spcAft>
                <a:buClr>
                  <a:schemeClr val="accent2"/>
                </a:buClr>
                <a:buSzPct val="60000"/>
                <a:buFont typeface="+mj-lt"/>
                <a:buAutoNum type="romanUcPeriod"/>
              </a:pPr>
              <a:r>
                <a:rPr lang="en-US" altLang="ar-SA" b="1" dirty="0">
                  <a:solidFill>
                    <a:schemeClr val="accent2"/>
                  </a:solidFill>
                  <a:latin typeface="+mn-lt"/>
                  <a:cs typeface="Arial" panose="020B0604020202020204" pitchFamily="34" charset="0"/>
                </a:rPr>
                <a:t>Clinical assessment findings</a:t>
              </a:r>
              <a:r>
                <a:rPr lang="en-US" altLang="ar-SA" dirty="0">
                  <a:solidFill>
                    <a:schemeClr val="accent2"/>
                  </a:solidFill>
                  <a:latin typeface="+mn-lt"/>
                  <a:cs typeface="Arial" panose="020B0604020202020204" pitchFamily="34" charset="0"/>
                </a:rPr>
                <a:t>.</a:t>
              </a:r>
              <a:endParaRPr lang="en-IN" dirty="0">
                <a:solidFill>
                  <a:schemeClr val="accent2"/>
                </a:solidFill>
                <a:latin typeface="+mn-lt"/>
              </a:endParaRPr>
            </a:p>
          </p:txBody>
        </p:sp>
        <p:sp>
          <p:nvSpPr>
            <p:cNvPr id="6" name="TextBox 5">
              <a:extLst>
                <a:ext uri="{FF2B5EF4-FFF2-40B4-BE49-F238E27FC236}">
                  <a16:creationId xmlns:a16="http://schemas.microsoft.com/office/drawing/2014/main" id="{B4E42138-76D7-4EDE-8008-33B492FC05E7}"/>
                </a:ext>
              </a:extLst>
            </p:cNvPr>
            <p:cNvSpPr txBox="1"/>
            <p:nvPr/>
          </p:nvSpPr>
          <p:spPr>
            <a:xfrm>
              <a:off x="3436918" y="2331048"/>
              <a:ext cx="2781963" cy="3561309"/>
            </a:xfrm>
            <a:prstGeom prst="rect">
              <a:avLst/>
            </a:prstGeom>
            <a:noFill/>
          </p:spPr>
          <p:txBody>
            <a:bodyPr wrap="square" rtlCol="0">
              <a:spAutoFit/>
            </a:bodyPr>
            <a:lstStyle/>
            <a:p>
              <a:pPr algn="just" eaLnBrk="1" hangingPunct="1">
                <a:buClr>
                  <a:schemeClr val="accent2"/>
                </a:buClr>
                <a:buSzPct val="60000"/>
                <a:buFont typeface="Wingdings" panose="05000000000000000000" pitchFamily="2" charset="2"/>
              </a:pPr>
              <a:r>
                <a:rPr lang="en-US" altLang="ar-SA" sz="1600" dirty="0">
                  <a:solidFill>
                    <a:schemeClr val="accent2"/>
                  </a:solidFill>
                  <a:latin typeface="+mn-lt"/>
                  <a:cs typeface="Arial" panose="020B0604020202020204" pitchFamily="34" charset="0"/>
                </a:rPr>
                <a:t>PaO2 : </a:t>
              </a:r>
            </a:p>
            <a:p>
              <a:pPr marL="285750" indent="-285750" algn="just" eaLnBrk="1" hangingPunct="1">
                <a:spcBef>
                  <a:spcPts val="600"/>
                </a:spcBef>
                <a:spcAft>
                  <a:spcPts val="600"/>
                </a:spcAft>
                <a:buClr>
                  <a:schemeClr val="accent2"/>
                </a:buClr>
                <a:buSzPct val="60000"/>
                <a:buFont typeface="Wingdings" panose="05000000000000000000" pitchFamily="2" charset="2"/>
                <a:buChar char="§"/>
              </a:pPr>
              <a:r>
                <a:rPr lang="en-US" altLang="ar-SA" dirty="0">
                  <a:solidFill>
                    <a:schemeClr val="accent2"/>
                  </a:solidFill>
                  <a:latin typeface="+mn-lt"/>
                  <a:cs typeface="Arial" panose="020B0604020202020204" pitchFamily="34" charset="0"/>
                </a:rPr>
                <a:t>80 – 100 mm Hg : </a:t>
              </a:r>
              <a:r>
                <a:rPr lang="en-US" altLang="ar-SA" b="1" dirty="0">
                  <a:solidFill>
                    <a:schemeClr val="accent2"/>
                  </a:solidFill>
                  <a:latin typeface="+mn-lt"/>
                  <a:cs typeface="Arial" panose="020B0604020202020204" pitchFamily="34" charset="0"/>
                </a:rPr>
                <a:t>Normal</a:t>
              </a:r>
            </a:p>
            <a:p>
              <a:pPr marL="285750" indent="-285750" algn="just" eaLnBrk="1" hangingPunct="1">
                <a:spcBef>
                  <a:spcPts val="600"/>
                </a:spcBef>
                <a:spcAft>
                  <a:spcPts val="600"/>
                </a:spcAft>
                <a:buClr>
                  <a:schemeClr val="accent2"/>
                </a:buClr>
                <a:buSzPct val="60000"/>
                <a:buFont typeface="Wingdings" panose="05000000000000000000" pitchFamily="2" charset="2"/>
                <a:buChar char="§"/>
              </a:pPr>
              <a:r>
                <a:rPr lang="en-US" altLang="ar-SA" dirty="0">
                  <a:solidFill>
                    <a:schemeClr val="accent2"/>
                  </a:solidFill>
                  <a:latin typeface="+mn-lt"/>
                  <a:cs typeface="Arial" panose="020B0604020202020204" pitchFamily="34" charset="0"/>
                </a:rPr>
                <a:t>60 – 80  mm Hg  : </a:t>
              </a:r>
              <a:r>
                <a:rPr lang="en-US" altLang="ar-SA" b="1" dirty="0">
                  <a:solidFill>
                    <a:schemeClr val="accent2"/>
                  </a:solidFill>
                  <a:latin typeface="+mn-lt"/>
                  <a:cs typeface="Arial" panose="020B0604020202020204" pitchFamily="34" charset="0"/>
                </a:rPr>
                <a:t>cold, clammy</a:t>
              </a:r>
              <a:r>
                <a:rPr lang="en-IN" altLang="en-US" b="1" dirty="0">
                  <a:solidFill>
                    <a:schemeClr val="accent2"/>
                  </a:solidFill>
                  <a:latin typeface="+mn-lt"/>
                  <a:cs typeface="Arial" panose="020B0604020202020204" pitchFamily="34" charset="0"/>
                </a:rPr>
                <a:t> </a:t>
              </a:r>
              <a:r>
                <a:rPr lang="en-US" altLang="ar-SA" b="1" dirty="0">
                  <a:solidFill>
                    <a:schemeClr val="accent2"/>
                  </a:solidFill>
                  <a:latin typeface="+mn-lt"/>
                  <a:cs typeface="Arial" panose="020B0604020202020204" pitchFamily="34" charset="0"/>
                </a:rPr>
                <a:t>extremities</a:t>
              </a:r>
            </a:p>
            <a:p>
              <a:pPr marL="285750" indent="-285750" algn="just" eaLnBrk="1" hangingPunct="1">
                <a:spcBef>
                  <a:spcPts val="600"/>
                </a:spcBef>
                <a:spcAft>
                  <a:spcPts val="600"/>
                </a:spcAft>
                <a:buClr>
                  <a:schemeClr val="accent2"/>
                </a:buClr>
                <a:buSzPct val="60000"/>
                <a:buFont typeface="Wingdings" panose="05000000000000000000" pitchFamily="2" charset="2"/>
                <a:buChar char="§"/>
              </a:pPr>
              <a:r>
                <a:rPr lang="en-US" altLang="ar-SA" dirty="0">
                  <a:solidFill>
                    <a:schemeClr val="accent2"/>
                  </a:solidFill>
                  <a:latin typeface="+mn-lt"/>
                  <a:cs typeface="Arial" panose="020B0604020202020204" pitchFamily="34" charset="0"/>
                </a:rPr>
                <a:t>&lt; 60 mm Hg    :  </a:t>
              </a:r>
              <a:r>
                <a:rPr lang="en-US" altLang="ar-SA" b="1" dirty="0">
                  <a:solidFill>
                    <a:schemeClr val="accent2"/>
                  </a:solidFill>
                  <a:latin typeface="+mn-lt"/>
                  <a:cs typeface="Arial" panose="020B0604020202020204" pitchFamily="34" charset="0"/>
                </a:rPr>
                <a:t>cyanosis</a:t>
              </a:r>
            </a:p>
            <a:p>
              <a:pPr marL="285750" indent="-285750" algn="just" eaLnBrk="1" hangingPunct="1">
                <a:spcBef>
                  <a:spcPts val="600"/>
                </a:spcBef>
                <a:spcAft>
                  <a:spcPts val="600"/>
                </a:spcAft>
                <a:buClr>
                  <a:schemeClr val="accent2"/>
                </a:buClr>
                <a:buSzPct val="60000"/>
                <a:buFont typeface="Wingdings" panose="05000000000000000000" pitchFamily="2" charset="2"/>
                <a:buChar char="§"/>
              </a:pPr>
              <a:r>
                <a:rPr lang="en-US" altLang="ar-SA" dirty="0">
                  <a:solidFill>
                    <a:schemeClr val="accent2"/>
                  </a:solidFill>
                  <a:latin typeface="+mn-lt"/>
                  <a:cs typeface="Arial" panose="020B0604020202020204" pitchFamily="34" charset="0"/>
                </a:rPr>
                <a:t>&lt; 40 mm Hg    :  </a:t>
              </a:r>
              <a:r>
                <a:rPr lang="en-US" altLang="ar-SA" b="1" dirty="0">
                  <a:solidFill>
                    <a:schemeClr val="accent2"/>
                  </a:solidFill>
                  <a:latin typeface="+mn-lt"/>
                  <a:cs typeface="Arial" panose="020B0604020202020204" pitchFamily="34" charset="0"/>
                </a:rPr>
                <a:t>mental deficiency</a:t>
              </a:r>
              <a:r>
                <a:rPr lang="en-IN" altLang="en-US" b="1" dirty="0">
                  <a:solidFill>
                    <a:schemeClr val="accent2"/>
                  </a:solidFill>
                  <a:latin typeface="+mn-lt"/>
                  <a:cs typeface="Arial" panose="020B0604020202020204" pitchFamily="34" charset="0"/>
                </a:rPr>
                <a:t> </a:t>
              </a:r>
              <a:r>
                <a:rPr lang="en-US" altLang="ar-SA" dirty="0">
                  <a:solidFill>
                    <a:schemeClr val="accent2"/>
                  </a:solidFill>
                  <a:latin typeface="+mn-lt"/>
                  <a:cs typeface="Arial" panose="020B0604020202020204" pitchFamily="34" charset="0"/>
                </a:rPr>
                <a:t>memory loss</a:t>
              </a:r>
            </a:p>
            <a:p>
              <a:pPr marL="285750" indent="-285750" algn="just" eaLnBrk="1" hangingPunct="1">
                <a:spcBef>
                  <a:spcPts val="600"/>
                </a:spcBef>
                <a:spcAft>
                  <a:spcPts val="600"/>
                </a:spcAft>
                <a:buClr>
                  <a:schemeClr val="accent2"/>
                </a:buClr>
                <a:buSzPct val="60000"/>
                <a:buFont typeface="Wingdings" panose="05000000000000000000" pitchFamily="2" charset="2"/>
                <a:buChar char="§"/>
              </a:pPr>
              <a:r>
                <a:rPr lang="en-US" altLang="ar-SA" dirty="0">
                  <a:solidFill>
                    <a:schemeClr val="accent2"/>
                  </a:solidFill>
                  <a:latin typeface="+mn-lt"/>
                  <a:cs typeface="Arial" panose="020B0604020202020204" pitchFamily="34" charset="0"/>
                </a:rPr>
                <a:t>&lt; 30 mm Hg    :  </a:t>
              </a:r>
              <a:r>
                <a:rPr lang="en-US" altLang="ar-SA" b="1" dirty="0">
                  <a:solidFill>
                    <a:schemeClr val="accent2"/>
                  </a:solidFill>
                  <a:latin typeface="+mn-lt"/>
                  <a:cs typeface="Arial" panose="020B0604020202020204" pitchFamily="34" charset="0"/>
                </a:rPr>
                <a:t>bradycardia</a:t>
              </a:r>
              <a:r>
                <a:rPr lang="en-IN" altLang="en-US" b="1" dirty="0">
                  <a:solidFill>
                    <a:schemeClr val="accent2"/>
                  </a:solidFill>
                  <a:latin typeface="+mn-lt"/>
                  <a:cs typeface="Arial" panose="020B0604020202020204" pitchFamily="34" charset="0"/>
                </a:rPr>
                <a:t> </a:t>
              </a:r>
              <a:r>
                <a:rPr lang="en-US" altLang="ar-SA" b="1" dirty="0">
                  <a:solidFill>
                    <a:schemeClr val="accent2"/>
                  </a:solidFill>
                  <a:latin typeface="+mn-lt"/>
                  <a:cs typeface="Arial" panose="020B0604020202020204" pitchFamily="34" charset="0"/>
                </a:rPr>
                <a:t>cardiac arrest</a:t>
              </a:r>
              <a:r>
                <a:rPr lang="en-IN" altLang="en-US" b="1" dirty="0">
                  <a:solidFill>
                    <a:schemeClr val="accent2"/>
                  </a:solidFill>
                  <a:latin typeface="+mn-lt"/>
                  <a:cs typeface="Arial" panose="020B0604020202020204" pitchFamily="34" charset="0"/>
                </a:rPr>
                <a:t> </a:t>
              </a:r>
            </a:p>
          </p:txBody>
        </p:sp>
        <p:sp>
          <p:nvSpPr>
            <p:cNvPr id="7" name="TextBox 6">
              <a:extLst>
                <a:ext uri="{FF2B5EF4-FFF2-40B4-BE49-F238E27FC236}">
                  <a16:creationId xmlns:a16="http://schemas.microsoft.com/office/drawing/2014/main" id="{EBF40C67-89AB-40E9-8317-1ED6E91932CE}"/>
                </a:ext>
              </a:extLst>
            </p:cNvPr>
            <p:cNvSpPr txBox="1"/>
            <p:nvPr/>
          </p:nvSpPr>
          <p:spPr>
            <a:xfrm>
              <a:off x="6461133" y="2331048"/>
              <a:ext cx="2002583" cy="1088819"/>
            </a:xfrm>
            <a:prstGeom prst="rect">
              <a:avLst/>
            </a:prstGeom>
            <a:noFill/>
          </p:spPr>
          <p:txBody>
            <a:bodyPr wrap="square" rtlCol="0">
              <a:spAutoFit/>
            </a:bodyPr>
            <a:lstStyle/>
            <a:p>
              <a:pPr>
                <a:lnSpc>
                  <a:spcPct val="150000"/>
                </a:lnSpc>
              </a:pPr>
              <a:r>
                <a:rPr lang="en-US" altLang="ar-SA" sz="1600" dirty="0">
                  <a:solidFill>
                    <a:schemeClr val="accent2"/>
                  </a:solidFill>
                  <a:latin typeface="+mn-lt"/>
                  <a:cs typeface="Arial" panose="020B0604020202020204" pitchFamily="34" charset="0"/>
                </a:rPr>
                <a:t>PaO2 </a:t>
              </a:r>
              <a:r>
                <a:rPr lang="en-US" altLang="ar-SA" sz="1600" b="1" dirty="0">
                  <a:solidFill>
                    <a:schemeClr val="accent2"/>
                  </a:solidFill>
                  <a:latin typeface="+mn-lt"/>
                  <a:cs typeface="Arial" panose="020B0604020202020204" pitchFamily="34" charset="0"/>
                </a:rPr>
                <a:t>&lt; 60 mm Hg </a:t>
              </a:r>
              <a:r>
                <a:rPr lang="en-US" altLang="ar-SA" sz="1600" dirty="0">
                  <a:solidFill>
                    <a:schemeClr val="accent2"/>
                  </a:solidFill>
                  <a:latin typeface="+mn-lt"/>
                  <a:cs typeface="Arial" panose="020B0604020202020204" pitchFamily="34" charset="0"/>
                </a:rPr>
                <a:t>is a strong indicator for oxygen therapy</a:t>
              </a:r>
              <a:endParaRPr lang="en-US" altLang="ar-SA" sz="1600" dirty="0">
                <a:solidFill>
                  <a:schemeClr val="accent2"/>
                </a:solidFill>
                <a:latin typeface="+mn-lt"/>
                <a:ea typeface="Arial" panose="020B0604020202020204" pitchFamily="34" charset="0"/>
              </a:endParaRPr>
            </a:p>
          </p:txBody>
        </p:sp>
      </p:grpSp>
      <p:cxnSp>
        <p:nvCxnSpPr>
          <p:cNvPr id="9" name="Straight Connector 8">
            <a:extLst>
              <a:ext uri="{FF2B5EF4-FFF2-40B4-BE49-F238E27FC236}">
                <a16:creationId xmlns:a16="http://schemas.microsoft.com/office/drawing/2014/main" id="{247C666A-90EF-4A72-BED3-4006F1F53906}"/>
              </a:ext>
            </a:extLst>
          </p:cNvPr>
          <p:cNvCxnSpPr>
            <a:cxnSpLocks/>
          </p:cNvCxnSpPr>
          <p:nvPr/>
        </p:nvCxnSpPr>
        <p:spPr>
          <a:xfrm>
            <a:off x="3429000" y="1952168"/>
            <a:ext cx="0" cy="3960626"/>
          </a:xfrm>
          <a:prstGeom prst="line">
            <a:avLst/>
          </a:prstGeom>
        </p:spPr>
        <p:style>
          <a:lnRef idx="1">
            <a:schemeClr val="accent2"/>
          </a:lnRef>
          <a:fillRef idx="0">
            <a:schemeClr val="accent2"/>
          </a:fillRef>
          <a:effectRef idx="0">
            <a:schemeClr val="accent2"/>
          </a:effectRef>
          <a:fontRef idx="minor">
            <a:schemeClr val="tx1"/>
          </a:fontRef>
        </p:style>
      </p:cxnSp>
      <p:cxnSp>
        <p:nvCxnSpPr>
          <p:cNvPr id="10" name="Straight Connector 9">
            <a:extLst>
              <a:ext uri="{FF2B5EF4-FFF2-40B4-BE49-F238E27FC236}">
                <a16:creationId xmlns:a16="http://schemas.microsoft.com/office/drawing/2014/main" id="{83F8255D-E18D-42D8-A32F-B378F4AC726B}"/>
              </a:ext>
            </a:extLst>
          </p:cNvPr>
          <p:cNvCxnSpPr>
            <a:cxnSpLocks/>
          </p:cNvCxnSpPr>
          <p:nvPr/>
        </p:nvCxnSpPr>
        <p:spPr>
          <a:xfrm>
            <a:off x="6477000" y="1952168"/>
            <a:ext cx="0" cy="3960626"/>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950816448"/>
      </p:ext>
    </p:extLst>
  </p:cSld>
  <p:clrMapOvr>
    <a:masterClrMapping/>
  </p:clrMapOvr>
  <p:transition spd="med">
    <p:fade/>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14400" y="1824591"/>
            <a:ext cx="7467600" cy="4450577"/>
          </a:xfrm>
          <a:prstGeom prst="rect">
            <a:avLst/>
          </a:prstGeom>
        </p:spPr>
        <p:txBody>
          <a:bodyPr wrap="square">
            <a:spAutoFit/>
          </a:bodyPr>
          <a:lstStyle/>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Proper Earthing to be provided</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Proper Voltage supply, MCB to be provided as per Plant rating</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Ventilation to be provided</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Proper Foundation and Shed</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Oxygen Compatible material to be used in the line</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PSA with Cylinder filling should have a PESO approval</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Oxygen Booster Pump should be Oxygen Compatible.</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Purity meter should be caliberated and of reputed Manufacturer</a:t>
            </a:r>
            <a:endParaRPr lang="en-US" sz="1600" dirty="0">
              <a:latin typeface="+mn-lt"/>
            </a:endParaRPr>
          </a:p>
        </p:txBody>
      </p:sp>
      <p:sp>
        <p:nvSpPr>
          <p:cNvPr id="7" name="Title 1">
            <a:extLst>
              <a:ext uri="{FF2B5EF4-FFF2-40B4-BE49-F238E27FC236}">
                <a16:creationId xmlns:a16="http://schemas.microsoft.com/office/drawing/2014/main" id="{672EFC3F-B41F-42A6-864F-5ECCD3CD7B31}"/>
              </a:ext>
            </a:extLst>
          </p:cNvPr>
          <p:cNvSpPr>
            <a:spLocks noGrp="1"/>
          </p:cNvSpPr>
          <p:nvPr>
            <p:ph type="title"/>
          </p:nvPr>
        </p:nvSpPr>
        <p:spPr>
          <a:xfrm>
            <a:off x="914400" y="914400"/>
            <a:ext cx="7467600" cy="805436"/>
          </a:xfrm>
        </p:spPr>
        <p:txBody>
          <a:bodyPr>
            <a:normAutofit/>
          </a:bodyPr>
          <a:lstStyle/>
          <a:p>
            <a:pPr algn="ctr"/>
            <a:r>
              <a:rPr lang="en-US" b="1" dirty="0">
                <a:solidFill>
                  <a:schemeClr val="accent2">
                    <a:lumMod val="75000"/>
                  </a:schemeClr>
                </a:solidFill>
                <a:latin typeface="+mn-lt"/>
                <a:cs typeface="Arial"/>
              </a:rPr>
              <a:t>Safety in PSA Plants</a:t>
            </a:r>
          </a:p>
        </p:txBody>
      </p:sp>
    </p:spTree>
    <p:extLst>
      <p:ext uri="{BB962C8B-B14F-4D97-AF65-F5344CB8AC3E}">
        <p14:creationId xmlns:p14="http://schemas.microsoft.com/office/powerpoint/2010/main" val="4138598557"/>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38200" y="2057400"/>
            <a:ext cx="7543800" cy="3881191"/>
          </a:xfrm>
          <a:prstGeom prst="rect">
            <a:avLst/>
          </a:prstGeom>
        </p:spPr>
        <p:txBody>
          <a:bodyPr wrap="square">
            <a:spAutoFit/>
          </a:bodyPr>
          <a:lstStyle/>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Proper Earthing to be provided</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Cold Burn in Liquid Oxygen</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Foundation Design to avoid Tank fall</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Fire Extinguisher with fire Buckets.</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Fencing with only authorized entry.</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NO WELDING IN THE LICENSED PREMISES.</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IN STORAGE OF VEHICLE OR CYLINDERS/EQUIPMENTS</a:t>
            </a:r>
            <a:endParaRPr lang="en-US" sz="1600" dirty="0">
              <a:latin typeface="+mn-lt"/>
            </a:endParaRPr>
          </a:p>
        </p:txBody>
      </p:sp>
      <p:sp>
        <p:nvSpPr>
          <p:cNvPr id="7" name="Title 1">
            <a:extLst>
              <a:ext uri="{FF2B5EF4-FFF2-40B4-BE49-F238E27FC236}">
                <a16:creationId xmlns:a16="http://schemas.microsoft.com/office/drawing/2014/main" id="{672EFC3F-B41F-42A6-864F-5ECCD3CD7B31}"/>
              </a:ext>
            </a:extLst>
          </p:cNvPr>
          <p:cNvSpPr>
            <a:spLocks noGrp="1"/>
          </p:cNvSpPr>
          <p:nvPr>
            <p:ph type="title"/>
          </p:nvPr>
        </p:nvSpPr>
        <p:spPr>
          <a:xfrm>
            <a:off x="838200" y="1228518"/>
            <a:ext cx="7543800" cy="519835"/>
          </a:xfrm>
        </p:spPr>
        <p:txBody>
          <a:bodyPr>
            <a:noAutofit/>
          </a:bodyPr>
          <a:lstStyle/>
          <a:p>
            <a:pPr algn="ctr"/>
            <a:r>
              <a:rPr lang="en-US" b="1" dirty="0">
                <a:solidFill>
                  <a:schemeClr val="accent2">
                    <a:lumMod val="75000"/>
                  </a:schemeClr>
                </a:solidFill>
                <a:latin typeface="+mn-lt"/>
                <a:cs typeface="Arial"/>
              </a:rPr>
              <a:t>Safety in LMO Plants</a:t>
            </a:r>
          </a:p>
        </p:txBody>
      </p:sp>
    </p:spTree>
    <p:extLst>
      <p:ext uri="{BB962C8B-B14F-4D97-AF65-F5344CB8AC3E}">
        <p14:creationId xmlns:p14="http://schemas.microsoft.com/office/powerpoint/2010/main" val="2118293858"/>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27690" y="1905000"/>
            <a:ext cx="7554310" cy="3881191"/>
          </a:xfrm>
          <a:prstGeom prst="rect">
            <a:avLst/>
          </a:prstGeom>
        </p:spPr>
        <p:txBody>
          <a:bodyPr wrap="square">
            <a:spAutoFit/>
          </a:bodyPr>
          <a:lstStyle/>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Hand Gloves Free of Oil and Grease</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Safety Shoes</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Safety Goggle</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Safety Helmet </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Cylinder Trolley for Handling Cylinders</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Cryogenic Hand Gloves</a:t>
            </a:r>
          </a:p>
          <a:p>
            <a:pPr marL="365760" indent="-365760" algn="just">
              <a:lnSpc>
                <a:spcPct val="150000"/>
              </a:lnSpc>
              <a:spcBef>
                <a:spcPts val="600"/>
              </a:spcBef>
              <a:spcAft>
                <a:spcPts val="600"/>
              </a:spcAft>
              <a:buClr>
                <a:schemeClr val="accent2"/>
              </a:buClr>
              <a:buFont typeface="Arial" panose="020B0604020202020204" pitchFamily="34" charset="0"/>
              <a:buChar char="•"/>
            </a:pPr>
            <a:r>
              <a:rPr lang="en-US" dirty="0">
                <a:latin typeface="+mn-lt"/>
              </a:rPr>
              <a:t>Proper Tools like Spanners and Teflon Tapes</a:t>
            </a:r>
          </a:p>
        </p:txBody>
      </p:sp>
      <p:sp>
        <p:nvSpPr>
          <p:cNvPr id="7" name="Title 1">
            <a:extLst>
              <a:ext uri="{FF2B5EF4-FFF2-40B4-BE49-F238E27FC236}">
                <a16:creationId xmlns:a16="http://schemas.microsoft.com/office/drawing/2014/main" id="{672EFC3F-B41F-42A6-864F-5ECCD3CD7B31}"/>
              </a:ext>
            </a:extLst>
          </p:cNvPr>
          <p:cNvSpPr>
            <a:spLocks noGrp="1"/>
          </p:cNvSpPr>
          <p:nvPr>
            <p:ph type="title"/>
          </p:nvPr>
        </p:nvSpPr>
        <p:spPr>
          <a:xfrm>
            <a:off x="827690" y="914400"/>
            <a:ext cx="7895349" cy="767070"/>
          </a:xfrm>
        </p:spPr>
        <p:txBody>
          <a:bodyPr>
            <a:normAutofit/>
          </a:bodyPr>
          <a:lstStyle/>
          <a:p>
            <a:pPr algn="ctr"/>
            <a:r>
              <a:rPr lang="en-US" b="1" dirty="0">
                <a:solidFill>
                  <a:schemeClr val="accent2">
                    <a:lumMod val="75000"/>
                  </a:schemeClr>
                </a:solidFill>
                <a:latin typeface="+mn-lt"/>
                <a:cs typeface="Arial"/>
              </a:rPr>
              <a:t>PPE Equipment</a:t>
            </a:r>
          </a:p>
        </p:txBody>
      </p:sp>
    </p:spTree>
    <p:extLst>
      <p:ext uri="{BB962C8B-B14F-4D97-AF65-F5344CB8AC3E}">
        <p14:creationId xmlns:p14="http://schemas.microsoft.com/office/powerpoint/2010/main" val="3796777438"/>
      </p:ext>
    </p:extLst>
  </p:cSld>
  <p:clrMapOvr>
    <a:masterClrMapping/>
  </p:clrMapOvr>
</p:sld>
</file>

<file path=ppt/slides/slide153.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4" name="Rectangle 3"/>
          <p:cNvSpPr/>
          <p:nvPr/>
        </p:nvSpPr>
        <p:spPr bwMode="auto">
          <a:xfrm>
            <a:off x="822325" y="5611697"/>
            <a:ext cx="7788275" cy="457200"/>
          </a:xfrm>
          <a:prstGeom prst="rect">
            <a:avLst/>
          </a:prstGeom>
          <a:solidFill>
            <a:schemeClr val="bg1"/>
          </a:solidFill>
          <a:ln algn="ctr" cap="flat" cmpd="sng" w="9525">
            <a:solidFill>
              <a:schemeClr val="bg1"/>
            </a:solidFill>
            <a:prstDash val="solid"/>
            <a:round/>
            <a:headEnd len="med" type="none" w="med"/>
            <a:tailEnd len="med" type="none" w="med"/>
          </a:ln>
          <a:effectLst/>
        </p:spPr>
        <p:txBody>
          <a:bodyPr anchor="t" anchorCtr="0" bIns="34290" compatLnSpc="1" lIns="68580" numCol="1" rIns="68580" rtlCol="0" tIns="34290" vert="horz" wrap="square">
            <a:prstTxWarp prst="textNoShape">
              <a:avLst/>
            </a:prstTxWarp>
          </a:bodyPr>
          <a:lstStyle/>
          <a:p>
            <a:pPr algn="ctr"/>
            <a:r>
              <a:rPr b="1" dirty="0" lang="en-US" sz="3200">
                <a:solidFill>
                  <a:schemeClr val="accent2">
                    <a:lumMod val="75000"/>
                  </a:schemeClr>
                </a:solidFill>
                <a:latin typeface="+mn-lt"/>
              </a:rPr>
              <a:t>Safety is everyone’s responsibility!</a:t>
            </a:r>
          </a:p>
        </p:txBody>
      </p:sp>
      <p:sp>
        <p:nvSpPr>
          <p:cNvPr id="6" name="Title 5">
            <a:extLst>
              <a:ext uri="{FF2B5EF4-FFF2-40B4-BE49-F238E27FC236}">
                <a16:creationId xmlns:a16="http://schemas.microsoft.com/office/drawing/2014/main" id="{0FBDC2A6-D94E-4E50-9EC5-F4878FE3223A}"/>
              </a:ext>
            </a:extLst>
          </p:cNvPr>
          <p:cNvSpPr>
            <a:spLocks noGrp="1"/>
          </p:cNvSpPr>
          <p:nvPr>
            <p:ph type="title"/>
          </p:nvPr>
        </p:nvSpPr>
        <p:spPr>
          <a:xfrm>
            <a:off x="822325" y="213765"/>
            <a:ext cx="7543800" cy="1449387"/>
          </a:xfrm>
        </p:spPr>
        <p:txBody>
          <a:bodyPr>
            <a:normAutofit/>
          </a:bodyPr>
          <a:lstStyle/>
          <a:p>
            <a:pPr algn="ctr"/>
            <a:r>
              <a:rPr b="1" dirty="0" lang="en-US">
                <a:solidFill>
                  <a:schemeClr val="accent2">
                    <a:lumMod val="75000"/>
                  </a:schemeClr>
                </a:solidFill>
                <a:latin typeface="+mn-lt"/>
                <a:cs typeface="Arial"/>
              </a:rPr>
              <a:t>Oxygen Safety Signs</a:t>
            </a:r>
          </a:p>
        </p:txBody>
      </p:sp>
      <p:grpSp>
        <p:nvGrpSpPr>
          <p:cNvPr id="9" name="Group 8">
            <a:extLst>
              <a:ext uri="{FF2B5EF4-FFF2-40B4-BE49-F238E27FC236}">
                <a16:creationId xmlns:a16="http://schemas.microsoft.com/office/drawing/2014/main" id="{B00A530A-C9D1-4496-B8F3-5FFDB7BD98AA}"/>
              </a:ext>
            </a:extLst>
          </p:cNvPr>
          <p:cNvGrpSpPr/>
          <p:nvPr/>
        </p:nvGrpSpPr>
        <p:grpSpPr>
          <a:xfrm>
            <a:off x="916066" y="1836481"/>
            <a:ext cx="7311868" cy="3480029"/>
            <a:chOff x="632230" y="1984674"/>
            <a:chExt cx="7356318" cy="3575509"/>
          </a:xfrm>
        </p:grpSpPr>
        <p:pic>
          <p:nvPicPr>
            <p:cNvPr id="26634" name="Picture 10"/>
            <p:cNvPicPr>
              <a:picLocks noChangeArrowheads="1"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32230" y="3770237"/>
              <a:ext cx="2632240" cy="17899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38" name="Picture 14"/>
            <p:cNvPicPr>
              <a:picLocks noChangeArrowheads="1"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78914" y="3148528"/>
              <a:ext cx="1909634" cy="17929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32" name="Picture 8"/>
            <p:cNvPicPr>
              <a:picLocks noChangeArrowheads="1" noChangeAspect="1"/>
            </p:cNvPicPr>
            <p:nvPr/>
          </p:nvPicPr>
          <p:blipFill rotWithShape="1">
            <a:blip r:embed="rId5">
              <a:extLst>
                <a:ext uri="{28A0092B-C50C-407E-A947-70E740481C1C}">
                  <a14:useLocalDpi xmlns:a14="http://schemas.microsoft.com/office/drawing/2010/main" val="0"/>
                </a:ext>
              </a:extLst>
            </a:blip>
            <a:srcRect b="-499"/>
            <a:stretch/>
          </p:blipFill>
          <p:spPr bwMode="auto">
            <a:xfrm>
              <a:off x="4308917" y="1984674"/>
              <a:ext cx="3096387" cy="9534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37" name="Picture 13"/>
            <p:cNvPicPr>
              <a:picLocks noChangeArrowheads="1"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417807" y="3057565"/>
              <a:ext cx="2530190" cy="862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30" name="Picture 6"/>
            <p:cNvPicPr>
              <a:picLocks noChangeArrowheads="1"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56700" y="1984674"/>
              <a:ext cx="2530190" cy="1680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33" name="Picture 9"/>
            <p:cNvPicPr>
              <a:picLocks noChangeArrowheads="1"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264470" y="4073523"/>
              <a:ext cx="2530190" cy="14866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69173549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2682D-2852-49CB-B5F8-DE6209420C9F}"/>
              </a:ext>
            </a:extLst>
          </p:cNvPr>
          <p:cNvSpPr>
            <a:spLocks noGrp="1"/>
          </p:cNvSpPr>
          <p:nvPr>
            <p:ph type="title"/>
          </p:nvPr>
        </p:nvSpPr>
        <p:spPr>
          <a:xfrm>
            <a:off x="773113" y="1506538"/>
            <a:ext cx="7543800" cy="1500187"/>
          </a:xfrm>
        </p:spPr>
        <p:txBody>
          <a:bodyPr/>
          <a:lstStyle/>
          <a:p>
            <a:pPr algn="ctr" eaLnBrk="1" fontAlgn="auto" hangingPunct="1">
              <a:spcAft>
                <a:spcPts val="0"/>
              </a:spcAft>
              <a:defRPr/>
            </a:pPr>
            <a:r>
              <a:rPr lang="en-US" sz="3000" b="1" dirty="0">
                <a:solidFill>
                  <a:schemeClr val="accent2">
                    <a:lumMod val="75000"/>
                  </a:schemeClr>
                </a:solidFill>
              </a:rPr>
              <a:t>Thank You!</a:t>
            </a:r>
          </a:p>
        </p:txBody>
      </p:sp>
      <p:sp>
        <p:nvSpPr>
          <p:cNvPr id="3" name="Text Placeholder 2">
            <a:extLst>
              <a:ext uri="{FF2B5EF4-FFF2-40B4-BE49-F238E27FC236}">
                <a16:creationId xmlns:a16="http://schemas.microsoft.com/office/drawing/2014/main" id="{3DDC4C97-4694-4FA3-A1C6-32E6107E510E}"/>
              </a:ext>
            </a:extLst>
          </p:cNvPr>
          <p:cNvSpPr>
            <a:spLocks noGrp="1"/>
          </p:cNvSpPr>
          <p:nvPr>
            <p:ph type="body" idx="1"/>
          </p:nvPr>
        </p:nvSpPr>
        <p:spPr>
          <a:xfrm>
            <a:off x="822325" y="4452938"/>
            <a:ext cx="7543800" cy="1719262"/>
          </a:xfrm>
        </p:spPr>
        <p:txBody>
          <a:bodyPr rtlCol="0">
            <a:normAutofit fontScale="25000" lnSpcReduction="20000"/>
          </a:bodyPr>
          <a:lstStyle/>
          <a:p>
            <a:pPr eaLnBrk="1" fontAlgn="auto" hangingPunct="1">
              <a:lnSpc>
                <a:spcPct val="170000"/>
              </a:lnSpc>
              <a:defRPr/>
            </a:pPr>
            <a:r>
              <a:rPr lang="en-US" sz="4800" cap="none" dirty="0">
                <a:solidFill>
                  <a:schemeClr val="tx1"/>
                </a:solidFill>
                <a:latin typeface="Calibri" panose="020F0502020204030204" pitchFamily="34" charset="0"/>
                <a:cs typeface="Calibri" panose="020F0502020204030204" pitchFamily="34" charset="0"/>
              </a:rPr>
              <a:t>This presentation was made possible with support from the United States Agency for International Development funded RISE program, under the terms of the cooperative agreement 7200AA19CA00003. The contents are the responsibility of the RISE program and do not necessarily reflect the views of USAID or the United States Government.​</a:t>
            </a:r>
          </a:p>
          <a:p>
            <a:pPr eaLnBrk="1" fontAlgn="auto" hangingPunct="1">
              <a:defRPr/>
            </a:pPr>
            <a:endParaRPr lang="en-US" dirty="0"/>
          </a:p>
        </p:txBody>
      </p:sp>
    </p:spTree>
    <p:extLst>
      <p:ext uri="{BB962C8B-B14F-4D97-AF65-F5344CB8AC3E}">
        <p14:creationId xmlns:p14="http://schemas.microsoft.com/office/powerpoint/2010/main" val="1548722801"/>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76D92-6BF8-4FA8-8021-DB872EA7C895}"/>
              </a:ext>
            </a:extLst>
          </p:cNvPr>
          <p:cNvSpPr>
            <a:spLocks noGrp="1"/>
          </p:cNvSpPr>
          <p:nvPr>
            <p:ph type="title"/>
          </p:nvPr>
        </p:nvSpPr>
        <p:spPr>
          <a:xfrm>
            <a:off x="800100" y="2485231"/>
            <a:ext cx="7543800" cy="1887538"/>
          </a:xfrm>
        </p:spPr>
        <p:txBody>
          <a:bodyPr>
            <a:normAutofit/>
          </a:bodyPr>
          <a:lstStyle/>
          <a:p>
            <a:pPr eaLnBrk="1" hangingPunct="1">
              <a:defRPr/>
            </a:pPr>
            <a:r>
              <a:rPr lang="en-US" sz="3600" b="1" spc="-50" dirty="0">
                <a:solidFill>
                  <a:schemeClr val="accent2">
                    <a:lumMod val="75000"/>
                  </a:schemeClr>
                </a:solidFill>
                <a:latin typeface="+mn-lt"/>
              </a:rPr>
              <a:t>Session VI: Respiratory Care Market and </a:t>
            </a:r>
            <a:br>
              <a:rPr lang="en-US" sz="3600" b="1" spc="-50" dirty="0">
                <a:solidFill>
                  <a:schemeClr val="accent2">
                    <a:lumMod val="75000"/>
                  </a:schemeClr>
                </a:solidFill>
                <a:latin typeface="+mn-lt"/>
              </a:rPr>
            </a:br>
            <a:r>
              <a:rPr lang="en-US" sz="3600" b="1" spc="-50" dirty="0">
                <a:solidFill>
                  <a:schemeClr val="accent2">
                    <a:lumMod val="75000"/>
                  </a:schemeClr>
                </a:solidFill>
                <a:latin typeface="+mn-lt"/>
              </a:rPr>
              <a:t>                     Supplier Landscape</a:t>
            </a:r>
            <a:endParaRPr lang="en-US" sz="3600" spc="-50" dirty="0">
              <a:solidFill>
                <a:schemeClr val="accent2">
                  <a:lumMod val="75000"/>
                </a:schemeClr>
              </a:solidFill>
              <a:latin typeface="+mn-lt"/>
            </a:endParaRPr>
          </a:p>
        </p:txBody>
      </p:sp>
    </p:spTree>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Google Shape;530;p2">
            <a:extLst>
              <a:ext uri="{FF2B5EF4-FFF2-40B4-BE49-F238E27FC236}">
                <a16:creationId xmlns:a16="http://schemas.microsoft.com/office/drawing/2014/main" id="{BB8DDB30-774F-440F-B859-7987A06E20CD}"/>
              </a:ext>
            </a:extLst>
          </p:cNvPr>
          <p:cNvSpPr txBox="1"/>
          <p:nvPr/>
        </p:nvSpPr>
        <p:spPr>
          <a:xfrm>
            <a:off x="869668" y="659123"/>
            <a:ext cx="7512332" cy="1020297"/>
          </a:xfrm>
          <a:prstGeom prst="rect">
            <a:avLst/>
          </a:prstGeom>
          <a:noFill/>
          <a:ln>
            <a:noFill/>
          </a:ln>
        </p:spPr>
        <p:txBody>
          <a:bodyPr spcFirstLastPara="1" wrap="square" lIns="0" tIns="0" rIns="0" bIns="0" anchor="b" anchorCtr="0">
            <a:noAutofit/>
          </a:bodyPr>
          <a:lstStyle/>
          <a:p>
            <a:pPr algn="ctr" eaLnBrk="1" fontAlgn="auto" hangingPunct="1">
              <a:lnSpc>
                <a:spcPct val="85000"/>
              </a:lnSpc>
              <a:spcAft>
                <a:spcPts val="0"/>
              </a:spcAft>
              <a:buClr>
                <a:schemeClr val="accent1"/>
              </a:buClr>
              <a:buSzPts val="3200"/>
              <a:defRPr/>
            </a:pPr>
            <a:r>
              <a:rPr lang="en-US" sz="3600" b="1" spc="-50" dirty="0">
                <a:solidFill>
                  <a:schemeClr val="accent2">
                    <a:lumMod val="75000"/>
                  </a:schemeClr>
                </a:solidFill>
                <a:latin typeface="+mn-lt"/>
                <a:ea typeface="+mj-ea"/>
                <a:cs typeface="+mj-cs"/>
                <a:sym typeface="Arial"/>
              </a:rPr>
              <a:t>Session Overview</a:t>
            </a:r>
          </a:p>
        </p:txBody>
      </p:sp>
      <p:sp>
        <p:nvSpPr>
          <p:cNvPr id="44" name="Google Shape;532;p2">
            <a:extLst>
              <a:ext uri="{FF2B5EF4-FFF2-40B4-BE49-F238E27FC236}">
                <a16:creationId xmlns:a16="http://schemas.microsoft.com/office/drawing/2014/main" id="{C9EB68C5-2D0E-430C-BE8A-132C5C942216}"/>
              </a:ext>
            </a:extLst>
          </p:cNvPr>
          <p:cNvSpPr txBox="1"/>
          <p:nvPr/>
        </p:nvSpPr>
        <p:spPr>
          <a:xfrm>
            <a:off x="4430949" y="2128050"/>
            <a:ext cx="3312675" cy="20160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ea typeface="Arial"/>
                <a:cs typeface="Arial"/>
                <a:sym typeface="Arial"/>
              </a:rPr>
              <a:t>Overview</a:t>
            </a:r>
            <a:endParaRPr dirty="0">
              <a:solidFill>
                <a:schemeClr val="dk2"/>
              </a:solidFill>
              <a:latin typeface="+mn-lt"/>
              <a:ea typeface="Arial"/>
              <a:cs typeface="Arial"/>
              <a:sym typeface="Arial"/>
            </a:endParaRPr>
          </a:p>
        </p:txBody>
      </p:sp>
      <p:sp>
        <p:nvSpPr>
          <p:cNvPr id="45" name="Google Shape;533;p2">
            <a:extLst>
              <a:ext uri="{FF2B5EF4-FFF2-40B4-BE49-F238E27FC236}">
                <a16:creationId xmlns:a16="http://schemas.microsoft.com/office/drawing/2014/main" id="{C29A740A-8E88-4210-BC16-A25D93B5644C}"/>
              </a:ext>
            </a:extLst>
          </p:cNvPr>
          <p:cNvSpPr txBox="1"/>
          <p:nvPr/>
        </p:nvSpPr>
        <p:spPr>
          <a:xfrm>
            <a:off x="1057014" y="3413523"/>
            <a:ext cx="2594063" cy="791131"/>
          </a:xfrm>
          <a:prstGeom prst="rect">
            <a:avLst/>
          </a:prstGeom>
          <a:noFill/>
          <a:ln>
            <a:noFill/>
          </a:ln>
        </p:spPr>
        <p:txBody>
          <a:bodyPr spcFirstLastPara="1" wrap="square" lIns="0" tIns="0" rIns="0" bIns="0" anchor="t" anchorCtr="0">
            <a:noAutofit/>
          </a:bodyPr>
          <a:lstStyle/>
          <a:p>
            <a:pPr algn="just">
              <a:lnSpc>
                <a:spcPct val="110000"/>
              </a:lnSpc>
              <a:spcBef>
                <a:spcPts val="0"/>
              </a:spcBef>
              <a:spcAft>
                <a:spcPts val="0"/>
              </a:spcAft>
              <a:buClr>
                <a:schemeClr val="accent1"/>
              </a:buClr>
              <a:buSzPts val="2000"/>
            </a:pPr>
            <a:r>
              <a:rPr lang="en-US" b="1" spc="-50" dirty="0">
                <a:solidFill>
                  <a:schemeClr val="accent2"/>
                </a:solidFill>
                <a:latin typeface="+mn-lt"/>
                <a:ea typeface="+mj-ea"/>
                <a:cs typeface="+mj-cs"/>
                <a:sym typeface="Arial"/>
              </a:rPr>
              <a:t>KEY TOPICS THAT WILL BE COVERED IN THIS SESSION</a:t>
            </a:r>
            <a:endParaRPr b="1" spc="-50" dirty="0">
              <a:solidFill>
                <a:schemeClr val="accent2"/>
              </a:solidFill>
              <a:latin typeface="+mn-lt"/>
              <a:ea typeface="+mj-ea"/>
              <a:cs typeface="+mj-cs"/>
              <a:sym typeface="Arial"/>
            </a:endParaRPr>
          </a:p>
        </p:txBody>
      </p:sp>
      <p:cxnSp>
        <p:nvCxnSpPr>
          <p:cNvPr id="46" name="Google Shape;534;p2">
            <a:extLst>
              <a:ext uri="{FF2B5EF4-FFF2-40B4-BE49-F238E27FC236}">
                <a16:creationId xmlns:a16="http://schemas.microsoft.com/office/drawing/2014/main" id="{7E2A0BC1-F411-4F11-8339-39D69BC5C9EB}"/>
              </a:ext>
            </a:extLst>
          </p:cNvPr>
          <p:cNvCxnSpPr>
            <a:cxnSpLocks/>
          </p:cNvCxnSpPr>
          <p:nvPr/>
        </p:nvCxnSpPr>
        <p:spPr>
          <a:xfrm>
            <a:off x="3701481" y="2128050"/>
            <a:ext cx="25880" cy="3444083"/>
          </a:xfrm>
          <a:prstGeom prst="straightConnector1">
            <a:avLst/>
          </a:prstGeom>
          <a:ln>
            <a:headEnd type="none" w="sm" len="sm"/>
            <a:tailEnd type="none" w="sm" len="sm"/>
          </a:ln>
        </p:spPr>
        <p:style>
          <a:lnRef idx="1">
            <a:schemeClr val="accent2"/>
          </a:lnRef>
          <a:fillRef idx="0">
            <a:schemeClr val="accent2"/>
          </a:fillRef>
          <a:effectRef idx="0">
            <a:schemeClr val="accent2"/>
          </a:effectRef>
          <a:fontRef idx="minor">
            <a:schemeClr val="tx1"/>
          </a:fontRef>
        </p:style>
      </p:cxnSp>
      <p:sp>
        <p:nvSpPr>
          <p:cNvPr id="47" name="Google Shape;535;p2">
            <a:extLst>
              <a:ext uri="{FF2B5EF4-FFF2-40B4-BE49-F238E27FC236}">
                <a16:creationId xmlns:a16="http://schemas.microsoft.com/office/drawing/2014/main" id="{28C2934A-E2D2-4B48-ABE2-6DD8CD3F7A25}"/>
              </a:ext>
            </a:extLst>
          </p:cNvPr>
          <p:cNvSpPr txBox="1"/>
          <p:nvPr/>
        </p:nvSpPr>
        <p:spPr>
          <a:xfrm>
            <a:off x="3913902" y="2092477"/>
            <a:ext cx="255599" cy="34290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dirty="0">
                <a:solidFill>
                  <a:srgbClr val="2683C6"/>
                </a:solidFill>
                <a:latin typeface="+mn-lt"/>
                <a:ea typeface="Arial Narrow"/>
                <a:cs typeface="Arial Narrow"/>
                <a:sym typeface="Arial Narrow"/>
              </a:rPr>
              <a:t>01</a:t>
            </a:r>
            <a:endParaRPr dirty="0">
              <a:solidFill>
                <a:srgbClr val="2683C6"/>
              </a:solidFill>
              <a:latin typeface="+mn-lt"/>
              <a:ea typeface="Arial Narrow"/>
              <a:cs typeface="Arial Narrow"/>
              <a:sym typeface="Arial Narrow"/>
            </a:endParaRPr>
          </a:p>
        </p:txBody>
      </p:sp>
      <p:sp>
        <p:nvSpPr>
          <p:cNvPr id="48" name="Google Shape;536;p2">
            <a:extLst>
              <a:ext uri="{FF2B5EF4-FFF2-40B4-BE49-F238E27FC236}">
                <a16:creationId xmlns:a16="http://schemas.microsoft.com/office/drawing/2014/main" id="{B2CE20AA-DBB1-4308-A543-0F14B8BC389A}"/>
              </a:ext>
            </a:extLst>
          </p:cNvPr>
          <p:cNvSpPr txBox="1"/>
          <p:nvPr/>
        </p:nvSpPr>
        <p:spPr>
          <a:xfrm>
            <a:off x="3911409" y="3127878"/>
            <a:ext cx="342450" cy="34290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dirty="0">
                <a:solidFill>
                  <a:srgbClr val="2683C6"/>
                </a:solidFill>
                <a:latin typeface="+mn-lt"/>
                <a:ea typeface="Arial Narrow"/>
                <a:cs typeface="Arial Narrow"/>
                <a:sym typeface="Arial Narrow"/>
              </a:rPr>
              <a:t>03</a:t>
            </a:r>
            <a:endParaRPr dirty="0">
              <a:solidFill>
                <a:srgbClr val="2683C6"/>
              </a:solidFill>
              <a:latin typeface="+mn-lt"/>
              <a:ea typeface="Arial Narrow"/>
              <a:cs typeface="Arial Narrow"/>
              <a:sym typeface="Arial Narrow"/>
            </a:endParaRPr>
          </a:p>
        </p:txBody>
      </p:sp>
      <p:sp>
        <p:nvSpPr>
          <p:cNvPr id="49" name="Google Shape;539;p2">
            <a:extLst>
              <a:ext uri="{FF2B5EF4-FFF2-40B4-BE49-F238E27FC236}">
                <a16:creationId xmlns:a16="http://schemas.microsoft.com/office/drawing/2014/main" id="{1ED96602-B67D-4DDE-A6CD-25F8B89E1BFA}"/>
              </a:ext>
            </a:extLst>
          </p:cNvPr>
          <p:cNvSpPr txBox="1"/>
          <p:nvPr/>
        </p:nvSpPr>
        <p:spPr>
          <a:xfrm>
            <a:off x="4430949" y="2649258"/>
            <a:ext cx="3312675" cy="20160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rPr>
              <a:t>Concentrator supplier landscape</a:t>
            </a:r>
            <a:endParaRPr dirty="0">
              <a:solidFill>
                <a:schemeClr val="dk2"/>
              </a:solidFill>
              <a:latin typeface="+mn-lt"/>
              <a:sym typeface="Arial"/>
            </a:endParaRPr>
          </a:p>
        </p:txBody>
      </p:sp>
      <p:sp>
        <p:nvSpPr>
          <p:cNvPr id="50" name="Google Shape;540;p2">
            <a:extLst>
              <a:ext uri="{FF2B5EF4-FFF2-40B4-BE49-F238E27FC236}">
                <a16:creationId xmlns:a16="http://schemas.microsoft.com/office/drawing/2014/main" id="{9D2B1821-A2C7-4DCC-8286-CB3EC27619AF}"/>
              </a:ext>
            </a:extLst>
          </p:cNvPr>
          <p:cNvSpPr txBox="1"/>
          <p:nvPr/>
        </p:nvSpPr>
        <p:spPr>
          <a:xfrm>
            <a:off x="4430949" y="3169396"/>
            <a:ext cx="3575700" cy="20160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rPr>
              <a:t>Cylinder supplier landscape</a:t>
            </a:r>
            <a:endParaRPr dirty="0">
              <a:solidFill>
                <a:srgbClr val="000000"/>
              </a:solidFill>
              <a:latin typeface="+mn-lt"/>
              <a:ea typeface="Arial"/>
              <a:cs typeface="Arial"/>
              <a:sym typeface="Arial"/>
            </a:endParaRPr>
          </a:p>
        </p:txBody>
      </p:sp>
      <p:sp>
        <p:nvSpPr>
          <p:cNvPr id="51" name="Google Shape;541;p2">
            <a:extLst>
              <a:ext uri="{FF2B5EF4-FFF2-40B4-BE49-F238E27FC236}">
                <a16:creationId xmlns:a16="http://schemas.microsoft.com/office/drawing/2014/main" id="{FECFAFE9-2899-48BA-9D6F-F6C4728E825C}"/>
              </a:ext>
            </a:extLst>
          </p:cNvPr>
          <p:cNvSpPr txBox="1"/>
          <p:nvPr/>
        </p:nvSpPr>
        <p:spPr>
          <a:xfrm>
            <a:off x="4430959" y="3691674"/>
            <a:ext cx="3656025" cy="20160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ea typeface="Arial"/>
                <a:cs typeface="Arial"/>
                <a:sym typeface="Arial"/>
              </a:rPr>
              <a:t>Delivery interface supplier landscape </a:t>
            </a:r>
            <a:endParaRPr dirty="0">
              <a:solidFill>
                <a:srgbClr val="000000"/>
              </a:solidFill>
              <a:latin typeface="+mn-lt"/>
              <a:ea typeface="Arial"/>
              <a:cs typeface="Arial"/>
              <a:sym typeface="Arial"/>
            </a:endParaRPr>
          </a:p>
        </p:txBody>
      </p:sp>
      <p:sp>
        <p:nvSpPr>
          <p:cNvPr id="52" name="Google Shape;543;p2">
            <a:extLst>
              <a:ext uri="{FF2B5EF4-FFF2-40B4-BE49-F238E27FC236}">
                <a16:creationId xmlns:a16="http://schemas.microsoft.com/office/drawing/2014/main" id="{1C08B0BD-7033-4EE9-A90D-A7D654C1CC90}"/>
              </a:ext>
            </a:extLst>
          </p:cNvPr>
          <p:cNvSpPr txBox="1"/>
          <p:nvPr/>
        </p:nvSpPr>
        <p:spPr>
          <a:xfrm>
            <a:off x="3911409" y="4663440"/>
            <a:ext cx="342450" cy="34290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dirty="0">
                <a:solidFill>
                  <a:srgbClr val="2683C6"/>
                </a:solidFill>
                <a:latin typeface="+mn-lt"/>
                <a:ea typeface="Arial Narrow"/>
                <a:cs typeface="Arial Narrow"/>
                <a:sym typeface="Arial Narrow"/>
              </a:rPr>
              <a:t>06</a:t>
            </a:r>
            <a:endParaRPr dirty="0">
              <a:solidFill>
                <a:srgbClr val="2683C6"/>
              </a:solidFill>
              <a:latin typeface="+mn-lt"/>
              <a:ea typeface="Arial Narrow"/>
              <a:cs typeface="Arial Narrow"/>
              <a:sym typeface="Arial Narrow"/>
            </a:endParaRPr>
          </a:p>
        </p:txBody>
      </p:sp>
      <p:sp>
        <p:nvSpPr>
          <p:cNvPr id="53" name="Google Shape;546;p2">
            <a:extLst>
              <a:ext uri="{FF2B5EF4-FFF2-40B4-BE49-F238E27FC236}">
                <a16:creationId xmlns:a16="http://schemas.microsoft.com/office/drawing/2014/main" id="{A23328B7-71E2-4BD7-A669-DE5E1E91D522}"/>
              </a:ext>
            </a:extLst>
          </p:cNvPr>
          <p:cNvSpPr txBox="1"/>
          <p:nvPr/>
        </p:nvSpPr>
        <p:spPr>
          <a:xfrm>
            <a:off x="4430959" y="4204654"/>
            <a:ext cx="3656025" cy="20160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rPr>
              <a:t>Handheld pulse oximeter supplier landscape</a:t>
            </a:r>
            <a:endParaRPr dirty="0">
              <a:solidFill>
                <a:srgbClr val="000000"/>
              </a:solidFill>
              <a:latin typeface="+mn-lt"/>
              <a:ea typeface="Arial"/>
              <a:cs typeface="Arial"/>
              <a:sym typeface="Arial"/>
            </a:endParaRPr>
          </a:p>
        </p:txBody>
      </p:sp>
      <p:sp>
        <p:nvSpPr>
          <p:cNvPr id="54" name="Google Shape;535;p2">
            <a:extLst>
              <a:ext uri="{FF2B5EF4-FFF2-40B4-BE49-F238E27FC236}">
                <a16:creationId xmlns:a16="http://schemas.microsoft.com/office/drawing/2014/main" id="{22911BF9-CBEC-4FCE-842D-5B8464BD0EE7}"/>
              </a:ext>
            </a:extLst>
          </p:cNvPr>
          <p:cNvSpPr txBox="1"/>
          <p:nvPr/>
        </p:nvSpPr>
        <p:spPr>
          <a:xfrm>
            <a:off x="3910854" y="2592639"/>
            <a:ext cx="342450" cy="34290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dirty="0">
                <a:solidFill>
                  <a:srgbClr val="2683C6"/>
                </a:solidFill>
                <a:latin typeface="+mn-lt"/>
                <a:ea typeface="Arial Narrow"/>
                <a:cs typeface="Arial Narrow"/>
                <a:sym typeface="Arial Narrow"/>
              </a:rPr>
              <a:t>02</a:t>
            </a:r>
            <a:endParaRPr dirty="0">
              <a:solidFill>
                <a:srgbClr val="2683C6"/>
              </a:solidFill>
              <a:latin typeface="+mn-lt"/>
              <a:ea typeface="Arial Narrow"/>
              <a:cs typeface="Arial Narrow"/>
              <a:sym typeface="Arial Narrow"/>
            </a:endParaRPr>
          </a:p>
        </p:txBody>
      </p:sp>
      <p:sp>
        <p:nvSpPr>
          <p:cNvPr id="55" name="Google Shape;537;p2">
            <a:extLst>
              <a:ext uri="{FF2B5EF4-FFF2-40B4-BE49-F238E27FC236}">
                <a16:creationId xmlns:a16="http://schemas.microsoft.com/office/drawing/2014/main" id="{9641CEE0-F614-4DDC-BDE5-AD7D40730D14}"/>
              </a:ext>
            </a:extLst>
          </p:cNvPr>
          <p:cNvSpPr txBox="1"/>
          <p:nvPr/>
        </p:nvSpPr>
        <p:spPr>
          <a:xfrm>
            <a:off x="3905017" y="3617397"/>
            <a:ext cx="339047" cy="354458"/>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dirty="0">
                <a:solidFill>
                  <a:srgbClr val="2683C6"/>
                </a:solidFill>
                <a:latin typeface="+mn-lt"/>
                <a:ea typeface="Arial Narrow"/>
                <a:cs typeface="Arial Narrow"/>
                <a:sym typeface="Arial Narrow"/>
              </a:rPr>
              <a:t>04</a:t>
            </a:r>
            <a:endParaRPr dirty="0">
              <a:solidFill>
                <a:srgbClr val="2683C6"/>
              </a:solidFill>
              <a:latin typeface="+mn-lt"/>
              <a:ea typeface="Arial Narrow"/>
              <a:cs typeface="Arial Narrow"/>
              <a:sym typeface="Arial Narrow"/>
            </a:endParaRPr>
          </a:p>
        </p:txBody>
      </p:sp>
      <p:sp>
        <p:nvSpPr>
          <p:cNvPr id="56" name="Google Shape;538;p2">
            <a:extLst>
              <a:ext uri="{FF2B5EF4-FFF2-40B4-BE49-F238E27FC236}">
                <a16:creationId xmlns:a16="http://schemas.microsoft.com/office/drawing/2014/main" id="{83A87489-9E95-4E5F-ACD8-434B38C4C0D0}"/>
              </a:ext>
            </a:extLst>
          </p:cNvPr>
          <p:cNvSpPr txBox="1"/>
          <p:nvPr/>
        </p:nvSpPr>
        <p:spPr>
          <a:xfrm>
            <a:off x="3910854" y="4128202"/>
            <a:ext cx="342450" cy="34290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dirty="0">
                <a:solidFill>
                  <a:srgbClr val="2683C6"/>
                </a:solidFill>
                <a:latin typeface="+mn-lt"/>
                <a:ea typeface="Arial Narrow"/>
                <a:cs typeface="Arial Narrow"/>
                <a:sym typeface="Arial Narrow"/>
              </a:rPr>
              <a:t>05</a:t>
            </a:r>
            <a:endParaRPr dirty="0">
              <a:solidFill>
                <a:srgbClr val="2683C6"/>
              </a:solidFill>
              <a:latin typeface="+mn-lt"/>
              <a:ea typeface="Arial Narrow"/>
              <a:cs typeface="Arial Narrow"/>
              <a:sym typeface="Arial Narrow"/>
            </a:endParaRPr>
          </a:p>
        </p:txBody>
      </p:sp>
      <p:sp>
        <p:nvSpPr>
          <p:cNvPr id="57" name="Google Shape;546;p2">
            <a:extLst>
              <a:ext uri="{FF2B5EF4-FFF2-40B4-BE49-F238E27FC236}">
                <a16:creationId xmlns:a16="http://schemas.microsoft.com/office/drawing/2014/main" id="{6B4A1952-6438-431D-87DA-7E6A7CC472CC}"/>
              </a:ext>
            </a:extLst>
          </p:cNvPr>
          <p:cNvSpPr txBox="1"/>
          <p:nvPr/>
        </p:nvSpPr>
        <p:spPr>
          <a:xfrm>
            <a:off x="4430959" y="4717634"/>
            <a:ext cx="3656025" cy="20160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rPr>
              <a:t>Patient monitor supplier landscape</a:t>
            </a:r>
            <a:endParaRPr dirty="0">
              <a:solidFill>
                <a:srgbClr val="000000"/>
              </a:solidFill>
              <a:latin typeface="+mn-lt"/>
              <a:ea typeface="Arial"/>
              <a:cs typeface="Arial"/>
              <a:sym typeface="Arial"/>
            </a:endParaRPr>
          </a:p>
        </p:txBody>
      </p:sp>
      <p:sp>
        <p:nvSpPr>
          <p:cNvPr id="58" name="Google Shape;536;p2">
            <a:extLst>
              <a:ext uri="{FF2B5EF4-FFF2-40B4-BE49-F238E27FC236}">
                <a16:creationId xmlns:a16="http://schemas.microsoft.com/office/drawing/2014/main" id="{13B72E99-088D-4341-9A25-08A55FD93ADB}"/>
              </a:ext>
            </a:extLst>
          </p:cNvPr>
          <p:cNvSpPr txBox="1"/>
          <p:nvPr/>
        </p:nvSpPr>
        <p:spPr>
          <a:xfrm>
            <a:off x="3911408" y="3127878"/>
            <a:ext cx="342450" cy="34290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dirty="0">
                <a:solidFill>
                  <a:srgbClr val="2683C6"/>
                </a:solidFill>
                <a:latin typeface="+mn-lt"/>
                <a:ea typeface="Arial Narrow"/>
                <a:cs typeface="Arial Narrow"/>
                <a:sym typeface="Arial Narrow"/>
              </a:rPr>
              <a:t>03</a:t>
            </a:r>
            <a:endParaRPr dirty="0">
              <a:solidFill>
                <a:srgbClr val="2683C6"/>
              </a:solidFill>
              <a:latin typeface="+mn-lt"/>
              <a:ea typeface="Arial Narrow"/>
              <a:cs typeface="Arial Narrow"/>
              <a:sym typeface="Arial Narrow"/>
            </a:endParaRPr>
          </a:p>
        </p:txBody>
      </p:sp>
      <p:sp>
        <p:nvSpPr>
          <p:cNvPr id="59" name="Google Shape;535;p2">
            <a:extLst>
              <a:ext uri="{FF2B5EF4-FFF2-40B4-BE49-F238E27FC236}">
                <a16:creationId xmlns:a16="http://schemas.microsoft.com/office/drawing/2014/main" id="{6942144D-4C04-4374-A40E-629EA74E770B}"/>
              </a:ext>
            </a:extLst>
          </p:cNvPr>
          <p:cNvSpPr txBox="1"/>
          <p:nvPr/>
        </p:nvSpPr>
        <p:spPr>
          <a:xfrm>
            <a:off x="3910853" y="2592639"/>
            <a:ext cx="342450" cy="34290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dirty="0">
                <a:solidFill>
                  <a:srgbClr val="2683C6"/>
                </a:solidFill>
                <a:latin typeface="+mn-lt"/>
                <a:ea typeface="Arial Narrow"/>
                <a:cs typeface="Arial Narrow"/>
                <a:sym typeface="Arial Narrow"/>
              </a:rPr>
              <a:t>02</a:t>
            </a:r>
            <a:endParaRPr dirty="0">
              <a:solidFill>
                <a:srgbClr val="2683C6"/>
              </a:solidFill>
              <a:latin typeface="+mn-lt"/>
              <a:ea typeface="Arial Narrow"/>
              <a:cs typeface="Arial Narrow"/>
              <a:sym typeface="Arial Narrow"/>
            </a:endParaRPr>
          </a:p>
        </p:txBody>
      </p:sp>
      <p:sp>
        <p:nvSpPr>
          <p:cNvPr id="60" name="Google Shape;537;p2">
            <a:extLst>
              <a:ext uri="{FF2B5EF4-FFF2-40B4-BE49-F238E27FC236}">
                <a16:creationId xmlns:a16="http://schemas.microsoft.com/office/drawing/2014/main" id="{A6114952-8D78-4472-9E7C-5D90B63C1DB7}"/>
              </a:ext>
            </a:extLst>
          </p:cNvPr>
          <p:cNvSpPr txBox="1"/>
          <p:nvPr/>
        </p:nvSpPr>
        <p:spPr>
          <a:xfrm>
            <a:off x="3905016" y="3617397"/>
            <a:ext cx="339047" cy="354458"/>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dirty="0">
                <a:solidFill>
                  <a:srgbClr val="2683C6"/>
                </a:solidFill>
                <a:latin typeface="+mn-lt"/>
                <a:ea typeface="Arial Narrow"/>
                <a:cs typeface="Arial Narrow"/>
                <a:sym typeface="Arial Narrow"/>
              </a:rPr>
              <a:t>04</a:t>
            </a:r>
            <a:endParaRPr dirty="0">
              <a:solidFill>
                <a:srgbClr val="2683C6"/>
              </a:solidFill>
              <a:latin typeface="+mn-lt"/>
              <a:ea typeface="Arial Narrow"/>
              <a:cs typeface="Arial Narrow"/>
              <a:sym typeface="Arial Narrow"/>
            </a:endParaRPr>
          </a:p>
        </p:txBody>
      </p:sp>
      <p:sp>
        <p:nvSpPr>
          <p:cNvPr id="61" name="Google Shape;538;p2">
            <a:extLst>
              <a:ext uri="{FF2B5EF4-FFF2-40B4-BE49-F238E27FC236}">
                <a16:creationId xmlns:a16="http://schemas.microsoft.com/office/drawing/2014/main" id="{B4EB8C22-8D79-481E-8540-3339353E1368}"/>
              </a:ext>
            </a:extLst>
          </p:cNvPr>
          <p:cNvSpPr txBox="1"/>
          <p:nvPr/>
        </p:nvSpPr>
        <p:spPr>
          <a:xfrm>
            <a:off x="3910853" y="4128202"/>
            <a:ext cx="342450" cy="34290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dirty="0">
                <a:solidFill>
                  <a:srgbClr val="2683C6"/>
                </a:solidFill>
                <a:latin typeface="+mn-lt"/>
                <a:ea typeface="Arial Narrow"/>
                <a:cs typeface="Arial Narrow"/>
                <a:sym typeface="Arial Narrow"/>
              </a:rPr>
              <a:t>05</a:t>
            </a:r>
            <a:endParaRPr dirty="0">
              <a:solidFill>
                <a:srgbClr val="2683C6"/>
              </a:solidFill>
              <a:latin typeface="+mn-lt"/>
              <a:ea typeface="Arial Narrow"/>
              <a:cs typeface="Arial Narrow"/>
              <a:sym typeface="Arial Narrow"/>
            </a:endParaRPr>
          </a:p>
        </p:txBody>
      </p:sp>
      <p:sp>
        <p:nvSpPr>
          <p:cNvPr id="62" name="Google Shape;543;p2">
            <a:extLst>
              <a:ext uri="{FF2B5EF4-FFF2-40B4-BE49-F238E27FC236}">
                <a16:creationId xmlns:a16="http://schemas.microsoft.com/office/drawing/2014/main" id="{630E15B3-72F9-4EAE-86E5-C5BCB97DBF1D}"/>
              </a:ext>
            </a:extLst>
          </p:cNvPr>
          <p:cNvSpPr txBox="1"/>
          <p:nvPr/>
        </p:nvSpPr>
        <p:spPr>
          <a:xfrm>
            <a:off x="3911409" y="5229233"/>
            <a:ext cx="342450" cy="342900"/>
          </a:xfrm>
          <a:prstGeom prst="rect">
            <a:avLst/>
          </a:prstGeom>
          <a:noFill/>
          <a:ln>
            <a:noFill/>
          </a:ln>
        </p:spPr>
        <p:txBody>
          <a:bodyPr spcFirstLastPara="1" wrap="square" lIns="0" tIns="0" rIns="0" bIns="0" anchor="t" anchorCtr="0">
            <a:normAutofit/>
          </a:bodyPr>
          <a:lstStyle/>
          <a:p>
            <a:pPr>
              <a:lnSpc>
                <a:spcPct val="110000"/>
              </a:lnSpc>
              <a:spcBef>
                <a:spcPts val="0"/>
              </a:spcBef>
              <a:spcAft>
                <a:spcPts val="0"/>
              </a:spcAft>
              <a:buClr>
                <a:schemeClr val="accent1"/>
              </a:buClr>
              <a:buSzPts val="2800"/>
            </a:pPr>
            <a:r>
              <a:rPr lang="en-US" dirty="0">
                <a:solidFill>
                  <a:srgbClr val="2683C6"/>
                </a:solidFill>
                <a:latin typeface="+mn-lt"/>
                <a:ea typeface="Arial Narrow"/>
                <a:cs typeface="Arial Narrow"/>
                <a:sym typeface="Arial Narrow"/>
              </a:rPr>
              <a:t>07</a:t>
            </a:r>
            <a:endParaRPr dirty="0">
              <a:solidFill>
                <a:srgbClr val="2683C6"/>
              </a:solidFill>
              <a:latin typeface="+mn-lt"/>
              <a:ea typeface="Arial Narrow"/>
              <a:cs typeface="Arial Narrow"/>
              <a:sym typeface="Arial Narrow"/>
            </a:endParaRPr>
          </a:p>
        </p:txBody>
      </p:sp>
      <p:sp>
        <p:nvSpPr>
          <p:cNvPr id="63" name="Google Shape;546;p2">
            <a:extLst>
              <a:ext uri="{FF2B5EF4-FFF2-40B4-BE49-F238E27FC236}">
                <a16:creationId xmlns:a16="http://schemas.microsoft.com/office/drawing/2014/main" id="{BA77CA10-D7FF-4B3C-AC67-20A9A3404FB8}"/>
              </a:ext>
            </a:extLst>
          </p:cNvPr>
          <p:cNvSpPr txBox="1"/>
          <p:nvPr/>
        </p:nvSpPr>
        <p:spPr>
          <a:xfrm>
            <a:off x="4430959" y="5283426"/>
            <a:ext cx="4179641" cy="431573"/>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rPr>
              <a:t>Vacuum / pressure swing adsorption plant supplier landscape</a:t>
            </a:r>
            <a:endParaRPr dirty="0">
              <a:solidFill>
                <a:srgbClr val="000000"/>
              </a:solidFill>
              <a:latin typeface="+mn-lt"/>
              <a:ea typeface="Arial"/>
              <a:cs typeface="Arial"/>
              <a:sym typeface="Arial"/>
            </a:endParaRPr>
          </a:p>
        </p:txBody>
      </p:sp>
    </p:spTree>
    <p:extLst>
      <p:ext uri="{BB962C8B-B14F-4D97-AF65-F5344CB8AC3E}">
        <p14:creationId xmlns:p14="http://schemas.microsoft.com/office/powerpoint/2010/main" val="3893699868"/>
      </p:ext>
    </p:extLst>
  </p:cSld>
  <p:clrMapOvr>
    <a:masterClrMapping/>
  </p:clrMapOvr>
  <p:transition spd="med">
    <p:fade/>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352800" y="2809875"/>
            <a:ext cx="4343400" cy="1238250"/>
          </a:xfrm>
        </p:spPr>
        <p:txBody>
          <a:bodyPr rtlCol="0" anchor="ctr">
            <a:noAutofit/>
          </a:bodyPr>
          <a:lstStyle/>
          <a:p>
            <a:pPr defTabSz="457189" eaLnBrk="1" hangingPunct="1">
              <a:spcBef>
                <a:spcPts val="0"/>
              </a:spcBef>
              <a:buFont typeface="Arial" panose="020B0604020202020204" pitchFamily="34" charset="0"/>
              <a:buChar char=" "/>
              <a:defRPr/>
            </a:pPr>
            <a:r>
              <a:rPr lang="en-US" sz="3600" b="1" spc="-50" dirty="0">
                <a:solidFill>
                  <a:schemeClr val="accent2">
                    <a:lumMod val="75000"/>
                  </a:schemeClr>
                </a:solidFill>
                <a:ea typeface="+mj-ea"/>
                <a:cs typeface="+mj-cs"/>
              </a:rPr>
              <a:t>Overview</a:t>
            </a:r>
          </a:p>
        </p:txBody>
      </p:sp>
      <p:pic>
        <p:nvPicPr>
          <p:cNvPr id="7" name="Graphic 6" descr="Target Audience outline">
            <a:extLst>
              <a:ext uri="{FF2B5EF4-FFF2-40B4-BE49-F238E27FC236}">
                <a16:creationId xmlns:a16="http://schemas.microsoft.com/office/drawing/2014/main" id="{4BA39140-F154-45BC-BB12-C5CEF6950476}"/>
              </a:ext>
            </a:extLst>
          </p:cNvPr>
          <p:cNvPicPr>
            <a:picLocks noChangeAspect="1"/>
          </p:cNvPicPr>
          <p:nvPr/>
        </p:nvPicPr>
        <p:blipFill>
          <a:blip r:embed="rId3">
            <a:lum bright="70000" contrast="-70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3400" y="2514600"/>
            <a:ext cx="1828800" cy="1828800"/>
          </a:xfrm>
          <a:prstGeom prst="rect">
            <a:avLst/>
          </a:prstGeom>
        </p:spPr>
      </p:pic>
    </p:spTree>
    <p:extLst>
      <p:ext uri="{BB962C8B-B14F-4D97-AF65-F5344CB8AC3E}">
        <p14:creationId xmlns:p14="http://schemas.microsoft.com/office/powerpoint/2010/main" val="1601622889"/>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6666CA-7D6A-4712-B2B3-809DB8A28587}"/>
              </a:ext>
            </a:extLst>
          </p:cNvPr>
          <p:cNvSpPr>
            <a:spLocks noGrp="1"/>
          </p:cNvSpPr>
          <p:nvPr>
            <p:ph type="body" sz="quarter" idx="14"/>
          </p:nvPr>
        </p:nvSpPr>
        <p:spPr>
          <a:xfrm>
            <a:off x="914405" y="990600"/>
            <a:ext cx="3657595" cy="762384"/>
          </a:xfrm>
          <a:ln>
            <a:noFill/>
          </a:ln>
        </p:spPr>
        <p:txBody>
          <a:bodyPr/>
          <a:lstStyle/>
          <a:p>
            <a:r>
              <a:rPr lang="en-US" dirty="0">
                <a:solidFill>
                  <a:schemeClr val="accent2">
                    <a:lumMod val="75000"/>
                  </a:schemeClr>
                </a:solidFill>
              </a:rPr>
              <a:t>Considerations for Product Deployment </a:t>
            </a:r>
          </a:p>
          <a:p>
            <a:endParaRPr lang="en-US" dirty="0">
              <a:solidFill>
                <a:schemeClr val="accent2">
                  <a:lumMod val="75000"/>
                </a:schemeClr>
              </a:solidFill>
            </a:endParaRPr>
          </a:p>
        </p:txBody>
      </p:sp>
      <p:sp>
        <p:nvSpPr>
          <p:cNvPr id="7" name="Text Placeholder 6">
            <a:extLst>
              <a:ext uri="{FF2B5EF4-FFF2-40B4-BE49-F238E27FC236}">
                <a16:creationId xmlns:a16="http://schemas.microsoft.com/office/drawing/2014/main" id="{F2268F0D-FA62-4F5C-B240-BF76CFF07AF1}"/>
              </a:ext>
            </a:extLst>
          </p:cNvPr>
          <p:cNvSpPr>
            <a:spLocks noGrp="1"/>
          </p:cNvSpPr>
          <p:nvPr>
            <p:ph type="body" sz="quarter" idx="15"/>
          </p:nvPr>
        </p:nvSpPr>
        <p:spPr>
          <a:xfrm>
            <a:off x="914404" y="1945710"/>
            <a:ext cx="3517290" cy="3974732"/>
          </a:xfrm>
        </p:spPr>
        <p:txBody>
          <a:bodyPr/>
          <a:lstStyle/>
          <a:p>
            <a:pPr marL="274320" indent="-274320" algn="just">
              <a:lnSpc>
                <a:spcPct val="150000"/>
              </a:lnSpc>
              <a:spcAft>
                <a:spcPts val="1200"/>
              </a:spcAft>
              <a:buClr>
                <a:schemeClr val="accent2"/>
              </a:buClr>
              <a:buFont typeface="Wingdings" panose="05000000000000000000" pitchFamily="2" charset="2"/>
              <a:buChar char="q"/>
            </a:pPr>
            <a:r>
              <a:rPr lang="en-US" sz="1800" dirty="0"/>
              <a:t>For each technology, outline what are the </a:t>
            </a:r>
            <a:r>
              <a:rPr lang="en-US" sz="1800" u="sng" dirty="0">
                <a:solidFill>
                  <a:schemeClr val="accent2">
                    <a:lumMod val="75000"/>
                  </a:schemeClr>
                </a:solidFill>
              </a:rPr>
              <a:t>potential uses </a:t>
            </a:r>
            <a:r>
              <a:rPr lang="en-US" sz="1800" dirty="0"/>
              <a:t>for a product and how the </a:t>
            </a:r>
            <a:r>
              <a:rPr lang="en-US" sz="1800" u="sng" dirty="0">
                <a:solidFill>
                  <a:schemeClr val="accent2">
                    <a:lumMod val="75000"/>
                  </a:schemeClr>
                </a:solidFill>
              </a:rPr>
              <a:t>product fits into the continuum of respiratory care</a:t>
            </a:r>
            <a:r>
              <a:rPr lang="en-US" sz="1800" dirty="0"/>
              <a:t>. </a:t>
            </a:r>
          </a:p>
          <a:p>
            <a:pPr marL="274320" indent="-274320" algn="just">
              <a:lnSpc>
                <a:spcPct val="150000"/>
              </a:lnSpc>
              <a:spcAft>
                <a:spcPts val="1200"/>
              </a:spcAft>
              <a:buClr>
                <a:schemeClr val="accent2"/>
              </a:buClr>
              <a:buFont typeface="Wingdings" panose="05000000000000000000" pitchFamily="2" charset="2"/>
              <a:buChar char="q"/>
            </a:pPr>
            <a:r>
              <a:rPr lang="en-US" sz="1800" dirty="0"/>
              <a:t>Generally, when considering how a product will be deployed, </a:t>
            </a:r>
            <a:r>
              <a:rPr lang="en-US" sz="1800" u="sng" dirty="0">
                <a:solidFill>
                  <a:schemeClr val="accent2">
                    <a:lumMod val="75000"/>
                  </a:schemeClr>
                </a:solidFill>
              </a:rPr>
              <a:t>it is critical to consider the context into which it will be introduced.</a:t>
            </a:r>
          </a:p>
        </p:txBody>
      </p:sp>
      <p:sp>
        <p:nvSpPr>
          <p:cNvPr id="8" name="Text Placeholder 5">
            <a:extLst>
              <a:ext uri="{FF2B5EF4-FFF2-40B4-BE49-F238E27FC236}">
                <a16:creationId xmlns:a16="http://schemas.microsoft.com/office/drawing/2014/main" id="{7119310A-7B46-499A-9424-086F407A3F64}"/>
              </a:ext>
            </a:extLst>
          </p:cNvPr>
          <p:cNvSpPr txBox="1">
            <a:spLocks/>
          </p:cNvSpPr>
          <p:nvPr/>
        </p:nvSpPr>
        <p:spPr bwMode="auto">
          <a:xfrm>
            <a:off x="4571999" y="990600"/>
            <a:ext cx="3829049" cy="76238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None/>
              <a:defRPr sz="2400" kern="1200">
                <a:solidFill>
                  <a:schemeClr val="accent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r>
              <a:rPr kumimoji="0" lang="en-US" sz="2400" i="0" u="none" strike="noStrike" kern="1200" cap="none" spc="0" normalizeH="0" baseline="0" noProof="0" dirty="0">
                <a:ln>
                  <a:noFill/>
                </a:ln>
                <a:solidFill>
                  <a:schemeClr val="accent2">
                    <a:lumMod val="75000"/>
                  </a:schemeClr>
                </a:solidFill>
                <a:effectLst/>
                <a:uLnTx/>
                <a:uFillTx/>
              </a:rPr>
              <a:t>Considerations for Product Selection </a:t>
            </a:r>
          </a:p>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endParaRPr kumimoji="0" lang="en-US" sz="2400" i="0" u="none" strike="noStrike" kern="1200" cap="none" spc="0" normalizeH="0" baseline="0" noProof="0" dirty="0">
              <a:ln>
                <a:noFill/>
              </a:ln>
              <a:solidFill>
                <a:schemeClr val="accent2">
                  <a:lumMod val="75000"/>
                </a:schemeClr>
              </a:solidFill>
              <a:effectLst/>
              <a:uLnTx/>
              <a:uFillTx/>
            </a:endParaRPr>
          </a:p>
        </p:txBody>
      </p:sp>
      <p:sp>
        <p:nvSpPr>
          <p:cNvPr id="9" name="Text Placeholder 6">
            <a:extLst>
              <a:ext uri="{FF2B5EF4-FFF2-40B4-BE49-F238E27FC236}">
                <a16:creationId xmlns:a16="http://schemas.microsoft.com/office/drawing/2014/main" id="{8A01158F-55FB-4811-B206-077F5614E8D7}"/>
              </a:ext>
            </a:extLst>
          </p:cNvPr>
          <p:cNvSpPr txBox="1">
            <a:spLocks/>
          </p:cNvSpPr>
          <p:nvPr/>
        </p:nvSpPr>
        <p:spPr bwMode="auto">
          <a:xfrm>
            <a:off x="4800600" y="2057400"/>
            <a:ext cx="3600445" cy="397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0"/>
              </a:spcBef>
              <a:spcAft>
                <a:spcPts val="1350"/>
              </a:spcAft>
              <a:buClr>
                <a:schemeClr val="accent1"/>
              </a:buClr>
              <a:buSzPct val="100000"/>
              <a:buFont typeface="Calibri" panose="020F0502020204030204" pitchFamily="34" charset="0"/>
              <a:buNone/>
              <a:defRPr sz="1200" kern="1200">
                <a:solidFill>
                  <a:schemeClr val="tx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274320" marR="0" lvl="0" indent="-274320" algn="just" defTabSz="685800" rtl="0" eaLnBrk="0" fontAlgn="base" latinLnBrk="0" hangingPunct="0">
              <a:lnSpc>
                <a:spcPct val="100000"/>
              </a:lnSpc>
              <a:spcBef>
                <a:spcPts val="0"/>
              </a:spcBef>
              <a:spcAft>
                <a:spcPts val="600"/>
              </a:spcAft>
              <a:buClr>
                <a:schemeClr val="accent2"/>
              </a:buClr>
              <a:buSzPct val="100000"/>
              <a:buFont typeface="Wingdings" panose="05000000000000000000" pitchFamily="2" charset="2"/>
              <a:buChar char="q"/>
              <a:tabLst/>
              <a:defRPr/>
            </a:pPr>
            <a:r>
              <a:rPr kumimoji="0" lang="en-US" sz="1800" b="0" i="0" u="none" strike="noStrike" kern="1200" cap="none" spc="0" normalizeH="0" baseline="0" noProof="0" dirty="0">
                <a:ln>
                  <a:noFill/>
                </a:ln>
                <a:solidFill>
                  <a:prstClr val="black"/>
                </a:solidFill>
                <a:effectLst/>
                <a:uLnTx/>
                <a:uFillTx/>
              </a:rPr>
              <a:t>Selection Criteria:</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rPr>
              <a:t>Quality</a:t>
            </a:r>
            <a:r>
              <a:rPr kumimoji="0" lang="en-US" sz="1800" b="0" i="0" u="none" strike="noStrike" kern="1200" cap="none" spc="0" normalizeH="0" baseline="0" noProof="0" dirty="0">
                <a:ln>
                  <a:noFill/>
                </a:ln>
                <a:solidFill>
                  <a:srgbClr val="404040"/>
                </a:solidFill>
                <a:effectLst/>
                <a:uLnTx/>
                <a:uFillTx/>
              </a:rPr>
              <a:t>: Certifications and Registration;</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rPr>
              <a:t>Ability to service the market</a:t>
            </a:r>
            <a:r>
              <a:rPr kumimoji="0" lang="en-US" sz="1800" b="0" i="0" u="none" strike="noStrike" kern="1200" cap="none" spc="0" normalizeH="0" baseline="0" noProof="0" dirty="0">
                <a:ln>
                  <a:noFill/>
                </a:ln>
                <a:solidFill>
                  <a:srgbClr val="404040"/>
                </a:solidFill>
                <a:effectLst/>
                <a:uLnTx/>
                <a:uFillTx/>
              </a:rPr>
              <a:t>: Production Capability;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rPr>
              <a:t>Functional Requirements</a:t>
            </a:r>
            <a:r>
              <a:rPr kumimoji="0" lang="en-US" sz="1800" b="0" i="0" u="none" strike="noStrike" kern="1200" cap="none" spc="0" normalizeH="0" baseline="0" noProof="0" dirty="0">
                <a:ln>
                  <a:noFill/>
                </a:ln>
                <a:solidFill>
                  <a:srgbClr val="404040"/>
                </a:solidFill>
                <a:effectLst/>
                <a:uLnTx/>
                <a:uFillTx/>
              </a:rPr>
              <a:t>: Critical elements for use;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rPr>
              <a:t>Operational Requirement</a:t>
            </a:r>
            <a:r>
              <a:rPr kumimoji="0" lang="en-US" sz="1800" b="0" i="0" u="none" strike="noStrike" kern="1200" cap="none" spc="0" normalizeH="0" baseline="0" noProof="0" dirty="0">
                <a:ln>
                  <a:noFill/>
                </a:ln>
                <a:solidFill>
                  <a:srgbClr val="404040"/>
                </a:solidFill>
                <a:effectLst/>
                <a:uLnTx/>
                <a:uFillTx/>
              </a:rPr>
              <a:t>s: Capability to use in surrounding environments;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rPr>
              <a:t>Price</a:t>
            </a:r>
            <a:r>
              <a:rPr kumimoji="0" lang="en-US" sz="1800" b="0" i="0" u="none" strike="noStrike" kern="1200" cap="none" spc="0" normalizeH="0" baseline="0" noProof="0" dirty="0">
                <a:ln>
                  <a:noFill/>
                </a:ln>
                <a:solidFill>
                  <a:srgbClr val="404040"/>
                </a:solidFill>
                <a:effectLst/>
                <a:uLnTx/>
                <a:uFillTx/>
              </a:rPr>
              <a:t>: Competitive pricing, prepayment, and potential procurement.</a:t>
            </a:r>
            <a:endParaRPr kumimoji="0" lang="en-US" sz="1800" b="0" i="0" u="sng" strike="noStrike" kern="1200" cap="none" spc="0" normalizeH="0" baseline="0" noProof="0" dirty="0">
              <a:ln>
                <a:noFill/>
              </a:ln>
              <a:solidFill>
                <a:srgbClr val="404040"/>
              </a:solidFill>
              <a:effectLst/>
              <a:uLnTx/>
              <a:uFillTx/>
            </a:endParaRPr>
          </a:p>
        </p:txBody>
      </p:sp>
      <p:cxnSp>
        <p:nvCxnSpPr>
          <p:cNvPr id="11" name="Straight Connector 10">
            <a:extLst>
              <a:ext uri="{FF2B5EF4-FFF2-40B4-BE49-F238E27FC236}">
                <a16:creationId xmlns:a16="http://schemas.microsoft.com/office/drawing/2014/main" id="{53CF1ED1-424A-438B-B2A7-0F54D96C3125}"/>
              </a:ext>
            </a:extLst>
          </p:cNvPr>
          <p:cNvCxnSpPr>
            <a:cxnSpLocks/>
          </p:cNvCxnSpPr>
          <p:nvPr/>
        </p:nvCxnSpPr>
        <p:spPr>
          <a:xfrm>
            <a:off x="4572000" y="2057400"/>
            <a:ext cx="0" cy="3974732"/>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9128923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352800" y="2800350"/>
            <a:ext cx="4868863" cy="1257300"/>
          </a:xfrm>
        </p:spPr>
        <p:txBody>
          <a:bodyPr rtlCol="0">
            <a:noAutofit/>
          </a:bodyPr>
          <a:lstStyle/>
          <a:p>
            <a:pPr marL="0" indent="0"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rPr>
              <a:t>Concentrator Supplier Landscape</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b="1" dirty="0">
              <a:solidFill>
                <a:schemeClr val="accent2">
                  <a:lumMod val="75000"/>
                </a:schemeClr>
              </a:solidFill>
            </a:endParaRPr>
          </a:p>
        </p:txBody>
      </p:sp>
      <p:pic>
        <p:nvPicPr>
          <p:cNvPr id="4" name="Picture 3">
            <a:extLst>
              <a:ext uri="{FF2B5EF4-FFF2-40B4-BE49-F238E27FC236}">
                <a16:creationId xmlns:a16="http://schemas.microsoft.com/office/drawing/2014/main" id="{77DE8285-2AA8-46AB-A235-7C1B20E15C13}"/>
              </a:ext>
            </a:extLst>
          </p:cNvPr>
          <p:cNvPicPr>
            <a:picLocks noChangeAspect="1"/>
          </p:cNvPicPr>
          <p:nvPr/>
        </p:nvPicPr>
        <p:blipFill>
          <a:blip r:embed="rId3">
            <a:clrChange>
              <a:clrFrom>
                <a:srgbClr val="D6EDFB"/>
              </a:clrFrom>
              <a:clrTo>
                <a:srgbClr val="D6EDFB">
                  <a:alpha val="0"/>
                </a:srgbClr>
              </a:clrTo>
            </a:clrChange>
          </a:blip>
          <a:stretch>
            <a:fillRect/>
          </a:stretch>
        </p:blipFill>
        <p:spPr>
          <a:xfrm>
            <a:off x="304800" y="1458238"/>
            <a:ext cx="2494344" cy="3347049"/>
          </a:xfrm>
          <a:prstGeom prst="rect">
            <a:avLst/>
          </a:prstGeom>
        </p:spPr>
      </p:pic>
      <p:sp>
        <p:nvSpPr>
          <p:cNvPr id="5" name="Text Placeholder 1">
            <a:extLst>
              <a:ext uri="{FF2B5EF4-FFF2-40B4-BE49-F238E27FC236}">
                <a16:creationId xmlns:a16="http://schemas.microsoft.com/office/drawing/2014/main" id="{5A090BCD-D1A7-4D45-846F-1F691900668A}"/>
              </a:ext>
            </a:extLst>
          </p:cNvPr>
          <p:cNvSpPr txBox="1">
            <a:spLocks/>
          </p:cNvSpPr>
          <p:nvPr/>
        </p:nvSpPr>
        <p:spPr>
          <a:xfrm>
            <a:off x="66072" y="4805287"/>
            <a:ext cx="2971800" cy="1219200"/>
          </a:xfrm>
          <a:prstGeom prst="rect">
            <a:avLst/>
          </a:prstGeom>
        </p:spPr>
        <p:txBody>
          <a:bodyPr anchor="b"/>
          <a:lstStyle>
            <a:lvl1pPr marL="68263" indent="-68263"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Char char=" "/>
              <a:defRPr sz="1500" kern="1200">
                <a:solidFill>
                  <a:srgbClr val="404040"/>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algn="ctr">
              <a:lnSpc>
                <a:spcPct val="100000"/>
              </a:lnSpc>
              <a:spcBef>
                <a:spcPts val="0"/>
              </a:spcBef>
              <a:spcAft>
                <a:spcPts val="600"/>
              </a:spcAft>
            </a:pPr>
            <a:r>
              <a:rPr lang="en-US" sz="3200" b="1" spc="-50" dirty="0">
                <a:solidFill>
                  <a:schemeClr val="bg1"/>
                </a:solidFill>
                <a:ea typeface="+mj-ea"/>
                <a:cs typeface="+mj-cs"/>
              </a:rPr>
              <a:t>Oxygen Concentrator</a:t>
            </a:r>
          </a:p>
        </p:txBody>
      </p:sp>
    </p:spTree>
    <p:extLst>
      <p:ext uri="{BB962C8B-B14F-4D97-AF65-F5344CB8AC3E}">
        <p14:creationId xmlns:p14="http://schemas.microsoft.com/office/powerpoint/2010/main" val="2695570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75"/>
        <p:cNvGrpSpPr/>
        <p:nvPr/>
      </p:nvGrpSpPr>
      <p:grpSpPr>
        <a:xfrm>
          <a:off x="0" y="0"/>
          <a:ext cx="0" cy="0"/>
          <a:chOff x="0" y="0"/>
          <a:chExt cx="0" cy="0"/>
        </a:xfrm>
      </p:grpSpPr>
      <p:sp>
        <p:nvSpPr>
          <p:cNvPr id="11" name="Title 10">
            <a:extLst>
              <a:ext uri="{FF2B5EF4-FFF2-40B4-BE49-F238E27FC236}">
                <a16:creationId xmlns:a16="http://schemas.microsoft.com/office/drawing/2014/main" id="{50024ACC-B71C-423F-B888-808CF6845106}"/>
              </a:ext>
            </a:extLst>
          </p:cNvPr>
          <p:cNvSpPr>
            <a:spLocks noGrp="1"/>
          </p:cNvSpPr>
          <p:nvPr>
            <p:ph type="title"/>
          </p:nvPr>
        </p:nvSpPr>
        <p:spPr>
          <a:xfrm>
            <a:off x="267638" y="609600"/>
            <a:ext cx="2400300" cy="1234441"/>
          </a:xfrm>
        </p:spPr>
        <p:txBody>
          <a:bodyPr anchor="t">
            <a:normAutofit/>
          </a:bodyPr>
          <a:lstStyle/>
          <a:p>
            <a:pPr algn="ctr"/>
            <a:r>
              <a:rPr lang="en-US" sz="3600" b="1" dirty="0">
                <a:solidFill>
                  <a:schemeClr val="bg1"/>
                </a:solidFill>
                <a:latin typeface="+mn-lt"/>
              </a:rPr>
              <a:t>Monitoring</a:t>
            </a:r>
            <a:endParaRPr lang="en-US" sz="3600" dirty="0">
              <a:solidFill>
                <a:schemeClr val="bg1"/>
              </a:solidFill>
              <a:latin typeface="+mn-lt"/>
            </a:endParaRPr>
          </a:p>
        </p:txBody>
      </p:sp>
      <p:sp>
        <p:nvSpPr>
          <p:cNvPr id="13" name="Text Placeholder 12">
            <a:extLst>
              <a:ext uri="{FF2B5EF4-FFF2-40B4-BE49-F238E27FC236}">
                <a16:creationId xmlns:a16="http://schemas.microsoft.com/office/drawing/2014/main" id="{90B975CC-D818-46C9-9438-2CF2C19298F7}"/>
              </a:ext>
            </a:extLst>
          </p:cNvPr>
          <p:cNvSpPr>
            <a:spLocks noGrp="1"/>
          </p:cNvSpPr>
          <p:nvPr>
            <p:ph type="body" sz="half" idx="2"/>
          </p:nvPr>
        </p:nvSpPr>
        <p:spPr>
          <a:xfrm>
            <a:off x="244355" y="1828800"/>
            <a:ext cx="2667000" cy="4419600"/>
          </a:xfrm>
        </p:spPr>
        <p:txBody>
          <a:bodyPr/>
          <a:lstStyle/>
          <a:p>
            <a:pPr marL="285750" indent="-285750">
              <a:buClr>
                <a:schemeClr val="bg1"/>
              </a:buClr>
              <a:buFont typeface="Arial" panose="020B0604020202020204" pitchFamily="34" charset="0"/>
              <a:buChar char="•"/>
            </a:pPr>
            <a:r>
              <a:rPr lang="en-US" altLang="ar-SA" sz="2000" b="1" dirty="0">
                <a:solidFill>
                  <a:schemeClr val="bg1"/>
                </a:solidFill>
                <a:cs typeface="Arial" panose="020B0604020202020204" pitchFamily="34" charset="0"/>
              </a:rPr>
              <a:t>Physical examination for C/F of hypoxemia</a:t>
            </a:r>
          </a:p>
          <a:p>
            <a:pPr marL="285750" indent="-285750">
              <a:buClr>
                <a:schemeClr val="bg1"/>
              </a:buClr>
              <a:buFont typeface="Arial" panose="020B0604020202020204" pitchFamily="34" charset="0"/>
              <a:buChar char="•"/>
            </a:pPr>
            <a:r>
              <a:rPr lang="en-US" altLang="ar-SA" sz="2000" b="1" dirty="0">
                <a:solidFill>
                  <a:schemeClr val="bg1"/>
                </a:solidFill>
                <a:cs typeface="Arial" panose="020B0604020202020204" pitchFamily="34" charset="0"/>
              </a:rPr>
              <a:t>Pulse oximetry</a:t>
            </a:r>
          </a:p>
          <a:p>
            <a:pPr marL="285750" indent="-285750">
              <a:buClr>
                <a:schemeClr val="bg1"/>
              </a:buClr>
              <a:buFont typeface="Arial" panose="020B0604020202020204" pitchFamily="34" charset="0"/>
              <a:buChar char="•"/>
            </a:pPr>
            <a:r>
              <a:rPr lang="en-US" altLang="ar-SA" sz="2000" b="1" dirty="0">
                <a:solidFill>
                  <a:schemeClr val="bg1"/>
                </a:solidFill>
                <a:cs typeface="Arial" panose="020B0604020202020204" pitchFamily="34" charset="0"/>
              </a:rPr>
              <a:t>ABG (arterial blood gases) analysis</a:t>
            </a:r>
          </a:p>
          <a:p>
            <a:pPr marL="617220" lvl="1" indent="-274320">
              <a:buClr>
                <a:schemeClr val="bg1"/>
              </a:buClr>
              <a:buFont typeface="Courier New" panose="02070309020205020404" pitchFamily="49" charset="0"/>
              <a:buChar char="o"/>
            </a:pPr>
            <a:r>
              <a:rPr lang="en-US" altLang="ar-SA" sz="2000" b="1" dirty="0">
                <a:solidFill>
                  <a:schemeClr val="bg1"/>
                </a:solidFill>
                <a:cs typeface="Arial" panose="020B0604020202020204" pitchFamily="34" charset="0"/>
              </a:rPr>
              <a:t>	pH</a:t>
            </a:r>
          </a:p>
          <a:p>
            <a:pPr marL="617220" lvl="1" indent="-274320">
              <a:buClr>
                <a:schemeClr val="bg1"/>
              </a:buClr>
              <a:buFont typeface="Courier New" panose="02070309020205020404" pitchFamily="49" charset="0"/>
              <a:buChar char="o"/>
            </a:pPr>
            <a:r>
              <a:rPr lang="en-US" altLang="ar-SA" sz="2000" b="1" dirty="0">
                <a:solidFill>
                  <a:schemeClr val="bg1"/>
                </a:solidFill>
                <a:cs typeface="Arial" panose="020B0604020202020204" pitchFamily="34" charset="0"/>
              </a:rPr>
              <a:t>	pO2</a:t>
            </a:r>
          </a:p>
          <a:p>
            <a:pPr marL="617220" lvl="1" indent="-274320">
              <a:buClr>
                <a:schemeClr val="bg1"/>
              </a:buClr>
              <a:buFont typeface="Courier New" panose="02070309020205020404" pitchFamily="49" charset="0"/>
              <a:buChar char="o"/>
            </a:pPr>
            <a:r>
              <a:rPr lang="en-US" altLang="ar-SA" sz="2000" b="1" dirty="0">
                <a:solidFill>
                  <a:schemeClr val="bg1"/>
                </a:solidFill>
                <a:cs typeface="Arial" panose="020B0604020202020204" pitchFamily="34" charset="0"/>
              </a:rPr>
              <a:t>	pCO2</a:t>
            </a:r>
          </a:p>
          <a:p>
            <a:pPr marL="285750" indent="-285750">
              <a:buClr>
                <a:schemeClr val="bg1"/>
              </a:buClr>
              <a:buFont typeface="Arial" panose="020B0604020202020204" pitchFamily="34" charset="0"/>
              <a:buChar char="•"/>
            </a:pPr>
            <a:r>
              <a:rPr lang="en-US" altLang="ar-SA" sz="2000" b="1" dirty="0">
                <a:solidFill>
                  <a:schemeClr val="bg1"/>
                </a:solidFill>
                <a:cs typeface="Arial" panose="020B0604020202020204" pitchFamily="34" charset="0"/>
              </a:rPr>
              <a:t>Mixed venous blood oxygenation</a:t>
            </a:r>
            <a:endParaRPr lang="en-US" sz="2000" dirty="0">
              <a:solidFill>
                <a:schemeClr val="bg1"/>
              </a:solidFill>
            </a:endParaRPr>
          </a:p>
        </p:txBody>
      </p:sp>
      <p:pic>
        <p:nvPicPr>
          <p:cNvPr id="6" name="Picture 5">
            <a:extLst>
              <a:ext uri="{FF2B5EF4-FFF2-40B4-BE49-F238E27FC236}">
                <a16:creationId xmlns:a16="http://schemas.microsoft.com/office/drawing/2014/main" id="{4B7E3147-D497-4A41-9903-1B1FBAAB5F4F}"/>
              </a:ext>
            </a:extLst>
          </p:cNvPr>
          <p:cNvPicPr>
            <a:picLocks noChangeAspect="1"/>
          </p:cNvPicPr>
          <p:nvPr/>
        </p:nvPicPr>
        <p:blipFill>
          <a:blip r:embed="rId3"/>
          <a:stretch>
            <a:fillRect/>
          </a:stretch>
        </p:blipFill>
        <p:spPr>
          <a:xfrm>
            <a:off x="3154771" y="1447800"/>
            <a:ext cx="5952443" cy="3962400"/>
          </a:xfrm>
          <a:prstGeom prst="rect">
            <a:avLst/>
          </a:prstGeom>
        </p:spPr>
      </p:pic>
    </p:spTree>
    <p:extLst>
      <p:ext uri="{BB962C8B-B14F-4D97-AF65-F5344CB8AC3E}">
        <p14:creationId xmlns:p14="http://schemas.microsoft.com/office/powerpoint/2010/main" val="210563592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6666CA-7D6A-4712-B2B3-809DB8A28587}"/>
              </a:ext>
            </a:extLst>
          </p:cNvPr>
          <p:cNvSpPr>
            <a:spLocks noGrp="1"/>
          </p:cNvSpPr>
          <p:nvPr>
            <p:ph type="body" sz="quarter" idx="14"/>
          </p:nvPr>
        </p:nvSpPr>
        <p:spPr>
          <a:xfrm>
            <a:off x="857250" y="990600"/>
            <a:ext cx="3714749" cy="762384"/>
          </a:xfrm>
          <a:ln>
            <a:noFill/>
          </a:ln>
        </p:spPr>
        <p:txBody>
          <a:bodyPr/>
          <a:lstStyle/>
          <a:p>
            <a:r>
              <a:rPr lang="en-US" dirty="0">
                <a:solidFill>
                  <a:schemeClr val="accent2"/>
                </a:solidFill>
              </a:rPr>
              <a:t>Considerations for Product Deployment </a:t>
            </a:r>
          </a:p>
          <a:p>
            <a:endParaRPr lang="en-US" dirty="0">
              <a:solidFill>
                <a:schemeClr val="accent2"/>
              </a:solidFill>
            </a:endParaRPr>
          </a:p>
        </p:txBody>
      </p:sp>
      <p:sp>
        <p:nvSpPr>
          <p:cNvPr id="7" name="Text Placeholder 6">
            <a:extLst>
              <a:ext uri="{FF2B5EF4-FFF2-40B4-BE49-F238E27FC236}">
                <a16:creationId xmlns:a16="http://schemas.microsoft.com/office/drawing/2014/main" id="{F2268F0D-FA62-4F5C-B240-BF76CFF07AF1}"/>
              </a:ext>
            </a:extLst>
          </p:cNvPr>
          <p:cNvSpPr>
            <a:spLocks noGrp="1"/>
          </p:cNvSpPr>
          <p:nvPr>
            <p:ph type="body" sz="quarter" idx="15"/>
          </p:nvPr>
        </p:nvSpPr>
        <p:spPr>
          <a:xfrm>
            <a:off x="857250" y="2045068"/>
            <a:ext cx="3549389" cy="3505200"/>
          </a:xfrm>
        </p:spPr>
        <p:txBody>
          <a:bodyPr/>
          <a:lstStyle/>
          <a:p>
            <a:pPr marL="274320" indent="-274320" algn="just">
              <a:lnSpc>
                <a:spcPct val="100000"/>
              </a:lnSpc>
              <a:spcAft>
                <a:spcPts val="1200"/>
              </a:spcAft>
              <a:buFont typeface="Wingdings" panose="05000000000000000000" pitchFamily="2" charset="2"/>
              <a:buChar char="q"/>
            </a:pPr>
            <a:r>
              <a:rPr lang="en-US" sz="1800" dirty="0">
                <a:solidFill>
                  <a:schemeClr val="accent2">
                    <a:lumMod val="75000"/>
                  </a:schemeClr>
                </a:solidFill>
              </a:rPr>
              <a:t>Oxygen concentrators </a:t>
            </a:r>
            <a:r>
              <a:rPr lang="en-US" sz="1800" dirty="0"/>
              <a:t>are electrically powered medical devices designed </a:t>
            </a:r>
            <a:r>
              <a:rPr lang="en-US" sz="1800" u="sng" dirty="0">
                <a:solidFill>
                  <a:schemeClr val="accent1">
                    <a:lumMod val="75000"/>
                  </a:schemeClr>
                </a:solidFill>
              </a:rPr>
              <a:t>to concentrate oxygen using PSA technology from ambient air and deliver oxygen to the bedside</a:t>
            </a:r>
            <a:r>
              <a:rPr lang="en-US" sz="1800" dirty="0"/>
              <a:t>, typically through a nasal cannula. </a:t>
            </a:r>
          </a:p>
          <a:p>
            <a:pPr marL="274320" indent="-274320" algn="just">
              <a:lnSpc>
                <a:spcPct val="100000"/>
              </a:lnSpc>
              <a:spcAft>
                <a:spcPts val="1200"/>
              </a:spcAft>
              <a:buFont typeface="Wingdings" panose="05000000000000000000" pitchFamily="2" charset="2"/>
              <a:buChar char="q"/>
            </a:pPr>
            <a:r>
              <a:rPr lang="en-US" sz="1800" dirty="0"/>
              <a:t>They are intended to </a:t>
            </a:r>
            <a:r>
              <a:rPr lang="en-US" sz="1800" u="sng" dirty="0">
                <a:solidFill>
                  <a:schemeClr val="accent1">
                    <a:lumMod val="75000"/>
                  </a:schemeClr>
                </a:solidFill>
              </a:rPr>
              <a:t>deliver continuous </a:t>
            </a:r>
            <a:r>
              <a:rPr lang="en-US" sz="1800" dirty="0"/>
              <a:t>oxygen, typically between </a:t>
            </a:r>
            <a:r>
              <a:rPr lang="en-US" sz="1800" u="sng" dirty="0">
                <a:solidFill>
                  <a:schemeClr val="accent1">
                    <a:lumMod val="75000"/>
                  </a:schemeClr>
                </a:solidFill>
              </a:rPr>
              <a:t>1 liters per minute (LPM) and 10 LPM at low pressures.</a:t>
            </a:r>
          </a:p>
        </p:txBody>
      </p:sp>
      <p:sp>
        <p:nvSpPr>
          <p:cNvPr id="8" name="Text Placeholder 5">
            <a:extLst>
              <a:ext uri="{FF2B5EF4-FFF2-40B4-BE49-F238E27FC236}">
                <a16:creationId xmlns:a16="http://schemas.microsoft.com/office/drawing/2014/main" id="{7119310A-7B46-499A-9424-086F407A3F64}"/>
              </a:ext>
            </a:extLst>
          </p:cNvPr>
          <p:cNvSpPr txBox="1">
            <a:spLocks/>
          </p:cNvSpPr>
          <p:nvPr/>
        </p:nvSpPr>
        <p:spPr bwMode="auto">
          <a:xfrm>
            <a:off x="4571999" y="990600"/>
            <a:ext cx="3829049" cy="76238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None/>
              <a:defRPr sz="2400" kern="1200">
                <a:solidFill>
                  <a:schemeClr val="accent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r>
              <a:rPr lang="en-US" dirty="0">
                <a:solidFill>
                  <a:schemeClr val="accent2"/>
                </a:solidFill>
              </a:rPr>
              <a:t>Considerations for Product Selection </a:t>
            </a:r>
          </a:p>
          <a:p>
            <a:endParaRPr lang="en-US" dirty="0">
              <a:solidFill>
                <a:schemeClr val="accent2"/>
              </a:solidFill>
            </a:endParaRPr>
          </a:p>
        </p:txBody>
      </p:sp>
      <p:sp>
        <p:nvSpPr>
          <p:cNvPr id="9" name="Text Placeholder 6">
            <a:extLst>
              <a:ext uri="{FF2B5EF4-FFF2-40B4-BE49-F238E27FC236}">
                <a16:creationId xmlns:a16="http://schemas.microsoft.com/office/drawing/2014/main" id="{8A01158F-55FB-4811-B206-077F5614E8D7}"/>
              </a:ext>
            </a:extLst>
          </p:cNvPr>
          <p:cNvSpPr txBox="1">
            <a:spLocks/>
          </p:cNvSpPr>
          <p:nvPr/>
        </p:nvSpPr>
        <p:spPr bwMode="auto">
          <a:xfrm>
            <a:off x="4737359" y="2045068"/>
            <a:ext cx="3663689"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0"/>
              </a:spcBef>
              <a:spcAft>
                <a:spcPts val="1350"/>
              </a:spcAft>
              <a:buClr>
                <a:schemeClr val="accent1"/>
              </a:buClr>
              <a:buSzPct val="100000"/>
              <a:buFont typeface="Calibri" panose="020F0502020204030204" pitchFamily="34" charset="0"/>
              <a:buNone/>
              <a:defRPr sz="1200" kern="1200">
                <a:solidFill>
                  <a:schemeClr val="tx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274320" indent="-274320" algn="just">
              <a:lnSpc>
                <a:spcPct val="100000"/>
              </a:lnSpc>
              <a:spcAft>
                <a:spcPts val="600"/>
              </a:spcAft>
              <a:buClr>
                <a:schemeClr val="accent2"/>
              </a:buClr>
              <a:buFont typeface="Wingdings" panose="05000000000000000000" pitchFamily="2" charset="2"/>
              <a:buChar char="q"/>
            </a:pPr>
            <a:r>
              <a:rPr lang="en-US" sz="1800" dirty="0"/>
              <a:t>Selection Criteria:</a:t>
            </a:r>
          </a:p>
          <a:p>
            <a:pPr marL="573088" lvl="1" indent="-285750" algn="just">
              <a:lnSpc>
                <a:spcPct val="100000"/>
              </a:lnSpc>
              <a:spcBef>
                <a:spcPts val="0"/>
              </a:spcBef>
              <a:spcAft>
                <a:spcPts val="600"/>
              </a:spcAft>
              <a:buClr>
                <a:schemeClr val="accent2"/>
              </a:buClr>
              <a:buFont typeface="Wingdings" panose="05000000000000000000" pitchFamily="2" charset="2"/>
              <a:buChar char="Ø"/>
            </a:pPr>
            <a:r>
              <a:rPr lang="en-US" sz="1800" dirty="0">
                <a:solidFill>
                  <a:schemeClr val="accent1">
                    <a:lumMod val="75000"/>
                  </a:schemeClr>
                </a:solidFill>
              </a:rPr>
              <a:t>Quality</a:t>
            </a:r>
            <a:r>
              <a:rPr lang="en-US" sz="1800" dirty="0"/>
              <a:t>: Certifications and Registration;</a:t>
            </a:r>
          </a:p>
          <a:p>
            <a:pPr marL="573088" lvl="1" indent="-285750" algn="just">
              <a:lnSpc>
                <a:spcPct val="100000"/>
              </a:lnSpc>
              <a:spcBef>
                <a:spcPts val="0"/>
              </a:spcBef>
              <a:spcAft>
                <a:spcPts val="600"/>
              </a:spcAft>
              <a:buClr>
                <a:schemeClr val="accent2"/>
              </a:buClr>
              <a:buFont typeface="Wingdings" panose="05000000000000000000" pitchFamily="2" charset="2"/>
              <a:buChar char="Ø"/>
            </a:pPr>
            <a:r>
              <a:rPr lang="en-US" sz="1800" dirty="0">
                <a:solidFill>
                  <a:schemeClr val="accent1">
                    <a:lumMod val="75000"/>
                  </a:schemeClr>
                </a:solidFill>
              </a:rPr>
              <a:t>Ability to service the market</a:t>
            </a:r>
            <a:r>
              <a:rPr lang="en-US" sz="1800" dirty="0"/>
              <a:t>: Production Capability; </a:t>
            </a:r>
          </a:p>
          <a:p>
            <a:pPr marL="573088" lvl="1" indent="-285750" algn="just">
              <a:lnSpc>
                <a:spcPct val="100000"/>
              </a:lnSpc>
              <a:spcBef>
                <a:spcPts val="0"/>
              </a:spcBef>
              <a:spcAft>
                <a:spcPts val="600"/>
              </a:spcAft>
              <a:buClr>
                <a:schemeClr val="accent2"/>
              </a:buClr>
              <a:buFont typeface="Wingdings" panose="05000000000000000000" pitchFamily="2" charset="2"/>
              <a:buChar char="Ø"/>
            </a:pPr>
            <a:r>
              <a:rPr lang="en-US" sz="1800" dirty="0">
                <a:solidFill>
                  <a:schemeClr val="accent1">
                    <a:lumMod val="75000"/>
                  </a:schemeClr>
                </a:solidFill>
              </a:rPr>
              <a:t>Functional Requirements</a:t>
            </a:r>
            <a:r>
              <a:rPr lang="en-US" sz="1800" dirty="0"/>
              <a:t>: Critical elements for use; </a:t>
            </a:r>
          </a:p>
          <a:p>
            <a:pPr marL="573088" lvl="1" indent="-285750" algn="just">
              <a:lnSpc>
                <a:spcPct val="100000"/>
              </a:lnSpc>
              <a:spcBef>
                <a:spcPts val="0"/>
              </a:spcBef>
              <a:spcAft>
                <a:spcPts val="600"/>
              </a:spcAft>
              <a:buClr>
                <a:schemeClr val="accent2"/>
              </a:buClr>
              <a:buFont typeface="Wingdings" panose="05000000000000000000" pitchFamily="2" charset="2"/>
              <a:buChar char="Ø"/>
            </a:pPr>
            <a:r>
              <a:rPr lang="en-US" sz="1800" dirty="0">
                <a:solidFill>
                  <a:schemeClr val="accent1">
                    <a:lumMod val="75000"/>
                  </a:schemeClr>
                </a:solidFill>
              </a:rPr>
              <a:t>Operational Requirement</a:t>
            </a:r>
            <a:r>
              <a:rPr lang="en-US" sz="1800" dirty="0"/>
              <a:t>s: Capability to use in surrounding environments; </a:t>
            </a:r>
          </a:p>
          <a:p>
            <a:pPr marL="573088" lvl="1" indent="-285750" algn="just">
              <a:lnSpc>
                <a:spcPct val="100000"/>
              </a:lnSpc>
              <a:spcBef>
                <a:spcPts val="0"/>
              </a:spcBef>
              <a:spcAft>
                <a:spcPts val="600"/>
              </a:spcAft>
              <a:buClr>
                <a:schemeClr val="accent2"/>
              </a:buClr>
              <a:buFont typeface="Wingdings" panose="05000000000000000000" pitchFamily="2" charset="2"/>
              <a:buChar char="Ø"/>
            </a:pPr>
            <a:r>
              <a:rPr lang="en-US" sz="1800" dirty="0">
                <a:solidFill>
                  <a:schemeClr val="accent1">
                    <a:lumMod val="75000"/>
                  </a:schemeClr>
                </a:solidFill>
              </a:rPr>
              <a:t>Price</a:t>
            </a:r>
            <a:r>
              <a:rPr lang="en-US" sz="1800" dirty="0"/>
              <a:t>: Competitive pricing, prepayment, and potential procurement.</a:t>
            </a:r>
            <a:endParaRPr lang="en-US" sz="1800" u="sng" dirty="0"/>
          </a:p>
        </p:txBody>
      </p:sp>
      <p:cxnSp>
        <p:nvCxnSpPr>
          <p:cNvPr id="11" name="Straight Connector 10">
            <a:extLst>
              <a:ext uri="{FF2B5EF4-FFF2-40B4-BE49-F238E27FC236}">
                <a16:creationId xmlns:a16="http://schemas.microsoft.com/office/drawing/2014/main" id="{53CF1ED1-424A-438B-B2A7-0F54D96C3125}"/>
              </a:ext>
            </a:extLst>
          </p:cNvPr>
          <p:cNvCxnSpPr>
            <a:cxnSpLocks/>
          </p:cNvCxnSpPr>
          <p:nvPr/>
        </p:nvCxnSpPr>
        <p:spPr>
          <a:xfrm>
            <a:off x="4546947" y="1981200"/>
            <a:ext cx="0" cy="4038600"/>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024719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27D04E9-0A03-4952-81F8-61F17FD7D26C}"/>
              </a:ext>
            </a:extLst>
          </p:cNvPr>
          <p:cNvSpPr>
            <a:spLocks noGrp="1"/>
          </p:cNvSpPr>
          <p:nvPr>
            <p:ph type="title"/>
          </p:nvPr>
        </p:nvSpPr>
        <p:spPr>
          <a:xfrm>
            <a:off x="798786" y="325821"/>
            <a:ext cx="7577959" cy="1410904"/>
          </a:xfrm>
        </p:spPr>
        <p:txBody>
          <a:bodyPr>
            <a:normAutofit/>
          </a:bodyPr>
          <a:lstStyle/>
          <a:p>
            <a:pPr algn="ctr"/>
            <a:r>
              <a:rPr lang="en-US" sz="2800" dirty="0">
                <a:solidFill>
                  <a:schemeClr val="accent2">
                    <a:lumMod val="75000"/>
                  </a:schemeClr>
                </a:solidFill>
                <a:latin typeface="+mn-lt"/>
              </a:rPr>
              <a:t>Product Requirements That May Impact The Number Of Models Available For Procurement</a:t>
            </a:r>
          </a:p>
        </p:txBody>
      </p:sp>
      <p:graphicFrame>
        <p:nvGraphicFramePr>
          <p:cNvPr id="8" name="Table 8">
            <a:extLst>
              <a:ext uri="{FF2B5EF4-FFF2-40B4-BE49-F238E27FC236}">
                <a16:creationId xmlns:a16="http://schemas.microsoft.com/office/drawing/2014/main" id="{7732F27D-8969-4068-91AE-E8BCBB6B7190}"/>
              </a:ext>
            </a:extLst>
          </p:cNvPr>
          <p:cNvGraphicFramePr>
            <a:graphicFrameLocks noGrp="1"/>
          </p:cNvGraphicFramePr>
          <p:nvPr>
            <p:ph sz="half" idx="4294967295"/>
            <p:extLst>
              <p:ext uri="{D42A27DB-BD31-4B8C-83A1-F6EECF244321}">
                <p14:modId xmlns:p14="http://schemas.microsoft.com/office/powerpoint/2010/main" val="2990685329"/>
              </p:ext>
            </p:extLst>
          </p:nvPr>
        </p:nvGraphicFramePr>
        <p:xfrm>
          <a:off x="798786" y="1907774"/>
          <a:ext cx="7577959" cy="4404589"/>
        </p:xfrm>
        <a:graphic>
          <a:graphicData uri="http://schemas.openxmlformats.org/drawingml/2006/table">
            <a:tbl>
              <a:tblPr firstRow="1" bandRow="1">
                <a:tableStyleId>{0660B408-B3CF-4A94-85FC-2B1E0A45F4A2}</a:tableStyleId>
              </a:tblPr>
              <a:tblGrid>
                <a:gridCol w="2185950">
                  <a:extLst>
                    <a:ext uri="{9D8B030D-6E8A-4147-A177-3AD203B41FA5}">
                      <a16:colId xmlns:a16="http://schemas.microsoft.com/office/drawing/2014/main" val="618828795"/>
                    </a:ext>
                  </a:extLst>
                </a:gridCol>
                <a:gridCol w="5392009">
                  <a:extLst>
                    <a:ext uri="{9D8B030D-6E8A-4147-A177-3AD203B41FA5}">
                      <a16:colId xmlns:a16="http://schemas.microsoft.com/office/drawing/2014/main" val="4108787759"/>
                    </a:ext>
                  </a:extLst>
                </a:gridCol>
              </a:tblGrid>
              <a:tr h="513885">
                <a:tc>
                  <a:txBody>
                    <a:bodyPr/>
                    <a:lstStyle/>
                    <a:p>
                      <a:r>
                        <a:rPr lang="en-US" sz="1400" dirty="0">
                          <a:latin typeface="+mn-lt"/>
                        </a:rPr>
                        <a:t>Product requirements</a:t>
                      </a:r>
                    </a:p>
                  </a:txBody>
                  <a:tcPr/>
                </a:tc>
                <a:tc>
                  <a:txBody>
                    <a:bodyPr/>
                    <a:lstStyle/>
                    <a:p>
                      <a:pPr algn="ctr"/>
                      <a:r>
                        <a:rPr lang="en-US" sz="1400" dirty="0">
                          <a:latin typeface="+mn-lt"/>
                        </a:rPr>
                        <a:t>Details</a:t>
                      </a:r>
                    </a:p>
                  </a:txBody>
                  <a:tcPr/>
                </a:tc>
                <a:extLst>
                  <a:ext uri="{0D108BD9-81ED-4DB2-BD59-A6C34878D82A}">
                    <a16:rowId xmlns:a16="http://schemas.microsoft.com/office/drawing/2014/main" val="125287569"/>
                  </a:ext>
                </a:extLst>
              </a:tr>
              <a:tr h="680132">
                <a:tc>
                  <a:txBody>
                    <a:bodyPr/>
                    <a:lstStyle/>
                    <a:p>
                      <a:pPr algn="l" fontAlgn="t"/>
                      <a:r>
                        <a:rPr lang="en-US" sz="1400" b="1" i="0" u="none" strike="noStrike" dirty="0">
                          <a:solidFill>
                            <a:srgbClr val="000000"/>
                          </a:solidFill>
                          <a:effectLst/>
                          <a:latin typeface="+mn-lt"/>
                        </a:rPr>
                        <a:t>Flow rate </a:t>
                      </a:r>
                    </a:p>
                    <a:p>
                      <a:pPr algn="l" fontAlgn="t"/>
                      <a:r>
                        <a:rPr lang="en-US" sz="1400" b="0" i="0" u="none" strike="noStrike" dirty="0">
                          <a:solidFill>
                            <a:srgbClr val="000000"/>
                          </a:solidFill>
                          <a:effectLst/>
                          <a:latin typeface="+mn-lt"/>
                        </a:rPr>
                        <a:t>(measured in LPM): </a:t>
                      </a:r>
                    </a:p>
                  </a:txBody>
                  <a:tcPr marL="6350" marR="6350" marT="6350" marB="0"/>
                </a:tc>
                <a:tc>
                  <a:txBody>
                    <a:bodyPr/>
                    <a:lstStyle/>
                    <a:p>
                      <a:pPr algn="l" fontAlgn="t"/>
                      <a:r>
                        <a:rPr lang="en-US" sz="1400" b="0" i="0" u="none" strike="noStrike" dirty="0">
                          <a:solidFill>
                            <a:srgbClr val="000000"/>
                          </a:solidFill>
                          <a:effectLst/>
                          <a:latin typeface="+mn-lt"/>
                        </a:rPr>
                        <a:t>Models capable of increased flow rates are typically available in lower volumes due to lower consumer-level demand and require longer lead times due to the additional size and complexity in manufacturing.</a:t>
                      </a:r>
                    </a:p>
                  </a:txBody>
                  <a:tcPr marL="6350" marR="6350" marT="6350" marB="0"/>
                </a:tc>
                <a:extLst>
                  <a:ext uri="{0D108BD9-81ED-4DB2-BD59-A6C34878D82A}">
                    <a16:rowId xmlns:a16="http://schemas.microsoft.com/office/drawing/2014/main" val="1550421245"/>
                  </a:ext>
                </a:extLst>
              </a:tr>
              <a:tr h="680132">
                <a:tc>
                  <a:txBody>
                    <a:bodyPr/>
                    <a:lstStyle/>
                    <a:p>
                      <a:pPr algn="l" fontAlgn="t"/>
                      <a:r>
                        <a:rPr lang="en-US" sz="1400" b="1" i="0" u="none" strike="noStrike" dirty="0">
                          <a:solidFill>
                            <a:srgbClr val="000000"/>
                          </a:solidFill>
                          <a:effectLst/>
                          <a:latin typeface="+mn-lt"/>
                        </a:rPr>
                        <a:t>Ability to operate at </a:t>
                      </a:r>
                    </a:p>
                    <a:p>
                      <a:pPr algn="l" fontAlgn="t"/>
                      <a:r>
                        <a:rPr lang="en-US" sz="1400" b="1" i="0" u="none" strike="noStrike" dirty="0">
                          <a:solidFill>
                            <a:srgbClr val="000000"/>
                          </a:solidFill>
                          <a:effectLst/>
                          <a:latin typeface="+mn-lt"/>
                        </a:rPr>
                        <a:t> &gt;65 %  relative humidity</a:t>
                      </a:r>
                    </a:p>
                  </a:txBody>
                  <a:tcPr marL="6350" marR="6350" marT="6350" marB="0"/>
                </a:tc>
                <a:tc>
                  <a:txBody>
                    <a:bodyPr/>
                    <a:lstStyle/>
                    <a:p>
                      <a:pPr algn="l" fontAlgn="t"/>
                      <a:r>
                        <a:rPr lang="en-US" sz="1400" b="0" i="0" u="none" strike="noStrike" dirty="0">
                          <a:solidFill>
                            <a:srgbClr val="000000"/>
                          </a:solidFill>
                          <a:effectLst/>
                          <a:latin typeface="+mn-lt"/>
                        </a:rPr>
                        <a:t>All models identified were able to operate at between 20 and 65 percent humidity, with some able to operate at up to 95 percent humidity. </a:t>
                      </a:r>
                    </a:p>
                  </a:txBody>
                  <a:tcPr marL="6350" marR="6350" marT="6350" marB="0"/>
                </a:tc>
                <a:extLst>
                  <a:ext uri="{0D108BD9-81ED-4DB2-BD59-A6C34878D82A}">
                    <a16:rowId xmlns:a16="http://schemas.microsoft.com/office/drawing/2014/main" val="3825053538"/>
                  </a:ext>
                </a:extLst>
              </a:tr>
              <a:tr h="800702">
                <a:tc>
                  <a:txBody>
                    <a:bodyPr/>
                    <a:lstStyle/>
                    <a:p>
                      <a:pPr algn="l" fontAlgn="t"/>
                      <a:r>
                        <a:rPr lang="en-US" sz="1400" b="1" i="0" u="none" strike="noStrike" dirty="0">
                          <a:solidFill>
                            <a:srgbClr val="000000"/>
                          </a:solidFill>
                          <a:effectLst/>
                          <a:latin typeface="+mn-lt"/>
                        </a:rPr>
                        <a:t>Audio/visual alarms</a:t>
                      </a:r>
                    </a:p>
                  </a:txBody>
                  <a:tcPr marL="6350" marR="6350" marT="6350" marB="0"/>
                </a:tc>
                <a:tc>
                  <a:txBody>
                    <a:bodyPr/>
                    <a:lstStyle/>
                    <a:p>
                      <a:pPr algn="l" fontAlgn="t"/>
                      <a:r>
                        <a:rPr lang="en-US" sz="1400" b="0" i="0" u="none" strike="noStrike" dirty="0">
                          <a:solidFill>
                            <a:srgbClr val="000000"/>
                          </a:solidFill>
                          <a:effectLst/>
                          <a:latin typeface="+mn-lt"/>
                        </a:rPr>
                        <a:t>Models offer various combinations of audible and/or visual alarms for specifications such as low oxygen concentration (less than 82 percent), low battery, power supply failure, high temperature, low-/high- /no-flow rate, and/or low/high pressure. </a:t>
                      </a:r>
                    </a:p>
                  </a:txBody>
                  <a:tcPr marL="6350" marR="6350" marT="6350" marB="0"/>
                </a:tc>
                <a:extLst>
                  <a:ext uri="{0D108BD9-81ED-4DB2-BD59-A6C34878D82A}">
                    <a16:rowId xmlns:a16="http://schemas.microsoft.com/office/drawing/2014/main" val="2888467708"/>
                  </a:ext>
                </a:extLst>
              </a:tr>
              <a:tr h="680132">
                <a:tc>
                  <a:txBody>
                    <a:bodyPr/>
                    <a:lstStyle/>
                    <a:p>
                      <a:pPr algn="l" fontAlgn="t"/>
                      <a:r>
                        <a:rPr lang="en-US" sz="1400" b="1" i="0" u="none" strike="noStrike" dirty="0">
                          <a:solidFill>
                            <a:srgbClr val="000000"/>
                          </a:solidFill>
                          <a:effectLst/>
                          <a:latin typeface="+mn-lt"/>
                        </a:rPr>
                        <a:t>Ability to operate in ambient temperatures in excess of 35°C</a:t>
                      </a:r>
                    </a:p>
                  </a:txBody>
                  <a:tcPr marL="6350" marR="6350" marT="6350" marB="0"/>
                </a:tc>
                <a:tc>
                  <a:txBody>
                    <a:bodyPr/>
                    <a:lstStyle/>
                    <a:p>
                      <a:pPr algn="l" fontAlgn="t"/>
                      <a:r>
                        <a:rPr lang="en-US" sz="1400" b="0" i="0" u="none" strike="noStrike" dirty="0">
                          <a:solidFill>
                            <a:srgbClr val="000000"/>
                          </a:solidFill>
                          <a:effectLst/>
                          <a:latin typeface="+mn-lt"/>
                        </a:rPr>
                        <a:t>All models identified were able to operate at between 10°C and 35°C, with many able to operate at up to 40°C. </a:t>
                      </a:r>
                    </a:p>
                  </a:txBody>
                  <a:tcPr marL="6350" marR="6350" marT="6350" marB="0"/>
                </a:tc>
                <a:extLst>
                  <a:ext uri="{0D108BD9-81ED-4DB2-BD59-A6C34878D82A}">
                    <a16:rowId xmlns:a16="http://schemas.microsoft.com/office/drawing/2014/main" val="3012935000"/>
                  </a:ext>
                </a:extLst>
              </a:tr>
              <a:tr h="495259">
                <a:tc>
                  <a:txBody>
                    <a:bodyPr/>
                    <a:lstStyle/>
                    <a:p>
                      <a:pPr algn="l" fontAlgn="t"/>
                      <a:r>
                        <a:rPr lang="en-US" sz="1400" b="1" i="0" u="none" strike="noStrike" dirty="0">
                          <a:solidFill>
                            <a:srgbClr val="000000"/>
                          </a:solidFill>
                          <a:effectLst/>
                          <a:latin typeface="+mn-lt"/>
                        </a:rPr>
                        <a:t>Warranty </a:t>
                      </a:r>
                    </a:p>
                  </a:txBody>
                  <a:tcPr marL="6350" marR="6350" marT="6350" marB="0"/>
                </a:tc>
                <a:tc>
                  <a:txBody>
                    <a:bodyPr/>
                    <a:lstStyle/>
                    <a:p>
                      <a:pPr algn="l" fontAlgn="t"/>
                      <a:r>
                        <a:rPr lang="en-US" sz="1400" b="0" i="0" u="none" strike="noStrike" dirty="0">
                          <a:solidFill>
                            <a:srgbClr val="000000"/>
                          </a:solidFill>
                          <a:effectLst/>
                          <a:latin typeface="+mn-lt"/>
                        </a:rPr>
                        <a:t>Most suppliers identified were able to offer a one-year warranty, and many were able to offer up to three years for an additional fee. </a:t>
                      </a:r>
                    </a:p>
                  </a:txBody>
                  <a:tcPr marL="6350" marR="6350" marT="6350" marB="0"/>
                </a:tc>
                <a:extLst>
                  <a:ext uri="{0D108BD9-81ED-4DB2-BD59-A6C34878D82A}">
                    <a16:rowId xmlns:a16="http://schemas.microsoft.com/office/drawing/2014/main" val="377404426"/>
                  </a:ext>
                </a:extLst>
              </a:tr>
              <a:tr h="495259">
                <a:tc>
                  <a:txBody>
                    <a:bodyPr/>
                    <a:lstStyle/>
                    <a:p>
                      <a:pPr algn="l" fontAlgn="t"/>
                      <a:r>
                        <a:rPr lang="en-US" sz="1400" b="1" i="0" u="none" strike="noStrike" dirty="0">
                          <a:solidFill>
                            <a:srgbClr val="000000"/>
                          </a:solidFill>
                          <a:effectLst/>
                          <a:latin typeface="+mn-lt"/>
                        </a:rPr>
                        <a:t>Spare parts and accessories</a:t>
                      </a:r>
                    </a:p>
                  </a:txBody>
                  <a:tcPr marL="6350" marR="6350" marT="6350" marB="0"/>
                </a:tc>
                <a:tc>
                  <a:txBody>
                    <a:bodyPr/>
                    <a:lstStyle/>
                    <a:p>
                      <a:pPr algn="l" fontAlgn="t"/>
                      <a:r>
                        <a:rPr lang="en-US" sz="1400" b="0" i="0" u="none" strike="noStrike" dirty="0">
                          <a:solidFill>
                            <a:srgbClr val="000000"/>
                          </a:solidFill>
                          <a:effectLst/>
                          <a:latin typeface="+mn-lt"/>
                        </a:rPr>
                        <a:t>Most suppliers have a detailed list of spare parts and accessories which can be bundled with the oxygen concentrator..</a:t>
                      </a:r>
                    </a:p>
                  </a:txBody>
                  <a:tcPr marL="6350" marR="6350" marT="6350" marB="0"/>
                </a:tc>
                <a:extLst>
                  <a:ext uri="{0D108BD9-81ED-4DB2-BD59-A6C34878D82A}">
                    <a16:rowId xmlns:a16="http://schemas.microsoft.com/office/drawing/2014/main" val="1436881722"/>
                  </a:ext>
                </a:extLst>
              </a:tr>
            </a:tbl>
          </a:graphicData>
        </a:graphic>
      </p:graphicFrame>
      <p:sp>
        <p:nvSpPr>
          <p:cNvPr id="2" name="TextBox 1">
            <a:extLst>
              <a:ext uri="{FF2B5EF4-FFF2-40B4-BE49-F238E27FC236}">
                <a16:creationId xmlns:a16="http://schemas.microsoft.com/office/drawing/2014/main" id="{29CFB029-CE4C-4268-9071-2A580E827BD9}"/>
              </a:ext>
            </a:extLst>
          </p:cNvPr>
          <p:cNvSpPr txBox="1"/>
          <p:nvPr/>
        </p:nvSpPr>
        <p:spPr>
          <a:xfrm>
            <a:off x="-2628" y="6483413"/>
            <a:ext cx="8382000" cy="369332"/>
          </a:xfrm>
          <a:prstGeom prst="rect">
            <a:avLst/>
          </a:prstGeom>
          <a:noFill/>
        </p:spPr>
        <p:txBody>
          <a:bodyPr wrap="square" rtlCol="0">
            <a:spAutoFit/>
          </a:bodyPr>
          <a:lstStyle/>
          <a:p>
            <a:r>
              <a:rPr lang="en-US" sz="900" b="1" dirty="0">
                <a:latin typeface="Calibri" panose="020F0502020204030204" pitchFamily="34" charset="0"/>
              </a:rPr>
              <a:t>Source: Respiratory Care Equipment Market Report. 2020. </a:t>
            </a:r>
          </a:p>
          <a:p>
            <a:r>
              <a:rPr lang="en-US" sz="900" b="1" dirty="0">
                <a:latin typeface="Calibri" panose="020F0502020204030204" pitchFamily="34" charset="0"/>
              </a:rPr>
              <a:t>Link: thttps://path.azureedge.net/media/documents/RespCare_Equipemnt_Market_Report_FINAL_10Dec2020.pdf</a:t>
            </a:r>
          </a:p>
        </p:txBody>
      </p:sp>
    </p:spTree>
    <p:extLst>
      <p:ext uri="{BB962C8B-B14F-4D97-AF65-F5344CB8AC3E}">
        <p14:creationId xmlns:p14="http://schemas.microsoft.com/office/powerpoint/2010/main" val="340324401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505200" y="2800349"/>
            <a:ext cx="4868863" cy="1257301"/>
          </a:xfrm>
        </p:spPr>
        <p:txBody>
          <a:bodyPr rtlCol="0">
            <a:noAutofit/>
          </a:bodyPr>
          <a:lstStyle/>
          <a:p>
            <a:pPr marL="0" indent="0"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rPr>
              <a:t>Cylinder Supplier Landscape</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b="1" dirty="0">
              <a:solidFill>
                <a:schemeClr val="accent2">
                  <a:lumMod val="75000"/>
                </a:schemeClr>
              </a:solidFill>
            </a:endParaRPr>
          </a:p>
        </p:txBody>
      </p:sp>
      <p:pic>
        <p:nvPicPr>
          <p:cNvPr id="6" name="Picture 5">
            <a:extLst>
              <a:ext uri="{FF2B5EF4-FFF2-40B4-BE49-F238E27FC236}">
                <a16:creationId xmlns:a16="http://schemas.microsoft.com/office/drawing/2014/main" id="{4B15641A-4295-4BFE-899C-CA2CD34A5C71}"/>
              </a:ext>
            </a:extLst>
          </p:cNvPr>
          <p:cNvPicPr>
            <a:picLocks noChangeAspect="1"/>
          </p:cNvPicPr>
          <p:nvPr/>
        </p:nvPicPr>
        <p:blipFill>
          <a:blip r:embed="rId3">
            <a:clrChange>
              <a:clrFrom>
                <a:srgbClr val="D6EDFB"/>
              </a:clrFrom>
              <a:clrTo>
                <a:srgbClr val="D6EDFB">
                  <a:alpha val="0"/>
                </a:srgbClr>
              </a:clrTo>
            </a:clrChange>
          </a:blip>
          <a:stretch>
            <a:fillRect/>
          </a:stretch>
        </p:blipFill>
        <p:spPr>
          <a:xfrm>
            <a:off x="144910" y="1085850"/>
            <a:ext cx="2766348" cy="3428999"/>
          </a:xfrm>
          <a:prstGeom prst="rect">
            <a:avLst/>
          </a:prstGeom>
        </p:spPr>
      </p:pic>
      <p:sp>
        <p:nvSpPr>
          <p:cNvPr id="7" name="Text Placeholder 1">
            <a:extLst>
              <a:ext uri="{FF2B5EF4-FFF2-40B4-BE49-F238E27FC236}">
                <a16:creationId xmlns:a16="http://schemas.microsoft.com/office/drawing/2014/main" id="{4A67342B-27A9-4E3A-8DDD-D1C5E1C8A74E}"/>
              </a:ext>
            </a:extLst>
          </p:cNvPr>
          <p:cNvSpPr txBox="1">
            <a:spLocks/>
          </p:cNvSpPr>
          <p:nvPr/>
        </p:nvSpPr>
        <p:spPr>
          <a:xfrm>
            <a:off x="144910" y="4267200"/>
            <a:ext cx="2736531" cy="1257300"/>
          </a:xfrm>
          <a:prstGeom prst="rect">
            <a:avLst/>
          </a:prstGeom>
        </p:spPr>
        <p:txBody>
          <a:bodyPr anchor="ctr"/>
          <a:lstStyle>
            <a:lvl1pPr marL="68263" indent="-68263"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Char char=" "/>
              <a:defRPr sz="1500" kern="1200">
                <a:solidFill>
                  <a:srgbClr val="404040"/>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algn="ctr">
              <a:lnSpc>
                <a:spcPct val="100000"/>
              </a:lnSpc>
              <a:spcBef>
                <a:spcPts val="0"/>
              </a:spcBef>
              <a:spcAft>
                <a:spcPts val="600"/>
              </a:spcAft>
            </a:pPr>
            <a:r>
              <a:rPr lang="en-US" sz="3200" b="1" spc="-50" dirty="0">
                <a:solidFill>
                  <a:schemeClr val="bg1"/>
                </a:solidFill>
                <a:ea typeface="+mj-ea"/>
                <a:cs typeface="+mj-cs"/>
              </a:rPr>
              <a:t>Oxygen Cylinders</a:t>
            </a:r>
          </a:p>
        </p:txBody>
      </p:sp>
    </p:spTree>
    <p:extLst>
      <p:ext uri="{BB962C8B-B14F-4D97-AF65-F5344CB8AC3E}">
        <p14:creationId xmlns:p14="http://schemas.microsoft.com/office/powerpoint/2010/main" val="1533350447"/>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6666CA-7D6A-4712-B2B3-809DB8A28587}"/>
              </a:ext>
            </a:extLst>
          </p:cNvPr>
          <p:cNvSpPr>
            <a:spLocks noGrp="1"/>
          </p:cNvSpPr>
          <p:nvPr>
            <p:ph type="body" sz="quarter" idx="14"/>
          </p:nvPr>
        </p:nvSpPr>
        <p:spPr>
          <a:xfrm>
            <a:off x="985031" y="914400"/>
            <a:ext cx="3586966" cy="762384"/>
          </a:xfrm>
          <a:ln>
            <a:noFill/>
          </a:ln>
        </p:spPr>
        <p:txBody>
          <a:bodyPr/>
          <a:lstStyle/>
          <a:p>
            <a:r>
              <a:rPr lang="en-US" dirty="0">
                <a:solidFill>
                  <a:schemeClr val="accent2">
                    <a:lumMod val="75000"/>
                  </a:schemeClr>
                </a:solidFill>
                <a:latin typeface="Calibri" panose="020F0502020204030204" pitchFamily="34" charset="0"/>
              </a:rPr>
              <a:t>Considerations for Product Deployment </a:t>
            </a:r>
          </a:p>
          <a:p>
            <a:endParaRPr lang="en-US" dirty="0">
              <a:solidFill>
                <a:schemeClr val="accent2">
                  <a:lumMod val="75000"/>
                </a:schemeClr>
              </a:solidFill>
              <a:latin typeface="Calibri" panose="020F0502020204030204" pitchFamily="34" charset="0"/>
            </a:endParaRPr>
          </a:p>
        </p:txBody>
      </p:sp>
      <p:sp>
        <p:nvSpPr>
          <p:cNvPr id="7" name="Text Placeholder 6">
            <a:extLst>
              <a:ext uri="{FF2B5EF4-FFF2-40B4-BE49-F238E27FC236}">
                <a16:creationId xmlns:a16="http://schemas.microsoft.com/office/drawing/2014/main" id="{F2268F0D-FA62-4F5C-B240-BF76CFF07AF1}"/>
              </a:ext>
            </a:extLst>
          </p:cNvPr>
          <p:cNvSpPr>
            <a:spLocks noGrp="1"/>
          </p:cNvSpPr>
          <p:nvPr>
            <p:ph type="body" sz="quarter" idx="15"/>
          </p:nvPr>
        </p:nvSpPr>
        <p:spPr>
          <a:xfrm>
            <a:off x="985030" y="2104190"/>
            <a:ext cx="3446664" cy="4144210"/>
          </a:xfrm>
        </p:spPr>
        <p:txBody>
          <a:bodyPr/>
          <a:lstStyle/>
          <a:p>
            <a:pPr marL="274320" indent="-274320" algn="just">
              <a:lnSpc>
                <a:spcPct val="100000"/>
              </a:lnSpc>
              <a:spcAft>
                <a:spcPts val="1200"/>
              </a:spcAft>
              <a:buClr>
                <a:schemeClr val="accent2"/>
              </a:buClr>
              <a:buFont typeface="Wingdings" panose="05000000000000000000" pitchFamily="2" charset="2"/>
              <a:buChar char="q"/>
            </a:pPr>
            <a:r>
              <a:rPr lang="en-US" sz="1800" dirty="0">
                <a:solidFill>
                  <a:schemeClr val="accent2">
                    <a:lumMod val="75000"/>
                  </a:schemeClr>
                </a:solidFill>
                <a:latin typeface="Calibri" panose="020F0502020204030204" pitchFamily="34" charset="0"/>
              </a:rPr>
              <a:t>Oxygen cylinders </a:t>
            </a:r>
            <a:r>
              <a:rPr lang="en-US" sz="1800" dirty="0">
                <a:latin typeface="Calibri" panose="020F0502020204030204" pitchFamily="34" charset="0"/>
              </a:rPr>
              <a:t>are dedicated refillable containers for </a:t>
            </a:r>
            <a:r>
              <a:rPr lang="en-US" sz="1800" dirty="0">
                <a:solidFill>
                  <a:schemeClr val="accent2">
                    <a:lumMod val="75000"/>
                  </a:schemeClr>
                </a:solidFill>
                <a:latin typeface="Calibri" panose="020F0502020204030204" pitchFamily="34" charset="0"/>
              </a:rPr>
              <a:t>holding oxygen/medical gases </a:t>
            </a:r>
            <a:r>
              <a:rPr lang="en-US" sz="1800" dirty="0">
                <a:latin typeface="Calibri" panose="020F0502020204030204" pitchFamily="34" charset="0"/>
              </a:rPr>
              <a:t>in a high-pressure, nonliquid state. </a:t>
            </a:r>
          </a:p>
          <a:p>
            <a:pPr marL="274320" indent="-274320" algn="just">
              <a:lnSpc>
                <a:spcPct val="100000"/>
              </a:lnSpc>
              <a:spcAft>
                <a:spcPts val="1200"/>
              </a:spcAft>
              <a:buClr>
                <a:schemeClr val="accent2"/>
              </a:buClr>
              <a:buFont typeface="Wingdings" panose="05000000000000000000" pitchFamily="2" charset="2"/>
              <a:buChar char="q"/>
            </a:pPr>
            <a:r>
              <a:rPr lang="en-US" sz="1800" dirty="0">
                <a:latin typeface="Calibri" panose="020F0502020204030204" pitchFamily="34" charset="0"/>
              </a:rPr>
              <a:t>They are designed </a:t>
            </a:r>
            <a:r>
              <a:rPr lang="en-US" sz="1800" dirty="0">
                <a:solidFill>
                  <a:schemeClr val="accent2">
                    <a:lumMod val="75000"/>
                  </a:schemeClr>
                </a:solidFill>
                <a:latin typeface="Calibri" panose="020F0502020204030204" pitchFamily="34" charset="0"/>
              </a:rPr>
              <a:t>to store and transport medical oxygen</a:t>
            </a:r>
            <a:r>
              <a:rPr lang="en-US" sz="1800" dirty="0">
                <a:latin typeface="Calibri" panose="020F0502020204030204" pitchFamily="34" charset="0"/>
              </a:rPr>
              <a:t> within and between health facilities.</a:t>
            </a:r>
          </a:p>
          <a:p>
            <a:pPr marL="274320" indent="-274320" algn="just">
              <a:lnSpc>
                <a:spcPct val="100000"/>
              </a:lnSpc>
              <a:spcAft>
                <a:spcPts val="1200"/>
              </a:spcAft>
              <a:buClr>
                <a:schemeClr val="accent2"/>
              </a:buClr>
              <a:buFont typeface="Wingdings" panose="05000000000000000000" pitchFamily="2" charset="2"/>
              <a:buChar char="q"/>
            </a:pPr>
            <a:r>
              <a:rPr lang="en-US" sz="1800" dirty="0">
                <a:latin typeface="Calibri" panose="020F0502020204030204" pitchFamily="34" charset="0"/>
              </a:rPr>
              <a:t>They can be </a:t>
            </a:r>
            <a:r>
              <a:rPr lang="en-US" sz="1800" dirty="0">
                <a:solidFill>
                  <a:schemeClr val="accent2">
                    <a:lumMod val="75000"/>
                  </a:schemeClr>
                </a:solidFill>
                <a:latin typeface="Calibri" panose="020F0502020204030204" pitchFamily="34" charset="0"/>
              </a:rPr>
              <a:t>connected to a manifold for pipeline distribution or used near bedside </a:t>
            </a:r>
            <a:r>
              <a:rPr lang="en-US" sz="1800" dirty="0">
                <a:latin typeface="Calibri" panose="020F0502020204030204" pitchFamily="34" charset="0"/>
              </a:rPr>
              <a:t>to provide oxygen directly to a patient</a:t>
            </a:r>
            <a:endParaRPr lang="en-US" sz="1800" u="sng" dirty="0">
              <a:solidFill>
                <a:schemeClr val="accent1">
                  <a:lumMod val="75000"/>
                </a:schemeClr>
              </a:solidFill>
              <a:latin typeface="Calibri" panose="020F0502020204030204" pitchFamily="34" charset="0"/>
            </a:endParaRPr>
          </a:p>
        </p:txBody>
      </p:sp>
      <p:sp>
        <p:nvSpPr>
          <p:cNvPr id="8" name="Text Placeholder 5">
            <a:extLst>
              <a:ext uri="{FF2B5EF4-FFF2-40B4-BE49-F238E27FC236}">
                <a16:creationId xmlns:a16="http://schemas.microsoft.com/office/drawing/2014/main" id="{7119310A-7B46-499A-9424-086F407A3F64}"/>
              </a:ext>
            </a:extLst>
          </p:cNvPr>
          <p:cNvSpPr txBox="1">
            <a:spLocks/>
          </p:cNvSpPr>
          <p:nvPr/>
        </p:nvSpPr>
        <p:spPr bwMode="auto">
          <a:xfrm>
            <a:off x="4571997" y="963460"/>
            <a:ext cx="3714750" cy="76238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None/>
              <a:defRPr sz="2400" kern="1200">
                <a:solidFill>
                  <a:schemeClr val="accent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r>
              <a:rPr kumimoji="0" lang="en-US" sz="2400" i="0" u="none" strike="noStrike" kern="1200" cap="none" spc="0" normalizeH="0" baseline="0" noProof="0" dirty="0">
                <a:ln>
                  <a:noFill/>
                </a:ln>
                <a:solidFill>
                  <a:schemeClr val="accent2">
                    <a:lumMod val="75000"/>
                  </a:schemeClr>
                </a:solidFill>
                <a:effectLst/>
                <a:uLnTx/>
                <a:uFillTx/>
                <a:latin typeface="Calibri" panose="020F0502020204030204" pitchFamily="34" charset="0"/>
              </a:rPr>
              <a:t>Considerations for Product Selection </a:t>
            </a:r>
          </a:p>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endParaRPr kumimoji="0" lang="en-US" sz="2400" i="0" u="none" strike="noStrike" kern="1200" cap="none" spc="0" normalizeH="0" baseline="0" noProof="0" dirty="0">
              <a:ln>
                <a:noFill/>
              </a:ln>
              <a:solidFill>
                <a:schemeClr val="accent2">
                  <a:lumMod val="75000"/>
                </a:schemeClr>
              </a:solidFill>
              <a:effectLst/>
              <a:uLnTx/>
              <a:uFillTx/>
              <a:latin typeface="Calibri" panose="020F0502020204030204" pitchFamily="34" charset="0"/>
            </a:endParaRPr>
          </a:p>
        </p:txBody>
      </p:sp>
      <p:sp>
        <p:nvSpPr>
          <p:cNvPr id="9" name="Text Placeholder 6">
            <a:extLst>
              <a:ext uri="{FF2B5EF4-FFF2-40B4-BE49-F238E27FC236}">
                <a16:creationId xmlns:a16="http://schemas.microsoft.com/office/drawing/2014/main" id="{8A01158F-55FB-4811-B206-077F5614E8D7}"/>
              </a:ext>
            </a:extLst>
          </p:cNvPr>
          <p:cNvSpPr txBox="1">
            <a:spLocks/>
          </p:cNvSpPr>
          <p:nvPr/>
        </p:nvSpPr>
        <p:spPr bwMode="auto">
          <a:xfrm>
            <a:off x="4712307" y="2104190"/>
            <a:ext cx="3714744" cy="3915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0"/>
              </a:spcBef>
              <a:spcAft>
                <a:spcPts val="1350"/>
              </a:spcAft>
              <a:buClr>
                <a:schemeClr val="accent1"/>
              </a:buClr>
              <a:buSzPct val="100000"/>
              <a:buFont typeface="Calibri" panose="020F0502020204030204" pitchFamily="34" charset="0"/>
              <a:buNone/>
              <a:defRPr sz="1200" kern="1200">
                <a:solidFill>
                  <a:schemeClr val="tx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274320" marR="0" lvl="0" indent="-274320" algn="just" defTabSz="685800" rtl="0" eaLnBrk="0" fontAlgn="base" latinLnBrk="0" hangingPunct="0">
              <a:lnSpc>
                <a:spcPct val="100000"/>
              </a:lnSpc>
              <a:spcBef>
                <a:spcPts val="0"/>
              </a:spcBef>
              <a:spcAft>
                <a:spcPts val="600"/>
              </a:spcAft>
              <a:buClr>
                <a:schemeClr val="accent2"/>
              </a:buClr>
              <a:buSzPct val="100000"/>
              <a:buFont typeface="Wingdings" panose="05000000000000000000" pitchFamily="2" charset="2"/>
              <a:buChar char="q"/>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rPr>
              <a:t>Selection Criteria:</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latin typeface="Calibri" panose="020F0502020204030204" pitchFamily="34" charset="0"/>
              </a:rPr>
              <a:t>Quality</a:t>
            </a:r>
            <a:r>
              <a:rPr kumimoji="0" lang="en-US" sz="1800" b="0" i="0" u="none" strike="noStrike" kern="1200" cap="none" spc="0" normalizeH="0" baseline="0" noProof="0" dirty="0">
                <a:ln>
                  <a:noFill/>
                </a:ln>
                <a:solidFill>
                  <a:srgbClr val="404040"/>
                </a:solidFill>
                <a:effectLst/>
                <a:uLnTx/>
                <a:uFillTx/>
                <a:latin typeface="Calibri" panose="020F0502020204030204" pitchFamily="34" charset="0"/>
              </a:rPr>
              <a:t>: Certifications and Registration;</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latin typeface="Calibri" panose="020F0502020204030204" pitchFamily="34" charset="0"/>
              </a:rPr>
              <a:t>Ability to service the market</a:t>
            </a:r>
            <a:r>
              <a:rPr kumimoji="0" lang="en-US" sz="1800" b="0" i="0" u="none" strike="noStrike" kern="1200" cap="none" spc="0" normalizeH="0" baseline="0" noProof="0" dirty="0">
                <a:ln>
                  <a:noFill/>
                </a:ln>
                <a:solidFill>
                  <a:srgbClr val="404040"/>
                </a:solidFill>
                <a:effectLst/>
                <a:uLnTx/>
                <a:uFillTx/>
                <a:latin typeface="Calibri" panose="020F0502020204030204" pitchFamily="34" charset="0"/>
              </a:rPr>
              <a:t>: Production Capability;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latin typeface="Calibri" panose="020F0502020204030204" pitchFamily="34" charset="0"/>
              </a:rPr>
              <a:t>Functional Requirements</a:t>
            </a:r>
            <a:r>
              <a:rPr kumimoji="0" lang="en-US" sz="1800" b="0" i="0" u="none" strike="noStrike" kern="1200" cap="none" spc="0" normalizeH="0" baseline="0" noProof="0" dirty="0">
                <a:ln>
                  <a:noFill/>
                </a:ln>
                <a:solidFill>
                  <a:srgbClr val="404040"/>
                </a:solidFill>
                <a:effectLst/>
                <a:uLnTx/>
                <a:uFillTx/>
                <a:latin typeface="Calibri" panose="020F0502020204030204" pitchFamily="34" charset="0"/>
              </a:rPr>
              <a:t>: Critical elements for use;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latin typeface="Calibri" panose="020F0502020204030204" pitchFamily="34" charset="0"/>
              </a:rPr>
              <a:t>Operational Requirement</a:t>
            </a:r>
            <a:r>
              <a:rPr kumimoji="0" lang="en-US" sz="1800" b="0" i="0" u="none" strike="noStrike" kern="1200" cap="none" spc="0" normalizeH="0" baseline="0" noProof="0" dirty="0">
                <a:ln>
                  <a:noFill/>
                </a:ln>
                <a:solidFill>
                  <a:srgbClr val="404040"/>
                </a:solidFill>
                <a:effectLst/>
                <a:uLnTx/>
                <a:uFillTx/>
                <a:latin typeface="Calibri" panose="020F0502020204030204" pitchFamily="34" charset="0"/>
              </a:rPr>
              <a:t>s: Capability to use in surrounding environments;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latin typeface="Calibri" panose="020F0502020204030204" pitchFamily="34" charset="0"/>
              </a:rPr>
              <a:t>Price</a:t>
            </a:r>
            <a:r>
              <a:rPr kumimoji="0" lang="en-US" sz="1800" b="0" i="0" u="none" strike="noStrike" kern="1200" cap="none" spc="0" normalizeH="0" baseline="0" noProof="0" dirty="0">
                <a:ln>
                  <a:noFill/>
                </a:ln>
                <a:solidFill>
                  <a:srgbClr val="404040"/>
                </a:solidFill>
                <a:effectLst/>
                <a:uLnTx/>
                <a:uFillTx/>
                <a:latin typeface="Calibri" panose="020F0502020204030204" pitchFamily="34" charset="0"/>
              </a:rPr>
              <a:t>: Competitive pricing, prepayment, and potential procurement.</a:t>
            </a:r>
          </a:p>
          <a:p>
            <a:pPr marL="573088" marR="0" lvl="1" indent="-285750" algn="just" defTabSz="685800" rtl="0" eaLnBrk="0" fontAlgn="base" latinLnBrk="0" hangingPunct="0">
              <a:lnSpc>
                <a:spcPct val="100000"/>
              </a:lnSpc>
              <a:spcBef>
                <a:spcPts val="0"/>
              </a:spcBef>
              <a:spcAft>
                <a:spcPts val="600"/>
              </a:spcAft>
              <a:buClr>
                <a:srgbClr val="1CADE4">
                  <a:lumMod val="75000"/>
                </a:srgbClr>
              </a:buClr>
              <a:buSzTx/>
              <a:buFont typeface="Wingdings" panose="05000000000000000000" pitchFamily="2" charset="2"/>
              <a:buChar char="Ø"/>
              <a:tabLst/>
              <a:defRPr/>
            </a:pPr>
            <a:endParaRPr lang="en-US" sz="1800" dirty="0">
              <a:latin typeface="Calibri" panose="020F0502020204030204" pitchFamily="34" charset="0"/>
            </a:endParaRPr>
          </a:p>
          <a:p>
            <a:pPr marR="0" lvl="1" indent="0" algn="just" defTabSz="685800" rtl="0" eaLnBrk="0" fontAlgn="base" latinLnBrk="0" hangingPunct="0">
              <a:lnSpc>
                <a:spcPct val="100000"/>
              </a:lnSpc>
              <a:spcBef>
                <a:spcPts val="0"/>
              </a:spcBef>
              <a:spcAft>
                <a:spcPts val="600"/>
              </a:spcAft>
              <a:buClr>
                <a:srgbClr val="1CADE4">
                  <a:lumMod val="75000"/>
                </a:srgbClr>
              </a:buClr>
              <a:buSzTx/>
              <a:buNone/>
              <a:tabLst/>
              <a:defRPr/>
            </a:pPr>
            <a:endParaRPr kumimoji="0" lang="en-US" sz="1800" b="0" i="0" u="sng" strike="noStrike" kern="1200" cap="none" spc="0" normalizeH="0" baseline="0" noProof="0" dirty="0">
              <a:ln>
                <a:noFill/>
              </a:ln>
              <a:solidFill>
                <a:srgbClr val="404040"/>
              </a:solidFill>
              <a:effectLst/>
              <a:uLnTx/>
              <a:uFillTx/>
              <a:latin typeface="Calibri" panose="020F0502020204030204" pitchFamily="34" charset="0"/>
            </a:endParaRPr>
          </a:p>
        </p:txBody>
      </p:sp>
      <p:cxnSp>
        <p:nvCxnSpPr>
          <p:cNvPr id="11" name="Straight Connector 10">
            <a:extLst>
              <a:ext uri="{FF2B5EF4-FFF2-40B4-BE49-F238E27FC236}">
                <a16:creationId xmlns:a16="http://schemas.microsoft.com/office/drawing/2014/main" id="{53CF1ED1-424A-438B-B2A7-0F54D96C3125}"/>
              </a:ext>
            </a:extLst>
          </p:cNvPr>
          <p:cNvCxnSpPr>
            <a:cxnSpLocks/>
          </p:cNvCxnSpPr>
          <p:nvPr/>
        </p:nvCxnSpPr>
        <p:spPr>
          <a:xfrm>
            <a:off x="4572000" y="2104190"/>
            <a:ext cx="0" cy="3915610"/>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4770520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27D04E9-0A03-4952-81F8-61F17FD7D26C}"/>
              </a:ext>
            </a:extLst>
          </p:cNvPr>
          <p:cNvSpPr>
            <a:spLocks noGrp="1"/>
          </p:cNvSpPr>
          <p:nvPr>
            <p:ph type="title"/>
          </p:nvPr>
        </p:nvSpPr>
        <p:spPr>
          <a:xfrm>
            <a:off x="901874" y="338204"/>
            <a:ext cx="7464250" cy="1398522"/>
          </a:xfrm>
        </p:spPr>
        <p:txBody>
          <a:bodyPr>
            <a:normAutofit/>
          </a:bodyPr>
          <a:lstStyle/>
          <a:p>
            <a:pPr algn="ctr"/>
            <a:r>
              <a:rPr lang="en-US" sz="2800" dirty="0">
                <a:solidFill>
                  <a:schemeClr val="accent2">
                    <a:lumMod val="75000"/>
                  </a:schemeClr>
                </a:solidFill>
                <a:latin typeface="+mn-lt"/>
              </a:rPr>
              <a:t>Product Requirements That May Impact The Number Of Models Available For Procurement</a:t>
            </a:r>
          </a:p>
        </p:txBody>
      </p:sp>
      <p:graphicFrame>
        <p:nvGraphicFramePr>
          <p:cNvPr id="8" name="Table 8">
            <a:extLst>
              <a:ext uri="{FF2B5EF4-FFF2-40B4-BE49-F238E27FC236}">
                <a16:creationId xmlns:a16="http://schemas.microsoft.com/office/drawing/2014/main" id="{7732F27D-8969-4068-91AE-E8BCBB6B7190}"/>
              </a:ext>
            </a:extLst>
          </p:cNvPr>
          <p:cNvGraphicFramePr>
            <a:graphicFrameLocks noGrp="1"/>
          </p:cNvGraphicFramePr>
          <p:nvPr>
            <p:ph sz="half" idx="4294967295"/>
            <p:extLst>
              <p:ext uri="{D42A27DB-BD31-4B8C-83A1-F6EECF244321}">
                <p14:modId xmlns:p14="http://schemas.microsoft.com/office/powerpoint/2010/main" val="1738965319"/>
              </p:ext>
            </p:extLst>
          </p:nvPr>
        </p:nvGraphicFramePr>
        <p:xfrm>
          <a:off x="901874" y="1898647"/>
          <a:ext cx="7503774" cy="4294404"/>
        </p:xfrm>
        <a:graphic>
          <a:graphicData uri="http://schemas.openxmlformats.org/drawingml/2006/table">
            <a:tbl>
              <a:tblPr firstRow="1" bandRow="1">
                <a:tableStyleId>{0660B408-B3CF-4A94-85FC-2B1E0A45F4A2}</a:tableStyleId>
              </a:tblPr>
              <a:tblGrid>
                <a:gridCol w="2164550">
                  <a:extLst>
                    <a:ext uri="{9D8B030D-6E8A-4147-A177-3AD203B41FA5}">
                      <a16:colId xmlns:a16="http://schemas.microsoft.com/office/drawing/2014/main" val="618828795"/>
                    </a:ext>
                  </a:extLst>
                </a:gridCol>
                <a:gridCol w="5339224">
                  <a:extLst>
                    <a:ext uri="{9D8B030D-6E8A-4147-A177-3AD203B41FA5}">
                      <a16:colId xmlns:a16="http://schemas.microsoft.com/office/drawing/2014/main" val="4108787759"/>
                    </a:ext>
                  </a:extLst>
                </a:gridCol>
              </a:tblGrid>
              <a:tr h="536651">
                <a:tc>
                  <a:txBody>
                    <a:bodyPr/>
                    <a:lstStyle/>
                    <a:p>
                      <a:r>
                        <a:rPr lang="en-US" sz="1200" dirty="0">
                          <a:latin typeface="+mn-lt"/>
                        </a:rPr>
                        <a:t>Product requirements</a:t>
                      </a:r>
                    </a:p>
                  </a:txBody>
                  <a:tcPr/>
                </a:tc>
                <a:tc>
                  <a:txBody>
                    <a:bodyPr/>
                    <a:lstStyle/>
                    <a:p>
                      <a:pPr algn="ctr"/>
                      <a:r>
                        <a:rPr lang="en-US" sz="1200" dirty="0">
                          <a:latin typeface="+mn-lt"/>
                        </a:rPr>
                        <a:t>Details</a:t>
                      </a:r>
                    </a:p>
                  </a:txBody>
                  <a:tcPr/>
                </a:tc>
                <a:extLst>
                  <a:ext uri="{0D108BD9-81ED-4DB2-BD59-A6C34878D82A}">
                    <a16:rowId xmlns:a16="http://schemas.microsoft.com/office/drawing/2014/main" val="125287569"/>
                  </a:ext>
                </a:extLst>
              </a:tr>
              <a:tr h="498991">
                <a:tc>
                  <a:txBody>
                    <a:bodyPr/>
                    <a:lstStyle/>
                    <a:p>
                      <a:pPr algn="l" fontAlgn="b"/>
                      <a:r>
                        <a:rPr lang="en-US" sz="1200" b="1" i="0" u="none" strike="noStrike" dirty="0">
                          <a:solidFill>
                            <a:srgbClr val="000000"/>
                          </a:solidFill>
                          <a:effectLst/>
                          <a:latin typeface="+mn-lt"/>
                        </a:rPr>
                        <a:t>CE/FDA marking</a:t>
                      </a:r>
                    </a:p>
                  </a:txBody>
                  <a:tcPr marL="6350" marR="6350" marT="91440" marB="0"/>
                </a:tc>
                <a:tc>
                  <a:txBody>
                    <a:bodyPr/>
                    <a:lstStyle/>
                    <a:p>
                      <a:pPr algn="l" fontAlgn="b"/>
                      <a:r>
                        <a:rPr lang="en-US" sz="1200" b="0" i="0" u="none" strike="noStrike" dirty="0">
                          <a:solidFill>
                            <a:srgbClr val="000000"/>
                          </a:solidFill>
                          <a:effectLst/>
                          <a:latin typeface="+mn-lt"/>
                        </a:rPr>
                        <a:t>Oxygen cylinders are not regulated as medical devices and therefore do not have independent regulatory approvals. </a:t>
                      </a:r>
                    </a:p>
                  </a:txBody>
                  <a:tcPr marL="6350" marR="6350" marT="91440" marB="0"/>
                </a:tc>
                <a:extLst>
                  <a:ext uri="{0D108BD9-81ED-4DB2-BD59-A6C34878D82A}">
                    <a16:rowId xmlns:a16="http://schemas.microsoft.com/office/drawing/2014/main" val="1550421245"/>
                  </a:ext>
                </a:extLst>
              </a:tr>
              <a:tr h="517821">
                <a:tc>
                  <a:txBody>
                    <a:bodyPr/>
                    <a:lstStyle/>
                    <a:p>
                      <a:pPr algn="l" fontAlgn="b"/>
                      <a:r>
                        <a:rPr lang="en-US" sz="1200" b="1" i="0" u="none" strike="noStrike" dirty="0">
                          <a:solidFill>
                            <a:srgbClr val="000000"/>
                          </a:solidFill>
                          <a:effectLst/>
                          <a:latin typeface="+mn-lt"/>
                        </a:rPr>
                        <a:t>Material </a:t>
                      </a:r>
                    </a:p>
                  </a:txBody>
                  <a:tcPr marL="6350" marR="6350" marT="91440" marB="0"/>
                </a:tc>
                <a:tc>
                  <a:txBody>
                    <a:bodyPr/>
                    <a:lstStyle/>
                    <a:p>
                      <a:pPr algn="l" fontAlgn="b"/>
                      <a:r>
                        <a:rPr lang="en-US" sz="1200" b="0" i="0" u="none" strike="noStrike" dirty="0">
                          <a:solidFill>
                            <a:srgbClr val="000000"/>
                          </a:solidFill>
                          <a:effectLst/>
                          <a:latin typeface="+mn-lt"/>
                        </a:rPr>
                        <a:t>Cylinders are typically constructed from steel, aluminum, carbon fiber, or other composite materials. </a:t>
                      </a:r>
                    </a:p>
                  </a:txBody>
                  <a:tcPr marL="6350" marR="6350" marT="91440" marB="0"/>
                </a:tc>
                <a:extLst>
                  <a:ext uri="{0D108BD9-81ED-4DB2-BD59-A6C34878D82A}">
                    <a16:rowId xmlns:a16="http://schemas.microsoft.com/office/drawing/2014/main" val="3825053538"/>
                  </a:ext>
                </a:extLst>
              </a:tr>
              <a:tr h="517821">
                <a:tc>
                  <a:txBody>
                    <a:bodyPr/>
                    <a:lstStyle/>
                    <a:p>
                      <a:pPr algn="l" fontAlgn="b"/>
                      <a:r>
                        <a:rPr lang="en-US" sz="1200" b="1" i="0" u="none" strike="noStrike" dirty="0">
                          <a:solidFill>
                            <a:srgbClr val="000000"/>
                          </a:solidFill>
                          <a:effectLst/>
                          <a:latin typeface="+mn-lt"/>
                        </a:rPr>
                        <a:t>Valve type </a:t>
                      </a:r>
                    </a:p>
                  </a:txBody>
                  <a:tcPr marL="6350" marR="6350" marT="91440" marB="0"/>
                </a:tc>
                <a:tc>
                  <a:txBody>
                    <a:bodyPr/>
                    <a:lstStyle/>
                    <a:p>
                      <a:pPr algn="l" fontAlgn="b"/>
                      <a:r>
                        <a:rPr lang="en-US" sz="1200" b="0" i="0" u="none" strike="noStrike" dirty="0">
                          <a:solidFill>
                            <a:srgbClr val="000000"/>
                          </a:solidFill>
                          <a:effectLst/>
                          <a:latin typeface="+mn-lt"/>
                        </a:rPr>
                        <a:t>Integral vs. standard valves vary in cost.</a:t>
                      </a:r>
                    </a:p>
                  </a:txBody>
                  <a:tcPr marL="6350" marR="6350" marT="91440" marB="0"/>
                </a:tc>
                <a:extLst>
                  <a:ext uri="{0D108BD9-81ED-4DB2-BD59-A6C34878D82A}">
                    <a16:rowId xmlns:a16="http://schemas.microsoft.com/office/drawing/2014/main" val="2888467708"/>
                  </a:ext>
                </a:extLst>
              </a:tr>
              <a:tr h="1145713">
                <a:tc>
                  <a:txBody>
                    <a:bodyPr/>
                    <a:lstStyle/>
                    <a:p>
                      <a:pPr algn="l" fontAlgn="t"/>
                      <a:r>
                        <a:rPr lang="en-US" sz="1200" b="1" i="0" u="none" strike="noStrike" dirty="0">
                          <a:solidFill>
                            <a:srgbClr val="000000"/>
                          </a:solidFill>
                          <a:effectLst/>
                          <a:latin typeface="+mn-lt"/>
                        </a:rPr>
                        <a:t>Inclusion of accessories </a:t>
                      </a:r>
                    </a:p>
                    <a:p>
                      <a:pPr algn="l" fontAlgn="t"/>
                      <a:r>
                        <a:rPr lang="en-US" sz="1200" b="0" i="0" u="none" strike="noStrike" dirty="0">
                          <a:solidFill>
                            <a:srgbClr val="000000"/>
                          </a:solidFill>
                          <a:effectLst/>
                          <a:latin typeface="+mn-lt"/>
                        </a:rPr>
                        <a:t>(i.e., pressure regulators, flowmeters, manometers, humidifiers, pressure gauges, and multiple fittings according to international standards) </a:t>
                      </a:r>
                    </a:p>
                  </a:txBody>
                  <a:tcPr marL="6350" marR="6350" marT="91440" marB="0"/>
                </a:tc>
                <a:tc>
                  <a:txBody>
                    <a:bodyPr/>
                    <a:lstStyle/>
                    <a:p>
                      <a:pPr algn="l" fontAlgn="b"/>
                      <a:r>
                        <a:rPr lang="en-US" sz="1200" b="0" i="0" u="none" strike="noStrike" dirty="0">
                          <a:solidFill>
                            <a:srgbClr val="000000"/>
                          </a:solidFill>
                          <a:effectLst/>
                          <a:latin typeface="+mn-lt"/>
                        </a:rPr>
                        <a:t>Accessory functions may be achieved by attaching individual devices, configured in a single composite device, or integrated into the cylinder construction, where available. Accessories will need to be individually reviewed to ensure they meet functional and quality requirements.</a:t>
                      </a:r>
                    </a:p>
                  </a:txBody>
                  <a:tcPr marL="6350" marR="6350" marT="91440" marB="0"/>
                </a:tc>
                <a:extLst>
                  <a:ext uri="{0D108BD9-81ED-4DB2-BD59-A6C34878D82A}">
                    <a16:rowId xmlns:a16="http://schemas.microsoft.com/office/drawing/2014/main" val="3012935000"/>
                  </a:ext>
                </a:extLst>
              </a:tr>
              <a:tr h="517200">
                <a:tc>
                  <a:txBody>
                    <a:bodyPr/>
                    <a:lstStyle/>
                    <a:p>
                      <a:pPr algn="l" fontAlgn="b"/>
                      <a:r>
                        <a:rPr lang="en-US" sz="1200" b="1" i="0" u="none" strike="noStrike" dirty="0">
                          <a:solidFill>
                            <a:srgbClr val="000000"/>
                          </a:solidFill>
                          <a:effectLst/>
                          <a:latin typeface="+mn-lt"/>
                        </a:rPr>
                        <a:t>Compatibility with filling and distribution</a:t>
                      </a:r>
                    </a:p>
                  </a:txBody>
                  <a:tcPr marL="6350" marR="6350" marT="91440" marB="0"/>
                </a:tc>
                <a:tc>
                  <a:txBody>
                    <a:bodyPr/>
                    <a:lstStyle/>
                    <a:p>
                      <a:pPr algn="l" fontAlgn="b"/>
                      <a:r>
                        <a:rPr lang="en-US" sz="1200" b="0" i="0" u="none" strike="noStrike" dirty="0">
                          <a:solidFill>
                            <a:srgbClr val="000000"/>
                          </a:solidFill>
                          <a:effectLst/>
                          <a:latin typeface="+mn-lt"/>
                        </a:rPr>
                        <a:t>Cylinders must be fit for use with the prevailing configuration for filling or distribution, such as filling stations and distribution manifolds. </a:t>
                      </a:r>
                    </a:p>
                  </a:txBody>
                  <a:tcPr marL="6350" marR="6350" marT="91440" marB="0"/>
                </a:tc>
                <a:extLst>
                  <a:ext uri="{0D108BD9-81ED-4DB2-BD59-A6C34878D82A}">
                    <a16:rowId xmlns:a16="http://schemas.microsoft.com/office/drawing/2014/main" val="377404426"/>
                  </a:ext>
                </a:extLst>
              </a:tr>
              <a:tr h="517200">
                <a:tc>
                  <a:txBody>
                    <a:bodyPr/>
                    <a:lstStyle/>
                    <a:p>
                      <a:pPr algn="l" fontAlgn="b"/>
                      <a:r>
                        <a:rPr lang="en-US" sz="1200" b="1" i="0" u="none" strike="noStrike" dirty="0">
                          <a:solidFill>
                            <a:srgbClr val="000000"/>
                          </a:solidFill>
                          <a:effectLst/>
                          <a:latin typeface="+mn-lt"/>
                        </a:rPr>
                        <a:t>Safety features</a:t>
                      </a:r>
                    </a:p>
                  </a:txBody>
                  <a:tcPr marL="6350" marR="6350" marT="91440" marB="0"/>
                </a:tc>
                <a:tc>
                  <a:txBody>
                    <a:bodyPr/>
                    <a:lstStyle/>
                    <a:p>
                      <a:pPr algn="l" fontAlgn="b"/>
                      <a:r>
                        <a:rPr lang="en-US" sz="1200" b="0" i="0" u="none" strike="noStrike" dirty="0">
                          <a:solidFill>
                            <a:srgbClr val="000000"/>
                          </a:solidFill>
                          <a:effectLst/>
                          <a:latin typeface="+mn-lt"/>
                        </a:rPr>
                        <a:t>Specific ISO, ANSI, and other international color coding for oxygen should be available, as well as inclusion of a safety overpressure release valve.</a:t>
                      </a:r>
                    </a:p>
                  </a:txBody>
                  <a:tcPr marL="6350" marR="6350" marT="91440" marB="0"/>
                </a:tc>
                <a:extLst>
                  <a:ext uri="{0D108BD9-81ED-4DB2-BD59-A6C34878D82A}">
                    <a16:rowId xmlns:a16="http://schemas.microsoft.com/office/drawing/2014/main" val="1436881722"/>
                  </a:ext>
                </a:extLst>
              </a:tr>
            </a:tbl>
          </a:graphicData>
        </a:graphic>
      </p:graphicFrame>
      <p:sp>
        <p:nvSpPr>
          <p:cNvPr id="5" name="TextBox 4">
            <a:extLst>
              <a:ext uri="{FF2B5EF4-FFF2-40B4-BE49-F238E27FC236}">
                <a16:creationId xmlns:a16="http://schemas.microsoft.com/office/drawing/2014/main" id="{61444B99-498B-44E2-91FC-D3A38DDE0531}"/>
              </a:ext>
            </a:extLst>
          </p:cNvPr>
          <p:cNvSpPr txBox="1"/>
          <p:nvPr/>
        </p:nvSpPr>
        <p:spPr>
          <a:xfrm>
            <a:off x="23648" y="6488668"/>
            <a:ext cx="8382000" cy="369332"/>
          </a:xfrm>
          <a:prstGeom prst="rect">
            <a:avLst/>
          </a:prstGeom>
          <a:noFill/>
        </p:spPr>
        <p:txBody>
          <a:bodyPr wrap="square" rtlCol="0">
            <a:spAutoFit/>
          </a:bodyPr>
          <a:lstStyle/>
          <a:p>
            <a:r>
              <a:rPr lang="en-US" sz="900" b="1" dirty="0">
                <a:latin typeface="Calibri" panose="020F0502020204030204" pitchFamily="34" charset="0"/>
              </a:rPr>
              <a:t>Source: Respiratory Care Equipment Market Report. 2020. </a:t>
            </a:r>
          </a:p>
          <a:p>
            <a:r>
              <a:rPr lang="en-US" sz="900" b="1" dirty="0">
                <a:latin typeface="Calibri" panose="020F0502020204030204" pitchFamily="34" charset="0"/>
              </a:rPr>
              <a:t>Link: thttps://path.azureedge.net/media/documents/RespCare_Equipemnt_Market_Report_FINAL_10Dec2020.pdf</a:t>
            </a:r>
          </a:p>
        </p:txBody>
      </p:sp>
    </p:spTree>
    <p:extLst>
      <p:ext uri="{BB962C8B-B14F-4D97-AF65-F5344CB8AC3E}">
        <p14:creationId xmlns:p14="http://schemas.microsoft.com/office/powerpoint/2010/main" val="3413634622"/>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352800" y="2800350"/>
            <a:ext cx="5181600" cy="1257300"/>
          </a:xfrm>
        </p:spPr>
        <p:txBody>
          <a:bodyPr rtlCol="0">
            <a:noAutofit/>
          </a:bodyPr>
          <a:lstStyle/>
          <a:p>
            <a:pPr marL="0" indent="0"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rPr>
              <a:t>Delivery Interface Supplier Landscape </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b="1" dirty="0">
              <a:solidFill>
                <a:schemeClr val="accent2">
                  <a:lumMod val="75000"/>
                </a:schemeClr>
              </a:solidFill>
            </a:endParaRPr>
          </a:p>
        </p:txBody>
      </p:sp>
      <p:pic>
        <p:nvPicPr>
          <p:cNvPr id="4" name="Picture 3">
            <a:extLst>
              <a:ext uri="{FF2B5EF4-FFF2-40B4-BE49-F238E27FC236}">
                <a16:creationId xmlns:a16="http://schemas.microsoft.com/office/drawing/2014/main" id="{805A04AC-B41E-4C32-8777-E573429F6B36}"/>
              </a:ext>
            </a:extLst>
          </p:cNvPr>
          <p:cNvPicPr>
            <a:picLocks noChangeAspect="1"/>
          </p:cNvPicPr>
          <p:nvPr/>
        </p:nvPicPr>
        <p:blipFill>
          <a:blip r:embed="rId3"/>
          <a:stretch>
            <a:fillRect/>
          </a:stretch>
        </p:blipFill>
        <p:spPr>
          <a:xfrm>
            <a:off x="152400" y="1637242"/>
            <a:ext cx="2819400" cy="2472906"/>
          </a:xfrm>
          <a:prstGeom prst="rect">
            <a:avLst/>
          </a:prstGeom>
        </p:spPr>
      </p:pic>
      <p:sp>
        <p:nvSpPr>
          <p:cNvPr id="5" name="Text Placeholder 1">
            <a:extLst>
              <a:ext uri="{FF2B5EF4-FFF2-40B4-BE49-F238E27FC236}">
                <a16:creationId xmlns:a16="http://schemas.microsoft.com/office/drawing/2014/main" id="{AA0C9903-6352-4CEA-AA2A-C0E8028367D3}"/>
              </a:ext>
            </a:extLst>
          </p:cNvPr>
          <p:cNvSpPr txBox="1">
            <a:spLocks/>
          </p:cNvSpPr>
          <p:nvPr/>
        </p:nvSpPr>
        <p:spPr>
          <a:xfrm>
            <a:off x="76200" y="4343400"/>
            <a:ext cx="2971800" cy="1447800"/>
          </a:xfrm>
          <a:prstGeom prst="rect">
            <a:avLst/>
          </a:prstGeom>
        </p:spPr>
        <p:txBody>
          <a:bodyPr anchor="ctr"/>
          <a:lstStyle>
            <a:lvl1pPr marL="68263" indent="-68263"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Char char=" "/>
              <a:defRPr sz="1500" kern="1200">
                <a:solidFill>
                  <a:srgbClr val="404040"/>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algn="ctr">
              <a:lnSpc>
                <a:spcPct val="100000"/>
              </a:lnSpc>
              <a:spcBef>
                <a:spcPts val="0"/>
              </a:spcBef>
              <a:spcAft>
                <a:spcPts val="600"/>
              </a:spcAft>
            </a:pPr>
            <a:r>
              <a:rPr lang="en-US" sz="2400" b="1" spc="-50" dirty="0">
                <a:solidFill>
                  <a:schemeClr val="bg1"/>
                </a:solidFill>
                <a:ea typeface="+mj-ea"/>
                <a:cs typeface="+mj-cs"/>
              </a:rPr>
              <a:t>Oxygen Delivery Devices- </a:t>
            </a:r>
          </a:p>
          <a:p>
            <a:pPr algn="ctr">
              <a:lnSpc>
                <a:spcPct val="100000"/>
              </a:lnSpc>
              <a:spcBef>
                <a:spcPts val="0"/>
              </a:spcBef>
              <a:spcAft>
                <a:spcPts val="600"/>
              </a:spcAft>
            </a:pPr>
            <a:r>
              <a:rPr lang="en-US" sz="2400" b="1" spc="-50" dirty="0">
                <a:solidFill>
                  <a:schemeClr val="bg1"/>
                </a:solidFill>
                <a:ea typeface="+mj-ea"/>
                <a:cs typeface="+mj-cs"/>
              </a:rPr>
              <a:t>Nasal Cannula, Venturi masks, </a:t>
            </a:r>
            <a:r>
              <a:rPr lang="en-US" sz="2400" b="1" spc="-50" dirty="0" err="1">
                <a:solidFill>
                  <a:schemeClr val="bg1"/>
                </a:solidFill>
                <a:ea typeface="+mj-ea"/>
                <a:cs typeface="+mj-cs"/>
              </a:rPr>
              <a:t>etc</a:t>
            </a:r>
            <a:endParaRPr lang="en-US" sz="2400" b="1" spc="-50" dirty="0">
              <a:solidFill>
                <a:schemeClr val="bg1"/>
              </a:solidFill>
              <a:ea typeface="+mj-ea"/>
              <a:cs typeface="+mj-cs"/>
            </a:endParaRPr>
          </a:p>
        </p:txBody>
      </p:sp>
    </p:spTree>
    <p:extLst>
      <p:ext uri="{BB962C8B-B14F-4D97-AF65-F5344CB8AC3E}">
        <p14:creationId xmlns:p14="http://schemas.microsoft.com/office/powerpoint/2010/main" val="331005643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6666CA-7D6A-4712-B2B3-809DB8A28587}"/>
              </a:ext>
            </a:extLst>
          </p:cNvPr>
          <p:cNvSpPr>
            <a:spLocks noGrp="1"/>
          </p:cNvSpPr>
          <p:nvPr>
            <p:ph type="body" sz="quarter" idx="14"/>
          </p:nvPr>
        </p:nvSpPr>
        <p:spPr>
          <a:xfrm>
            <a:off x="857250" y="963460"/>
            <a:ext cx="3714749" cy="762384"/>
          </a:xfrm>
          <a:ln>
            <a:noFill/>
          </a:ln>
        </p:spPr>
        <p:txBody>
          <a:bodyPr/>
          <a:lstStyle/>
          <a:p>
            <a:r>
              <a:rPr lang="en-US" dirty="0">
                <a:solidFill>
                  <a:schemeClr val="accent2">
                    <a:lumMod val="75000"/>
                  </a:schemeClr>
                </a:solidFill>
              </a:rPr>
              <a:t>Considerations for Product Deployment </a:t>
            </a:r>
          </a:p>
          <a:p>
            <a:endParaRPr lang="en-US" dirty="0">
              <a:solidFill>
                <a:schemeClr val="accent2">
                  <a:lumMod val="75000"/>
                </a:schemeClr>
              </a:solidFill>
            </a:endParaRPr>
          </a:p>
        </p:txBody>
      </p:sp>
      <p:sp>
        <p:nvSpPr>
          <p:cNvPr id="7" name="Text Placeholder 6">
            <a:extLst>
              <a:ext uri="{FF2B5EF4-FFF2-40B4-BE49-F238E27FC236}">
                <a16:creationId xmlns:a16="http://schemas.microsoft.com/office/drawing/2014/main" id="{F2268F0D-FA62-4F5C-B240-BF76CFF07AF1}"/>
              </a:ext>
            </a:extLst>
          </p:cNvPr>
          <p:cNvSpPr>
            <a:spLocks noGrp="1"/>
          </p:cNvSpPr>
          <p:nvPr>
            <p:ph type="body" sz="quarter" idx="15"/>
          </p:nvPr>
        </p:nvSpPr>
        <p:spPr>
          <a:xfrm>
            <a:off x="857250" y="1905000"/>
            <a:ext cx="3574444" cy="4191000"/>
          </a:xfrm>
        </p:spPr>
        <p:txBody>
          <a:bodyPr/>
          <a:lstStyle/>
          <a:p>
            <a:pPr marL="274320" indent="-274320" algn="just">
              <a:lnSpc>
                <a:spcPct val="100000"/>
              </a:lnSpc>
              <a:spcAft>
                <a:spcPts val="1200"/>
              </a:spcAft>
              <a:buClr>
                <a:schemeClr val="accent2"/>
              </a:buClr>
              <a:buFont typeface="Wingdings" panose="05000000000000000000" pitchFamily="2" charset="2"/>
              <a:buChar char="q"/>
            </a:pPr>
            <a:r>
              <a:rPr lang="en-US" sz="1500" dirty="0">
                <a:solidFill>
                  <a:schemeClr val="accent2">
                    <a:lumMod val="75000"/>
                  </a:schemeClr>
                </a:solidFill>
              </a:rPr>
              <a:t>Three oxygen delivery interfaces </a:t>
            </a:r>
            <a:r>
              <a:rPr lang="en-US" sz="1500" dirty="0"/>
              <a:t>have been indicated as priority medical devices in the treatment of severe COVID-19 patients and patients with other respiratory diseases. They serve to deliver oxygen to patients in a variety of ways: </a:t>
            </a:r>
          </a:p>
          <a:p>
            <a:pPr marL="573088" lvl="1" indent="-285750" algn="just">
              <a:lnSpc>
                <a:spcPct val="100000"/>
              </a:lnSpc>
              <a:spcBef>
                <a:spcPts val="0"/>
              </a:spcBef>
              <a:spcAft>
                <a:spcPts val="600"/>
              </a:spcAft>
              <a:buClr>
                <a:schemeClr val="accent2"/>
              </a:buClr>
              <a:buFont typeface="Wingdings" panose="05000000000000000000" pitchFamily="2" charset="2"/>
              <a:buChar char="§"/>
            </a:pPr>
            <a:r>
              <a:rPr lang="en-US" sz="1500" b="1" u="sng" dirty="0">
                <a:solidFill>
                  <a:schemeClr val="accent2">
                    <a:lumMod val="75000"/>
                  </a:schemeClr>
                </a:solidFill>
              </a:rPr>
              <a:t>Nasal cannulas</a:t>
            </a:r>
            <a:r>
              <a:rPr lang="en-US" sz="1500" b="1" dirty="0">
                <a:solidFill>
                  <a:schemeClr val="accent2">
                    <a:lumMod val="75000"/>
                  </a:schemeClr>
                </a:solidFill>
              </a:rPr>
              <a:t> </a:t>
            </a:r>
            <a:r>
              <a:rPr lang="en-US" sz="1500" dirty="0"/>
              <a:t>are single-use, nonsterile devices that deliver oxygen through the nasal cavity when connected to an oxygen source; </a:t>
            </a:r>
          </a:p>
          <a:p>
            <a:pPr marL="573088" lvl="1" indent="-285750" algn="just">
              <a:lnSpc>
                <a:spcPct val="100000"/>
              </a:lnSpc>
              <a:spcBef>
                <a:spcPts val="0"/>
              </a:spcBef>
              <a:spcAft>
                <a:spcPts val="600"/>
              </a:spcAft>
              <a:buClr>
                <a:schemeClr val="accent2"/>
              </a:buClr>
              <a:buFont typeface="Wingdings" panose="05000000000000000000" pitchFamily="2" charset="2"/>
              <a:buChar char="§"/>
            </a:pPr>
            <a:r>
              <a:rPr lang="en-US" sz="1500" b="1" u="sng" dirty="0">
                <a:solidFill>
                  <a:schemeClr val="accent2">
                    <a:lumMod val="75000"/>
                  </a:schemeClr>
                </a:solidFill>
              </a:rPr>
              <a:t>Venturi masks</a:t>
            </a:r>
            <a:r>
              <a:rPr lang="en-US" sz="1500" b="1" dirty="0">
                <a:solidFill>
                  <a:schemeClr val="accent2">
                    <a:lumMod val="75000"/>
                  </a:schemeClr>
                </a:solidFill>
              </a:rPr>
              <a:t> </a:t>
            </a:r>
            <a:r>
              <a:rPr lang="en-US" sz="1500" dirty="0"/>
              <a:t>provide total inspiratory flow at a prespecified fraction of inspired oxygen; and </a:t>
            </a:r>
          </a:p>
          <a:p>
            <a:pPr marL="573088" lvl="1" indent="-285750" algn="just">
              <a:lnSpc>
                <a:spcPct val="100000"/>
              </a:lnSpc>
              <a:spcBef>
                <a:spcPts val="0"/>
              </a:spcBef>
              <a:spcAft>
                <a:spcPts val="600"/>
              </a:spcAft>
              <a:buClr>
                <a:schemeClr val="accent2"/>
              </a:buClr>
              <a:buFont typeface="Wingdings" panose="05000000000000000000" pitchFamily="2" charset="2"/>
              <a:buChar char="§"/>
            </a:pPr>
            <a:r>
              <a:rPr lang="en-US" sz="1500" b="1" u="sng" dirty="0">
                <a:solidFill>
                  <a:schemeClr val="accent2">
                    <a:lumMod val="75000"/>
                  </a:schemeClr>
                </a:solidFill>
              </a:rPr>
              <a:t>Masks with reservoir bags </a:t>
            </a:r>
            <a:r>
              <a:rPr lang="en-US" sz="1500" dirty="0"/>
              <a:t>deliver higher concentrations of oxygen directly to the upper airway of the patient.</a:t>
            </a:r>
            <a:endParaRPr lang="en-US" sz="1500" u="sng" dirty="0">
              <a:solidFill>
                <a:schemeClr val="accent1">
                  <a:lumMod val="75000"/>
                </a:schemeClr>
              </a:solidFill>
            </a:endParaRPr>
          </a:p>
        </p:txBody>
      </p:sp>
      <p:sp>
        <p:nvSpPr>
          <p:cNvPr id="8" name="Text Placeholder 5">
            <a:extLst>
              <a:ext uri="{FF2B5EF4-FFF2-40B4-BE49-F238E27FC236}">
                <a16:creationId xmlns:a16="http://schemas.microsoft.com/office/drawing/2014/main" id="{7119310A-7B46-499A-9424-086F407A3F64}"/>
              </a:ext>
            </a:extLst>
          </p:cNvPr>
          <p:cNvSpPr txBox="1">
            <a:spLocks/>
          </p:cNvSpPr>
          <p:nvPr/>
        </p:nvSpPr>
        <p:spPr bwMode="auto">
          <a:xfrm>
            <a:off x="4571999" y="963460"/>
            <a:ext cx="3714749" cy="76238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None/>
              <a:defRPr sz="2400" kern="1200">
                <a:solidFill>
                  <a:schemeClr val="accent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r>
              <a:rPr kumimoji="0" lang="en-US" sz="2400" i="0" u="none" strike="noStrike" kern="1200" cap="none" spc="0" normalizeH="0" baseline="0" noProof="0" dirty="0">
                <a:ln>
                  <a:noFill/>
                </a:ln>
                <a:solidFill>
                  <a:schemeClr val="accent2">
                    <a:lumMod val="75000"/>
                  </a:schemeClr>
                </a:solidFill>
                <a:effectLst/>
                <a:uLnTx/>
                <a:uFillTx/>
              </a:rPr>
              <a:t>Considerations for Product Selection </a:t>
            </a:r>
          </a:p>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endParaRPr kumimoji="0" lang="en-US" sz="2400" i="0" u="none" strike="noStrike" kern="1200" cap="none" spc="0" normalizeH="0" baseline="0" noProof="0" dirty="0">
              <a:ln>
                <a:noFill/>
              </a:ln>
              <a:solidFill>
                <a:schemeClr val="accent2">
                  <a:lumMod val="75000"/>
                </a:schemeClr>
              </a:solidFill>
              <a:effectLst/>
              <a:uLnTx/>
              <a:uFillTx/>
            </a:endParaRPr>
          </a:p>
        </p:txBody>
      </p:sp>
      <p:sp>
        <p:nvSpPr>
          <p:cNvPr id="9" name="Text Placeholder 6">
            <a:extLst>
              <a:ext uri="{FF2B5EF4-FFF2-40B4-BE49-F238E27FC236}">
                <a16:creationId xmlns:a16="http://schemas.microsoft.com/office/drawing/2014/main" id="{8A01158F-55FB-4811-B206-077F5614E8D7}"/>
              </a:ext>
            </a:extLst>
          </p:cNvPr>
          <p:cNvSpPr txBox="1">
            <a:spLocks/>
          </p:cNvSpPr>
          <p:nvPr/>
        </p:nvSpPr>
        <p:spPr bwMode="auto">
          <a:xfrm>
            <a:off x="4705000" y="1905000"/>
            <a:ext cx="3714746"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0"/>
              </a:spcBef>
              <a:spcAft>
                <a:spcPts val="1350"/>
              </a:spcAft>
              <a:buClr>
                <a:schemeClr val="accent1"/>
              </a:buClr>
              <a:buSzPct val="100000"/>
              <a:buFont typeface="Calibri" panose="020F0502020204030204" pitchFamily="34" charset="0"/>
              <a:buNone/>
              <a:defRPr sz="1200" kern="1200">
                <a:solidFill>
                  <a:schemeClr val="tx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274320" marR="0" lvl="0" indent="-274320" algn="just" defTabSz="685800" rtl="0" eaLnBrk="0" fontAlgn="base" latinLnBrk="0" hangingPunct="0">
              <a:lnSpc>
                <a:spcPct val="100000"/>
              </a:lnSpc>
              <a:spcBef>
                <a:spcPts val="0"/>
              </a:spcBef>
              <a:spcAft>
                <a:spcPts val="600"/>
              </a:spcAft>
              <a:buClr>
                <a:schemeClr val="accent2"/>
              </a:buClr>
              <a:buSzPct val="100000"/>
              <a:buFont typeface="Wingdings" panose="05000000000000000000" pitchFamily="2" charset="2"/>
              <a:buChar char="q"/>
              <a:tabLst/>
              <a:defRPr/>
            </a:pPr>
            <a:r>
              <a:rPr kumimoji="0" lang="en-US" sz="1500" b="0" i="0" u="none" strike="noStrike" kern="1200" cap="none" spc="0" normalizeH="0" baseline="0" noProof="0" dirty="0">
                <a:ln>
                  <a:noFill/>
                </a:ln>
                <a:solidFill>
                  <a:prstClr val="black"/>
                </a:solidFill>
                <a:effectLst/>
                <a:uLnTx/>
                <a:uFillTx/>
              </a:rPr>
              <a:t>Selection Criteria:</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1CADE4">
                    <a:lumMod val="75000"/>
                  </a:srgbClr>
                </a:solidFill>
                <a:effectLst/>
                <a:uLnTx/>
                <a:uFillTx/>
              </a:rPr>
              <a:t>Quality</a:t>
            </a:r>
            <a:r>
              <a:rPr kumimoji="0" lang="en-US" sz="1500" b="0" i="0" u="none" strike="noStrike" kern="1200" cap="none" spc="0" normalizeH="0" baseline="0" noProof="0" dirty="0">
                <a:ln>
                  <a:noFill/>
                </a:ln>
                <a:solidFill>
                  <a:srgbClr val="404040"/>
                </a:solidFill>
                <a:effectLst/>
                <a:uLnTx/>
                <a:uFillTx/>
              </a:rPr>
              <a:t>: Certifications and Registration;</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1CADE4">
                    <a:lumMod val="75000"/>
                  </a:srgbClr>
                </a:solidFill>
                <a:effectLst/>
                <a:uLnTx/>
                <a:uFillTx/>
              </a:rPr>
              <a:t>Ability to service the market</a:t>
            </a:r>
            <a:r>
              <a:rPr kumimoji="0" lang="en-US" sz="1500" b="0" i="0" u="none" strike="noStrike" kern="1200" cap="none" spc="0" normalizeH="0" baseline="0" noProof="0" dirty="0">
                <a:ln>
                  <a:noFill/>
                </a:ln>
                <a:solidFill>
                  <a:srgbClr val="404040"/>
                </a:solidFill>
                <a:effectLst/>
                <a:uLnTx/>
                <a:uFillTx/>
              </a:rPr>
              <a:t>: Production Capability;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1CADE4">
                    <a:lumMod val="75000"/>
                  </a:srgbClr>
                </a:solidFill>
                <a:effectLst/>
                <a:uLnTx/>
                <a:uFillTx/>
              </a:rPr>
              <a:t>Functional Requirements</a:t>
            </a:r>
            <a:r>
              <a:rPr kumimoji="0" lang="en-US" sz="1500" b="0" i="0" u="none" strike="noStrike" kern="1200" cap="none" spc="0" normalizeH="0" baseline="0" noProof="0" dirty="0">
                <a:ln>
                  <a:noFill/>
                </a:ln>
                <a:solidFill>
                  <a:srgbClr val="404040"/>
                </a:solidFill>
                <a:effectLst/>
                <a:uLnTx/>
                <a:uFillTx/>
              </a:rPr>
              <a:t>: Critical elements for use;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1CADE4">
                    <a:lumMod val="75000"/>
                  </a:srgbClr>
                </a:solidFill>
                <a:effectLst/>
                <a:uLnTx/>
                <a:uFillTx/>
              </a:rPr>
              <a:t>Operational Requirement</a:t>
            </a:r>
            <a:r>
              <a:rPr kumimoji="0" lang="en-US" sz="1500" b="0" i="0" u="none" strike="noStrike" kern="1200" cap="none" spc="0" normalizeH="0" baseline="0" noProof="0" dirty="0">
                <a:ln>
                  <a:noFill/>
                </a:ln>
                <a:solidFill>
                  <a:srgbClr val="404040"/>
                </a:solidFill>
                <a:effectLst/>
                <a:uLnTx/>
                <a:uFillTx/>
              </a:rPr>
              <a:t>s: Capability to use in surrounding environments;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500" b="0" i="0" u="none" strike="noStrike" kern="1200" cap="none" spc="0" normalizeH="0" baseline="0" noProof="0" dirty="0">
                <a:ln>
                  <a:noFill/>
                </a:ln>
                <a:solidFill>
                  <a:srgbClr val="1CADE4">
                    <a:lumMod val="75000"/>
                  </a:srgbClr>
                </a:solidFill>
                <a:effectLst/>
                <a:uLnTx/>
                <a:uFillTx/>
              </a:rPr>
              <a:t>Price</a:t>
            </a:r>
            <a:r>
              <a:rPr kumimoji="0" lang="en-US" sz="1500" b="0" i="0" u="none" strike="noStrike" kern="1200" cap="none" spc="0" normalizeH="0" baseline="0" noProof="0" dirty="0">
                <a:ln>
                  <a:noFill/>
                </a:ln>
                <a:solidFill>
                  <a:srgbClr val="404040"/>
                </a:solidFill>
                <a:effectLst/>
                <a:uLnTx/>
                <a:uFillTx/>
              </a:rPr>
              <a:t>: Competitive pricing, prepayment, and potential procurement.</a:t>
            </a:r>
          </a:p>
          <a:p>
            <a:pPr marL="573088" marR="0" lvl="1" indent="-285750" algn="just" defTabSz="685800" rtl="0" eaLnBrk="0" fontAlgn="base" latinLnBrk="0" hangingPunct="0">
              <a:lnSpc>
                <a:spcPct val="100000"/>
              </a:lnSpc>
              <a:spcBef>
                <a:spcPts val="0"/>
              </a:spcBef>
              <a:spcAft>
                <a:spcPts val="600"/>
              </a:spcAft>
              <a:buClr>
                <a:srgbClr val="1CADE4">
                  <a:lumMod val="75000"/>
                </a:srgbClr>
              </a:buClr>
              <a:buSzTx/>
              <a:buFont typeface="Wingdings" panose="05000000000000000000" pitchFamily="2" charset="2"/>
              <a:buChar char="Ø"/>
              <a:tabLst/>
              <a:defRPr/>
            </a:pPr>
            <a:endParaRPr kumimoji="0" lang="en-US" sz="1500" b="0" i="0" u="none" strike="noStrike" kern="1200" cap="none" spc="0" normalizeH="0" baseline="0" noProof="0" dirty="0">
              <a:ln>
                <a:noFill/>
              </a:ln>
              <a:solidFill>
                <a:srgbClr val="404040"/>
              </a:solidFill>
              <a:effectLst/>
              <a:uLnTx/>
              <a:uFillTx/>
            </a:endParaRPr>
          </a:p>
          <a:p>
            <a:pPr marL="287338" marR="0" lvl="1" indent="0" algn="just" defTabSz="685800" rtl="0" eaLnBrk="0" fontAlgn="base" latinLnBrk="0" hangingPunct="0">
              <a:lnSpc>
                <a:spcPct val="100000"/>
              </a:lnSpc>
              <a:spcBef>
                <a:spcPts val="0"/>
              </a:spcBef>
              <a:spcAft>
                <a:spcPts val="600"/>
              </a:spcAft>
              <a:buClr>
                <a:srgbClr val="1CADE4">
                  <a:lumMod val="75000"/>
                </a:srgbClr>
              </a:buClr>
              <a:buSzTx/>
              <a:buFont typeface="Calibri" panose="020F0502020204030204" pitchFamily="34" charset="0"/>
              <a:buNone/>
              <a:tabLst/>
              <a:defRPr/>
            </a:pPr>
            <a:endParaRPr kumimoji="0" lang="en-US" sz="1500" b="0" i="0" u="sng" strike="noStrike" kern="1200" cap="none" spc="0" normalizeH="0" baseline="0" noProof="0" dirty="0">
              <a:ln>
                <a:noFill/>
              </a:ln>
              <a:solidFill>
                <a:srgbClr val="404040"/>
              </a:solidFill>
              <a:effectLst/>
              <a:uLnTx/>
              <a:uFillTx/>
            </a:endParaRPr>
          </a:p>
        </p:txBody>
      </p:sp>
      <p:cxnSp>
        <p:nvCxnSpPr>
          <p:cNvPr id="11" name="Straight Connector 10">
            <a:extLst>
              <a:ext uri="{FF2B5EF4-FFF2-40B4-BE49-F238E27FC236}">
                <a16:creationId xmlns:a16="http://schemas.microsoft.com/office/drawing/2014/main" id="{53CF1ED1-424A-438B-B2A7-0F54D96C3125}"/>
              </a:ext>
            </a:extLst>
          </p:cNvPr>
          <p:cNvCxnSpPr>
            <a:cxnSpLocks/>
          </p:cNvCxnSpPr>
          <p:nvPr/>
        </p:nvCxnSpPr>
        <p:spPr>
          <a:xfrm>
            <a:off x="4572000" y="2057400"/>
            <a:ext cx="0" cy="3886200"/>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35133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27D04E9-0A03-4952-81F8-61F17FD7D26C}"/>
              </a:ext>
            </a:extLst>
          </p:cNvPr>
          <p:cNvSpPr>
            <a:spLocks noGrp="1"/>
          </p:cNvSpPr>
          <p:nvPr>
            <p:ph type="title"/>
          </p:nvPr>
        </p:nvSpPr>
        <p:spPr/>
        <p:txBody>
          <a:bodyPr>
            <a:normAutofit/>
          </a:bodyPr>
          <a:lstStyle/>
          <a:p>
            <a:pPr algn="ctr"/>
            <a:r>
              <a:rPr lang="en-US" sz="2800" dirty="0">
                <a:solidFill>
                  <a:schemeClr val="accent2">
                    <a:lumMod val="75000"/>
                  </a:schemeClr>
                </a:solidFill>
                <a:latin typeface="+mn-lt"/>
              </a:rPr>
              <a:t>Following Product Requirements May Impact The Number Of Models Available For Procurement</a:t>
            </a:r>
          </a:p>
        </p:txBody>
      </p:sp>
      <p:graphicFrame>
        <p:nvGraphicFramePr>
          <p:cNvPr id="8" name="Table 8">
            <a:extLst>
              <a:ext uri="{FF2B5EF4-FFF2-40B4-BE49-F238E27FC236}">
                <a16:creationId xmlns:a16="http://schemas.microsoft.com/office/drawing/2014/main" id="{7732F27D-8969-4068-91AE-E8BCBB6B7190}"/>
              </a:ext>
            </a:extLst>
          </p:cNvPr>
          <p:cNvGraphicFramePr>
            <a:graphicFrameLocks noGrp="1"/>
          </p:cNvGraphicFramePr>
          <p:nvPr>
            <p:ph sz="half" idx="4294967295"/>
            <p:extLst>
              <p:ext uri="{D42A27DB-BD31-4B8C-83A1-F6EECF244321}">
                <p14:modId xmlns:p14="http://schemas.microsoft.com/office/powerpoint/2010/main" val="298500115"/>
              </p:ext>
            </p:extLst>
          </p:nvPr>
        </p:nvGraphicFramePr>
        <p:xfrm>
          <a:off x="990600" y="2362200"/>
          <a:ext cx="7375526" cy="1524000"/>
        </p:xfrm>
        <a:graphic>
          <a:graphicData uri="http://schemas.openxmlformats.org/drawingml/2006/table">
            <a:tbl>
              <a:tblPr firstRow="1" bandRow="1">
                <a:tableStyleId>{0660B408-B3CF-4A94-85FC-2B1E0A45F4A2}</a:tableStyleId>
              </a:tblPr>
              <a:tblGrid>
                <a:gridCol w="2007822">
                  <a:extLst>
                    <a:ext uri="{9D8B030D-6E8A-4147-A177-3AD203B41FA5}">
                      <a16:colId xmlns:a16="http://schemas.microsoft.com/office/drawing/2014/main" val="618828795"/>
                    </a:ext>
                  </a:extLst>
                </a:gridCol>
                <a:gridCol w="5367704">
                  <a:extLst>
                    <a:ext uri="{9D8B030D-6E8A-4147-A177-3AD203B41FA5}">
                      <a16:colId xmlns:a16="http://schemas.microsoft.com/office/drawing/2014/main" val="4108787759"/>
                    </a:ext>
                  </a:extLst>
                </a:gridCol>
              </a:tblGrid>
              <a:tr h="789709">
                <a:tc>
                  <a:txBody>
                    <a:bodyPr/>
                    <a:lstStyle/>
                    <a:p>
                      <a:r>
                        <a:rPr lang="en-US" sz="1400" dirty="0">
                          <a:latin typeface="+mj-lt"/>
                        </a:rPr>
                        <a:t>Product requirements</a:t>
                      </a:r>
                    </a:p>
                  </a:txBody>
                  <a:tcPr anchor="ctr"/>
                </a:tc>
                <a:tc>
                  <a:txBody>
                    <a:bodyPr/>
                    <a:lstStyle/>
                    <a:p>
                      <a:pPr algn="ctr"/>
                      <a:r>
                        <a:rPr lang="en-US" sz="1400" dirty="0">
                          <a:latin typeface="+mj-lt"/>
                        </a:rPr>
                        <a:t>Details</a:t>
                      </a:r>
                    </a:p>
                  </a:txBody>
                  <a:tcPr anchor="ctr"/>
                </a:tc>
                <a:extLst>
                  <a:ext uri="{0D108BD9-81ED-4DB2-BD59-A6C34878D82A}">
                    <a16:rowId xmlns:a16="http://schemas.microsoft.com/office/drawing/2014/main" val="125287569"/>
                  </a:ext>
                </a:extLst>
              </a:tr>
              <a:tr h="734291">
                <a:tc>
                  <a:txBody>
                    <a:bodyPr/>
                    <a:lstStyle/>
                    <a:p>
                      <a:pPr algn="l" fontAlgn="b"/>
                      <a:r>
                        <a:rPr lang="en-US" sz="1400" b="1" i="0" u="none" strike="noStrike" dirty="0">
                          <a:solidFill>
                            <a:srgbClr val="000000"/>
                          </a:solidFill>
                          <a:effectLst/>
                          <a:latin typeface="+mn-lt"/>
                        </a:rPr>
                        <a:t>CE/FDA marking</a:t>
                      </a:r>
                    </a:p>
                  </a:txBody>
                  <a:tcPr marL="6350" marR="6350" marT="91440" marB="0"/>
                </a:tc>
                <a:tc>
                  <a:txBody>
                    <a:bodyPr/>
                    <a:lstStyle/>
                    <a:p>
                      <a:pPr algn="l" fontAlgn="b"/>
                      <a:r>
                        <a:rPr lang="en-US" sz="1400" dirty="0"/>
                        <a:t>In some countries, including China, delivery interfaces fall under a class of products where CE and FDA compliance is self-certified and/or optional.</a:t>
                      </a:r>
                      <a:endParaRPr lang="en-US" sz="1400" b="0" i="0" u="none" strike="noStrike" dirty="0">
                        <a:solidFill>
                          <a:srgbClr val="000000"/>
                        </a:solidFill>
                        <a:effectLst/>
                        <a:latin typeface="+mn-lt"/>
                      </a:endParaRPr>
                    </a:p>
                  </a:txBody>
                  <a:tcPr marL="6350" marR="6350" marT="91440" marB="0"/>
                </a:tc>
                <a:extLst>
                  <a:ext uri="{0D108BD9-81ED-4DB2-BD59-A6C34878D82A}">
                    <a16:rowId xmlns:a16="http://schemas.microsoft.com/office/drawing/2014/main" val="1550421245"/>
                  </a:ext>
                </a:extLst>
              </a:tr>
            </a:tbl>
          </a:graphicData>
        </a:graphic>
      </p:graphicFrame>
      <p:sp>
        <p:nvSpPr>
          <p:cNvPr id="5" name="TextBox 4">
            <a:extLst>
              <a:ext uri="{FF2B5EF4-FFF2-40B4-BE49-F238E27FC236}">
                <a16:creationId xmlns:a16="http://schemas.microsoft.com/office/drawing/2014/main" id="{FB8972C1-07A0-409B-A39F-E2B3C32A5ED0}"/>
              </a:ext>
            </a:extLst>
          </p:cNvPr>
          <p:cNvSpPr txBox="1"/>
          <p:nvPr/>
        </p:nvSpPr>
        <p:spPr>
          <a:xfrm>
            <a:off x="0" y="6475530"/>
            <a:ext cx="7315200" cy="369332"/>
          </a:xfrm>
          <a:prstGeom prst="rect">
            <a:avLst/>
          </a:prstGeom>
          <a:noFill/>
        </p:spPr>
        <p:txBody>
          <a:bodyPr wrap="square" rtlCol="0">
            <a:spAutoFit/>
          </a:bodyPr>
          <a:lstStyle/>
          <a:p>
            <a:r>
              <a:rPr lang="en-US" sz="900" b="1" dirty="0">
                <a:latin typeface="+mn-lt"/>
              </a:rPr>
              <a:t>Source: Respiratory Care Equipment Market Report. 2020. </a:t>
            </a:r>
          </a:p>
          <a:p>
            <a:r>
              <a:rPr lang="en-US" sz="900" b="1" dirty="0">
                <a:latin typeface="+mn-lt"/>
              </a:rPr>
              <a:t>Link: thttps://path.azureedge.net/media/documents/RespCare_Equipemnt_Market_Report_FINAL_10Dec2020.pdf</a:t>
            </a:r>
          </a:p>
        </p:txBody>
      </p:sp>
    </p:spTree>
    <p:extLst>
      <p:ext uri="{BB962C8B-B14F-4D97-AF65-F5344CB8AC3E}">
        <p14:creationId xmlns:p14="http://schemas.microsoft.com/office/powerpoint/2010/main" val="308449219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124200" y="2505075"/>
            <a:ext cx="5334000" cy="1847850"/>
          </a:xfrm>
        </p:spPr>
        <p:txBody>
          <a:bodyPr rtlCol="0">
            <a:noAutofit/>
          </a:bodyPr>
          <a:lstStyle/>
          <a:p>
            <a:pPr marL="0" indent="0"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rPr>
              <a:t>Handheld Pulse Oximeter Supplier Landscape </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b="1" dirty="0">
              <a:solidFill>
                <a:schemeClr val="accent2">
                  <a:lumMod val="75000"/>
                </a:schemeClr>
              </a:solidFill>
            </a:endParaRPr>
          </a:p>
        </p:txBody>
      </p:sp>
      <p:pic>
        <p:nvPicPr>
          <p:cNvPr id="4" name="Picture 3">
            <a:extLst>
              <a:ext uri="{FF2B5EF4-FFF2-40B4-BE49-F238E27FC236}">
                <a16:creationId xmlns:a16="http://schemas.microsoft.com/office/drawing/2014/main" id="{7395C691-43D8-4133-B00B-D361190D31B9}"/>
              </a:ext>
            </a:extLst>
          </p:cNvPr>
          <p:cNvPicPr>
            <a:picLocks noChangeAspect="1"/>
          </p:cNvPicPr>
          <p:nvPr/>
        </p:nvPicPr>
        <p:blipFill>
          <a:blip r:embed="rId3"/>
          <a:stretch>
            <a:fillRect/>
          </a:stretch>
        </p:blipFill>
        <p:spPr>
          <a:xfrm>
            <a:off x="292674" y="1676400"/>
            <a:ext cx="2559522" cy="2817423"/>
          </a:xfrm>
          <a:prstGeom prst="rect">
            <a:avLst/>
          </a:prstGeom>
        </p:spPr>
      </p:pic>
      <p:sp>
        <p:nvSpPr>
          <p:cNvPr id="6" name="TextBox 5">
            <a:extLst>
              <a:ext uri="{FF2B5EF4-FFF2-40B4-BE49-F238E27FC236}">
                <a16:creationId xmlns:a16="http://schemas.microsoft.com/office/drawing/2014/main" id="{69A097BA-E1E1-4C16-8907-F02FB720FA44}"/>
              </a:ext>
            </a:extLst>
          </p:cNvPr>
          <p:cNvSpPr txBox="1"/>
          <p:nvPr/>
        </p:nvSpPr>
        <p:spPr>
          <a:xfrm>
            <a:off x="685799" y="4724400"/>
            <a:ext cx="1801035" cy="954107"/>
          </a:xfrm>
          <a:prstGeom prst="rect">
            <a:avLst/>
          </a:prstGeom>
          <a:noFill/>
        </p:spPr>
        <p:txBody>
          <a:bodyPr wrap="square">
            <a:spAutoFit/>
          </a:bodyPr>
          <a:lstStyle/>
          <a:p>
            <a:pPr algn="ctr"/>
            <a:r>
              <a:rPr lang="en-US" sz="2800" b="1" dirty="0">
                <a:solidFill>
                  <a:schemeClr val="bg1"/>
                </a:solidFill>
                <a:latin typeface="+mn-lt"/>
              </a:rPr>
              <a:t>Handheld </a:t>
            </a:r>
            <a:r>
              <a:rPr lang="en-US" sz="2800" b="1" dirty="0" err="1">
                <a:solidFill>
                  <a:schemeClr val="bg1"/>
                </a:solidFill>
                <a:latin typeface="+mn-lt"/>
              </a:rPr>
              <a:t>POx</a:t>
            </a:r>
            <a:endParaRPr lang="en-US" sz="2800" b="1" dirty="0">
              <a:solidFill>
                <a:schemeClr val="bg1"/>
              </a:solidFill>
              <a:latin typeface="+mn-lt"/>
            </a:endParaRPr>
          </a:p>
        </p:txBody>
      </p:sp>
    </p:spTree>
    <p:extLst>
      <p:ext uri="{BB962C8B-B14F-4D97-AF65-F5344CB8AC3E}">
        <p14:creationId xmlns:p14="http://schemas.microsoft.com/office/powerpoint/2010/main" val="2929277582"/>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6666CA-7D6A-4712-B2B3-809DB8A28587}"/>
              </a:ext>
            </a:extLst>
          </p:cNvPr>
          <p:cNvSpPr>
            <a:spLocks noGrp="1"/>
          </p:cNvSpPr>
          <p:nvPr>
            <p:ph type="body" sz="quarter" idx="14"/>
          </p:nvPr>
        </p:nvSpPr>
        <p:spPr>
          <a:xfrm>
            <a:off x="857250" y="990216"/>
            <a:ext cx="3714746" cy="762384"/>
          </a:xfrm>
          <a:ln>
            <a:noFill/>
          </a:ln>
        </p:spPr>
        <p:txBody>
          <a:bodyPr/>
          <a:lstStyle/>
          <a:p>
            <a:r>
              <a:rPr lang="en-US" dirty="0">
                <a:solidFill>
                  <a:schemeClr val="accent2">
                    <a:lumMod val="75000"/>
                  </a:schemeClr>
                </a:solidFill>
                <a:latin typeface="Calibri" panose="020F0502020204030204" pitchFamily="34" charset="0"/>
              </a:rPr>
              <a:t>Considerations for Product Deployment </a:t>
            </a:r>
          </a:p>
          <a:p>
            <a:endParaRPr lang="en-US" dirty="0">
              <a:solidFill>
                <a:schemeClr val="accent2">
                  <a:lumMod val="75000"/>
                </a:schemeClr>
              </a:solidFill>
              <a:latin typeface="Calibri" panose="020F0502020204030204" pitchFamily="34" charset="0"/>
            </a:endParaRPr>
          </a:p>
        </p:txBody>
      </p:sp>
      <p:sp>
        <p:nvSpPr>
          <p:cNvPr id="7" name="Text Placeholder 6">
            <a:extLst>
              <a:ext uri="{FF2B5EF4-FFF2-40B4-BE49-F238E27FC236}">
                <a16:creationId xmlns:a16="http://schemas.microsoft.com/office/drawing/2014/main" id="{F2268F0D-FA62-4F5C-B240-BF76CFF07AF1}"/>
              </a:ext>
            </a:extLst>
          </p:cNvPr>
          <p:cNvSpPr>
            <a:spLocks noGrp="1"/>
          </p:cNvSpPr>
          <p:nvPr>
            <p:ph type="body" sz="quarter" idx="15"/>
          </p:nvPr>
        </p:nvSpPr>
        <p:spPr>
          <a:xfrm>
            <a:off x="857250" y="1981200"/>
            <a:ext cx="3551907" cy="3581400"/>
          </a:xfrm>
        </p:spPr>
        <p:txBody>
          <a:bodyPr/>
          <a:lstStyle/>
          <a:p>
            <a:pPr marL="274320" indent="-274320" algn="just">
              <a:lnSpc>
                <a:spcPct val="100000"/>
              </a:lnSpc>
              <a:spcAft>
                <a:spcPts val="1200"/>
              </a:spcAft>
              <a:buClr>
                <a:schemeClr val="accent2"/>
              </a:buClr>
              <a:buFont typeface="Wingdings" panose="05000000000000000000" pitchFamily="2" charset="2"/>
              <a:buChar char="q"/>
            </a:pPr>
            <a:r>
              <a:rPr lang="en-US" sz="1800" dirty="0">
                <a:solidFill>
                  <a:schemeClr val="accent2">
                    <a:lumMod val="75000"/>
                  </a:schemeClr>
                </a:solidFill>
              </a:rPr>
              <a:t>Pulse oximeters </a:t>
            </a:r>
            <a:r>
              <a:rPr lang="en-US" sz="1800" dirty="0"/>
              <a:t>have been indicated as </a:t>
            </a:r>
            <a:r>
              <a:rPr lang="en-US" sz="1800" u="sng" dirty="0">
                <a:solidFill>
                  <a:schemeClr val="accent2">
                    <a:lumMod val="75000"/>
                  </a:schemeClr>
                </a:solidFill>
              </a:rPr>
              <a:t>priority medical devices for patient monitoring </a:t>
            </a:r>
            <a:r>
              <a:rPr lang="en-US" sz="1800" dirty="0"/>
              <a:t>in COVID-19 case management.</a:t>
            </a:r>
          </a:p>
          <a:p>
            <a:pPr marL="274320" indent="-274320" algn="just">
              <a:lnSpc>
                <a:spcPct val="100000"/>
              </a:lnSpc>
              <a:spcAft>
                <a:spcPts val="1200"/>
              </a:spcAft>
              <a:buClr>
                <a:schemeClr val="accent2"/>
              </a:buClr>
              <a:buFont typeface="Wingdings" panose="05000000000000000000" pitchFamily="2" charset="2"/>
              <a:buChar char="q"/>
            </a:pPr>
            <a:r>
              <a:rPr lang="en-US" sz="1800" dirty="0"/>
              <a:t> They are designed to </a:t>
            </a:r>
            <a:r>
              <a:rPr lang="en-US" sz="1800" u="sng" dirty="0">
                <a:solidFill>
                  <a:schemeClr val="accent2">
                    <a:lumMod val="75000"/>
                  </a:schemeClr>
                </a:solidFill>
              </a:rPr>
              <a:t>monitor blood oxygen saturation (SpO2) levels </a:t>
            </a:r>
            <a:r>
              <a:rPr lang="en-US" sz="1800" dirty="0"/>
              <a:t>through transcutaneous measurements using plethysmography. </a:t>
            </a:r>
          </a:p>
          <a:p>
            <a:pPr marL="274320" indent="-274320" algn="just">
              <a:lnSpc>
                <a:spcPct val="100000"/>
              </a:lnSpc>
              <a:spcAft>
                <a:spcPts val="1200"/>
              </a:spcAft>
              <a:buClr>
                <a:schemeClr val="accent2"/>
              </a:buClr>
              <a:buFont typeface="Wingdings" panose="05000000000000000000" pitchFamily="2" charset="2"/>
              <a:buChar char="q"/>
            </a:pPr>
            <a:r>
              <a:rPr lang="en-US" sz="1800" dirty="0"/>
              <a:t>Pulse oximeters are used to </a:t>
            </a:r>
            <a:r>
              <a:rPr lang="en-US" sz="1800" u="sng" dirty="0">
                <a:solidFill>
                  <a:schemeClr val="accent2">
                    <a:lumMod val="75000"/>
                  </a:schemeClr>
                </a:solidFill>
              </a:rPr>
              <a:t>screen patients to determine whether oxygen therapy is needed</a:t>
            </a:r>
            <a:r>
              <a:rPr lang="en-US" sz="1800" dirty="0"/>
              <a:t>, as well as to monitor patients who are on oxygen therapy. </a:t>
            </a:r>
          </a:p>
        </p:txBody>
      </p:sp>
      <p:sp>
        <p:nvSpPr>
          <p:cNvPr id="8" name="Text Placeholder 5">
            <a:extLst>
              <a:ext uri="{FF2B5EF4-FFF2-40B4-BE49-F238E27FC236}">
                <a16:creationId xmlns:a16="http://schemas.microsoft.com/office/drawing/2014/main" id="{7119310A-7B46-499A-9424-086F407A3F64}"/>
              </a:ext>
            </a:extLst>
          </p:cNvPr>
          <p:cNvSpPr txBox="1">
            <a:spLocks/>
          </p:cNvSpPr>
          <p:nvPr/>
        </p:nvSpPr>
        <p:spPr bwMode="auto">
          <a:xfrm>
            <a:off x="4567821" y="990600"/>
            <a:ext cx="3714745" cy="76238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None/>
              <a:defRPr sz="2400" kern="1200">
                <a:solidFill>
                  <a:schemeClr val="accent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r>
              <a:rPr kumimoji="0" lang="en-US" sz="2400" i="0" u="none" strike="noStrike" kern="1200" cap="none" spc="0" normalizeH="0" baseline="0" noProof="0" dirty="0">
                <a:ln>
                  <a:noFill/>
                </a:ln>
                <a:solidFill>
                  <a:schemeClr val="accent2">
                    <a:lumMod val="75000"/>
                  </a:schemeClr>
                </a:solidFill>
                <a:effectLst/>
                <a:uLnTx/>
                <a:uFillTx/>
                <a:latin typeface="Calibri" panose="020F0502020204030204" pitchFamily="34" charset="0"/>
              </a:rPr>
              <a:t>Considerations for Product Selection </a:t>
            </a:r>
          </a:p>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endParaRPr kumimoji="0" lang="en-US" sz="2400" i="0" u="none" strike="noStrike" kern="1200" cap="none" spc="0" normalizeH="0" baseline="0" noProof="0" dirty="0">
              <a:ln>
                <a:noFill/>
              </a:ln>
              <a:solidFill>
                <a:schemeClr val="accent2">
                  <a:lumMod val="75000"/>
                </a:schemeClr>
              </a:solidFill>
              <a:effectLst/>
              <a:uLnTx/>
              <a:uFillTx/>
              <a:latin typeface="Calibri" panose="020F0502020204030204" pitchFamily="34" charset="0"/>
            </a:endParaRPr>
          </a:p>
        </p:txBody>
      </p:sp>
      <p:sp>
        <p:nvSpPr>
          <p:cNvPr id="9" name="Text Placeholder 6">
            <a:extLst>
              <a:ext uri="{FF2B5EF4-FFF2-40B4-BE49-F238E27FC236}">
                <a16:creationId xmlns:a16="http://schemas.microsoft.com/office/drawing/2014/main" id="{8A01158F-55FB-4811-B206-077F5614E8D7}"/>
              </a:ext>
            </a:extLst>
          </p:cNvPr>
          <p:cNvSpPr txBox="1">
            <a:spLocks/>
          </p:cNvSpPr>
          <p:nvPr/>
        </p:nvSpPr>
        <p:spPr bwMode="auto">
          <a:xfrm>
            <a:off x="4712307" y="1981200"/>
            <a:ext cx="3714744"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0"/>
              </a:spcBef>
              <a:spcAft>
                <a:spcPts val="1350"/>
              </a:spcAft>
              <a:buClr>
                <a:schemeClr val="accent1"/>
              </a:buClr>
              <a:buSzPct val="100000"/>
              <a:buFont typeface="Calibri" panose="020F0502020204030204" pitchFamily="34" charset="0"/>
              <a:buNone/>
              <a:defRPr sz="1200" kern="1200">
                <a:solidFill>
                  <a:schemeClr val="tx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285750" marR="0" lvl="0" indent="-285750" algn="just" defTabSz="685800" rtl="0" eaLnBrk="0" fontAlgn="base" latinLnBrk="0" hangingPunct="0">
              <a:lnSpc>
                <a:spcPct val="100000"/>
              </a:lnSpc>
              <a:spcBef>
                <a:spcPts val="0"/>
              </a:spcBef>
              <a:spcAft>
                <a:spcPts val="600"/>
              </a:spcAft>
              <a:buClr>
                <a:schemeClr val="accent2"/>
              </a:buClr>
              <a:buSzPct val="100000"/>
              <a:buFont typeface="Wingdings" panose="05000000000000000000" pitchFamily="2" charset="2"/>
              <a:buChar char="q"/>
              <a:tabLst/>
              <a:defRPr/>
            </a:pPr>
            <a:r>
              <a:rPr kumimoji="0" lang="en-US" sz="1800" b="0" i="0" u="none" strike="noStrike" kern="1200" cap="none" spc="0" normalizeH="0" baseline="0" noProof="0" dirty="0">
                <a:ln>
                  <a:noFill/>
                </a:ln>
                <a:solidFill>
                  <a:prstClr val="black"/>
                </a:solidFill>
                <a:effectLst/>
                <a:uLnTx/>
                <a:uFillTx/>
              </a:rPr>
              <a:t>Selection Criteria:</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rPr>
              <a:t>Quality</a:t>
            </a:r>
            <a:r>
              <a:rPr kumimoji="0" lang="en-US" sz="1800" b="0" i="0" u="none" strike="noStrike" kern="1200" cap="none" spc="0" normalizeH="0" baseline="0" noProof="0" dirty="0">
                <a:ln>
                  <a:noFill/>
                </a:ln>
                <a:solidFill>
                  <a:srgbClr val="404040"/>
                </a:solidFill>
                <a:effectLst/>
                <a:uLnTx/>
                <a:uFillTx/>
              </a:rPr>
              <a:t>: Certifications and Registration;</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rPr>
              <a:t>Ability to service the market</a:t>
            </a:r>
            <a:r>
              <a:rPr kumimoji="0" lang="en-US" sz="1800" b="0" i="0" u="none" strike="noStrike" kern="1200" cap="none" spc="0" normalizeH="0" baseline="0" noProof="0" dirty="0">
                <a:ln>
                  <a:noFill/>
                </a:ln>
                <a:solidFill>
                  <a:srgbClr val="404040"/>
                </a:solidFill>
                <a:effectLst/>
                <a:uLnTx/>
                <a:uFillTx/>
              </a:rPr>
              <a:t>: Production Capability; </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rPr>
              <a:t>Functional Requirements</a:t>
            </a:r>
            <a:r>
              <a:rPr kumimoji="0" lang="en-US" sz="1800" b="0" i="0" u="none" strike="noStrike" kern="1200" cap="none" spc="0" normalizeH="0" baseline="0" noProof="0" dirty="0">
                <a:ln>
                  <a:noFill/>
                </a:ln>
                <a:solidFill>
                  <a:srgbClr val="404040"/>
                </a:solidFill>
                <a:effectLst/>
                <a:uLnTx/>
                <a:uFillTx/>
              </a:rPr>
              <a:t>: Critical elements for use; </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rPr>
              <a:t>Operational Requirement</a:t>
            </a:r>
            <a:r>
              <a:rPr kumimoji="0" lang="en-US" sz="1800" b="0" i="0" u="none" strike="noStrike" kern="1200" cap="none" spc="0" normalizeH="0" baseline="0" noProof="0" dirty="0">
                <a:ln>
                  <a:noFill/>
                </a:ln>
                <a:solidFill>
                  <a:srgbClr val="404040"/>
                </a:solidFill>
                <a:effectLst/>
                <a:uLnTx/>
                <a:uFillTx/>
              </a:rPr>
              <a:t>s: Capability to use in surrounding environments; </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1CADE4">
                    <a:lumMod val="75000"/>
                  </a:srgbClr>
                </a:solidFill>
                <a:effectLst/>
                <a:uLnTx/>
                <a:uFillTx/>
              </a:rPr>
              <a:t>Price</a:t>
            </a:r>
            <a:r>
              <a:rPr kumimoji="0" lang="en-US" sz="1800" b="0" i="0" u="none" strike="noStrike" kern="1200" cap="none" spc="0" normalizeH="0" baseline="0" noProof="0" dirty="0">
                <a:ln>
                  <a:noFill/>
                </a:ln>
                <a:solidFill>
                  <a:srgbClr val="404040"/>
                </a:solidFill>
                <a:effectLst/>
                <a:uLnTx/>
                <a:uFillTx/>
              </a:rPr>
              <a:t>: Competitive pricing, prepayment, and potential procurement.</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endParaRPr kumimoji="0" lang="en-US" sz="1800" b="0" i="0" u="none" strike="noStrike" kern="1200" cap="none" spc="0" normalizeH="0" baseline="0" noProof="0" dirty="0">
              <a:ln>
                <a:noFill/>
              </a:ln>
              <a:solidFill>
                <a:srgbClr val="404040"/>
              </a:solidFill>
              <a:effectLst/>
              <a:uLnTx/>
              <a:uFillTx/>
            </a:endParaRPr>
          </a:p>
          <a:p>
            <a:pPr marL="287338" marR="0" lvl="1" indent="0" algn="l" defTabSz="685800" rtl="0" eaLnBrk="0" fontAlgn="base" latinLnBrk="0" hangingPunct="0">
              <a:lnSpc>
                <a:spcPct val="100000"/>
              </a:lnSpc>
              <a:spcBef>
                <a:spcPts val="0"/>
              </a:spcBef>
              <a:spcAft>
                <a:spcPts val="600"/>
              </a:spcAft>
              <a:buClr>
                <a:srgbClr val="1CADE4">
                  <a:lumMod val="75000"/>
                </a:srgbClr>
              </a:buClr>
              <a:buSzTx/>
              <a:buFont typeface="Calibri" panose="020F0502020204030204" pitchFamily="34" charset="0"/>
              <a:buNone/>
              <a:tabLst/>
              <a:defRPr/>
            </a:pPr>
            <a:endParaRPr kumimoji="0" lang="en-US" sz="1800" b="0" i="0" u="sng" strike="noStrike" kern="1200" cap="none" spc="0" normalizeH="0" baseline="0" noProof="0" dirty="0">
              <a:ln>
                <a:noFill/>
              </a:ln>
              <a:solidFill>
                <a:srgbClr val="404040"/>
              </a:solidFill>
              <a:effectLst/>
              <a:uLnTx/>
              <a:uFillTx/>
            </a:endParaRPr>
          </a:p>
        </p:txBody>
      </p:sp>
      <p:cxnSp>
        <p:nvCxnSpPr>
          <p:cNvPr id="11" name="Straight Connector 10">
            <a:extLst>
              <a:ext uri="{FF2B5EF4-FFF2-40B4-BE49-F238E27FC236}">
                <a16:creationId xmlns:a16="http://schemas.microsoft.com/office/drawing/2014/main" id="{53CF1ED1-424A-438B-B2A7-0F54D96C3125}"/>
              </a:ext>
            </a:extLst>
          </p:cNvPr>
          <p:cNvCxnSpPr>
            <a:cxnSpLocks/>
          </p:cNvCxnSpPr>
          <p:nvPr/>
        </p:nvCxnSpPr>
        <p:spPr>
          <a:xfrm>
            <a:off x="4572000" y="2057400"/>
            <a:ext cx="0" cy="4114800"/>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35288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874433" y="1033015"/>
            <a:ext cx="7395133" cy="707886"/>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Oxygen Delivery Systems</a:t>
            </a:r>
            <a:endParaRPr lang="en-US" sz="3600" b="1" spc="-50" dirty="0">
              <a:solidFill>
                <a:schemeClr val="accent2">
                  <a:lumMod val="75000"/>
                </a:schemeClr>
              </a:solidFill>
              <a:latin typeface="+mn-lt"/>
              <a:ea typeface="+mj-ea"/>
              <a:cs typeface="+mj-cs"/>
              <a:sym typeface="Arial"/>
            </a:endParaRPr>
          </a:p>
        </p:txBody>
      </p:sp>
      <p:sp>
        <p:nvSpPr>
          <p:cNvPr id="2" name="TextBox 1">
            <a:extLst>
              <a:ext uri="{FF2B5EF4-FFF2-40B4-BE49-F238E27FC236}">
                <a16:creationId xmlns:a16="http://schemas.microsoft.com/office/drawing/2014/main" id="{2C7CBA51-32CD-4EFF-841E-CCD57555E5AD}"/>
              </a:ext>
            </a:extLst>
          </p:cNvPr>
          <p:cNvSpPr txBox="1"/>
          <p:nvPr/>
        </p:nvSpPr>
        <p:spPr>
          <a:xfrm>
            <a:off x="874433" y="1992404"/>
            <a:ext cx="7507567" cy="715089"/>
          </a:xfrm>
          <a:prstGeom prst="roundRect">
            <a:avLst/>
          </a:prstGeom>
          <a:solidFill>
            <a:schemeClr val="accent2">
              <a:lumMod val="75000"/>
            </a:schemeClr>
          </a:solidFill>
          <a:ln>
            <a:noFill/>
          </a:ln>
        </p:spPr>
        <p:txBody>
          <a:bodyPr wrap="square" rtlCol="0">
            <a:spAutoFit/>
          </a:bodyPr>
          <a:lstStyle/>
          <a:p>
            <a:r>
              <a:rPr lang="en-GB" dirty="0">
                <a:solidFill>
                  <a:schemeClr val="bg1"/>
                </a:solidFill>
                <a:latin typeface="+mn-lt"/>
              </a:rPr>
              <a:t>Oxygen delivery system is a device which is used to administer, regulate and supplement oxygen to a subject to increase the arterial oxygenation.</a:t>
            </a:r>
            <a:endParaRPr lang="en-IN" dirty="0">
              <a:solidFill>
                <a:schemeClr val="bg1"/>
              </a:solidFill>
              <a:latin typeface="+mn-lt"/>
            </a:endParaRPr>
          </a:p>
        </p:txBody>
      </p:sp>
      <p:grpSp>
        <p:nvGrpSpPr>
          <p:cNvPr id="3" name="Group 2">
            <a:extLst>
              <a:ext uri="{FF2B5EF4-FFF2-40B4-BE49-F238E27FC236}">
                <a16:creationId xmlns:a16="http://schemas.microsoft.com/office/drawing/2014/main" id="{F3DBC2E9-4AE8-44F9-8014-E8596D984961}"/>
              </a:ext>
            </a:extLst>
          </p:cNvPr>
          <p:cNvGrpSpPr/>
          <p:nvPr/>
        </p:nvGrpSpPr>
        <p:grpSpPr>
          <a:xfrm>
            <a:off x="722688" y="2895600"/>
            <a:ext cx="7698624" cy="3346026"/>
            <a:chOff x="741081" y="2895600"/>
            <a:chExt cx="7698624" cy="3346026"/>
          </a:xfrm>
        </p:grpSpPr>
        <p:pic>
          <p:nvPicPr>
            <p:cNvPr id="8" name="Content Placeholder 3">
              <a:extLst>
                <a:ext uri="{FF2B5EF4-FFF2-40B4-BE49-F238E27FC236}">
                  <a16:creationId xmlns:a16="http://schemas.microsoft.com/office/drawing/2014/main" id="{BCCF902C-0341-40CA-855B-8A77E0D1535A}"/>
                </a:ext>
              </a:extLst>
            </p:cNvPr>
            <p:cNvPicPr>
              <a:picLocks noChangeAspect="1"/>
            </p:cNvPicPr>
            <p:nvPr/>
          </p:nvPicPr>
          <p:blipFill>
            <a:blip r:embed="rId3"/>
            <a:stretch>
              <a:fillRect/>
            </a:stretch>
          </p:blipFill>
          <p:spPr>
            <a:xfrm>
              <a:off x="4246283" y="2895600"/>
              <a:ext cx="4193422" cy="3346026"/>
            </a:xfrm>
            <a:prstGeom prst="rect">
              <a:avLst/>
            </a:prstGeom>
          </p:spPr>
        </p:pic>
        <p:sp>
          <p:nvSpPr>
            <p:cNvPr id="9" name="TextBox 8">
              <a:extLst>
                <a:ext uri="{FF2B5EF4-FFF2-40B4-BE49-F238E27FC236}">
                  <a16:creationId xmlns:a16="http://schemas.microsoft.com/office/drawing/2014/main" id="{3E277D7B-7EFE-4152-ACD0-083DA09DC4B1}"/>
                </a:ext>
              </a:extLst>
            </p:cNvPr>
            <p:cNvSpPr txBox="1"/>
            <p:nvPr/>
          </p:nvSpPr>
          <p:spPr>
            <a:xfrm>
              <a:off x="741081" y="2962663"/>
              <a:ext cx="3505200" cy="2862322"/>
            </a:xfrm>
            <a:prstGeom prst="rect">
              <a:avLst/>
            </a:prstGeom>
            <a:noFill/>
          </p:spPr>
          <p:txBody>
            <a:bodyPr wrap="square" rtlCol="0">
              <a:spAutoFit/>
            </a:bodyPr>
            <a:lstStyle/>
            <a:p>
              <a:pPr>
                <a:spcBef>
                  <a:spcPts val="600"/>
                </a:spcBef>
                <a:spcAft>
                  <a:spcPts val="600"/>
                </a:spcAft>
              </a:pPr>
              <a:r>
                <a:rPr lang="en-GB" sz="2000" b="1" u="sng" dirty="0">
                  <a:solidFill>
                    <a:schemeClr val="accent2"/>
                  </a:solidFill>
                  <a:latin typeface="+mn-lt"/>
                </a:rPr>
                <a:t>Choice of delivery system is based upon:</a:t>
              </a:r>
            </a:p>
            <a:p>
              <a:pPr marL="257175" indent="-257175">
                <a:spcBef>
                  <a:spcPts val="600"/>
                </a:spcBef>
                <a:spcAft>
                  <a:spcPts val="600"/>
                </a:spcAft>
                <a:buClr>
                  <a:schemeClr val="accent2"/>
                </a:buClr>
                <a:buFont typeface="+mj-lt"/>
                <a:buAutoNum type="arabicPeriod"/>
              </a:pPr>
              <a:r>
                <a:rPr lang="en-GB" sz="2000" dirty="0">
                  <a:solidFill>
                    <a:schemeClr val="accent2"/>
                  </a:solidFill>
                  <a:latin typeface="+mn-lt"/>
                </a:rPr>
                <a:t>Degree of hypoxemia</a:t>
              </a:r>
            </a:p>
            <a:p>
              <a:pPr marL="257175" indent="-257175">
                <a:spcBef>
                  <a:spcPts val="600"/>
                </a:spcBef>
                <a:spcAft>
                  <a:spcPts val="600"/>
                </a:spcAft>
                <a:buClr>
                  <a:schemeClr val="accent2"/>
                </a:buClr>
                <a:buFont typeface="+mj-lt"/>
                <a:buAutoNum type="arabicPeriod"/>
              </a:pPr>
              <a:r>
                <a:rPr lang="en-GB" sz="2000" dirty="0">
                  <a:solidFill>
                    <a:schemeClr val="accent2"/>
                  </a:solidFill>
                  <a:latin typeface="+mn-lt"/>
                </a:rPr>
                <a:t>Requirement for precision of delivery</a:t>
              </a:r>
            </a:p>
            <a:p>
              <a:pPr marL="257175" indent="-257175">
                <a:spcBef>
                  <a:spcPts val="600"/>
                </a:spcBef>
                <a:spcAft>
                  <a:spcPts val="600"/>
                </a:spcAft>
                <a:buClr>
                  <a:schemeClr val="accent2"/>
                </a:buClr>
                <a:buFont typeface="+mj-lt"/>
                <a:buAutoNum type="arabicPeriod"/>
              </a:pPr>
              <a:r>
                <a:rPr lang="en-GB" sz="2000" dirty="0">
                  <a:solidFill>
                    <a:schemeClr val="accent2"/>
                  </a:solidFill>
                  <a:latin typeface="+mn-lt"/>
                </a:rPr>
                <a:t>Patient comfort</a:t>
              </a:r>
            </a:p>
            <a:p>
              <a:pPr marL="257175" indent="-257175">
                <a:spcBef>
                  <a:spcPts val="600"/>
                </a:spcBef>
                <a:spcAft>
                  <a:spcPts val="600"/>
                </a:spcAft>
                <a:buClr>
                  <a:schemeClr val="accent2"/>
                </a:buClr>
                <a:buFont typeface="+mj-lt"/>
                <a:buAutoNum type="arabicPeriod"/>
              </a:pPr>
              <a:r>
                <a:rPr lang="en-GB" sz="2000" dirty="0">
                  <a:solidFill>
                    <a:schemeClr val="accent2"/>
                  </a:solidFill>
                  <a:latin typeface="+mn-lt"/>
                </a:rPr>
                <a:t>Cost</a:t>
              </a:r>
            </a:p>
          </p:txBody>
        </p:sp>
      </p:grpSp>
    </p:spTree>
  </p:cSld>
  <p:clrMapOvr>
    <a:masterClrMapping/>
  </p:clrMapOvr>
  <p:transition spd="med">
    <p:fade/>
  </p:transition>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27D04E9-0A03-4952-81F8-61F17FD7D26C}"/>
              </a:ext>
            </a:extLst>
          </p:cNvPr>
          <p:cNvSpPr>
            <a:spLocks noGrp="1"/>
          </p:cNvSpPr>
          <p:nvPr>
            <p:ph type="title"/>
          </p:nvPr>
        </p:nvSpPr>
        <p:spPr/>
        <p:txBody>
          <a:bodyPr>
            <a:normAutofit/>
          </a:bodyPr>
          <a:lstStyle/>
          <a:p>
            <a:pPr algn="ctr"/>
            <a:r>
              <a:rPr lang="en-US" sz="2800" dirty="0">
                <a:solidFill>
                  <a:schemeClr val="accent2">
                    <a:lumMod val="75000"/>
                  </a:schemeClr>
                </a:solidFill>
                <a:latin typeface="+mn-lt"/>
              </a:rPr>
              <a:t>Product Requirements That May Impact The Number Of Models Available For Procurement</a:t>
            </a:r>
          </a:p>
        </p:txBody>
      </p:sp>
      <p:graphicFrame>
        <p:nvGraphicFramePr>
          <p:cNvPr id="8" name="Table 8">
            <a:extLst>
              <a:ext uri="{FF2B5EF4-FFF2-40B4-BE49-F238E27FC236}">
                <a16:creationId xmlns:a16="http://schemas.microsoft.com/office/drawing/2014/main" id="{7732F27D-8969-4068-91AE-E8BCBB6B7190}"/>
              </a:ext>
            </a:extLst>
          </p:cNvPr>
          <p:cNvGraphicFramePr>
            <a:graphicFrameLocks noGrp="1"/>
          </p:cNvGraphicFramePr>
          <p:nvPr>
            <p:ph sz="half" idx="4294967295"/>
            <p:extLst>
              <p:ext uri="{D42A27DB-BD31-4B8C-83A1-F6EECF244321}">
                <p14:modId xmlns:p14="http://schemas.microsoft.com/office/powerpoint/2010/main" val="2307596752"/>
              </p:ext>
            </p:extLst>
          </p:nvPr>
        </p:nvGraphicFramePr>
        <p:xfrm>
          <a:off x="822326" y="1824593"/>
          <a:ext cx="7543800" cy="4426691"/>
        </p:xfrm>
        <a:graphic>
          <a:graphicData uri="http://schemas.openxmlformats.org/drawingml/2006/table">
            <a:tbl>
              <a:tblPr firstRow="1" bandRow="1">
                <a:tableStyleId>{0660B408-B3CF-4A94-85FC-2B1E0A45F4A2}</a:tableStyleId>
              </a:tblPr>
              <a:tblGrid>
                <a:gridCol w="2683852">
                  <a:extLst>
                    <a:ext uri="{9D8B030D-6E8A-4147-A177-3AD203B41FA5}">
                      <a16:colId xmlns:a16="http://schemas.microsoft.com/office/drawing/2014/main" val="618828795"/>
                    </a:ext>
                  </a:extLst>
                </a:gridCol>
                <a:gridCol w="4859948">
                  <a:extLst>
                    <a:ext uri="{9D8B030D-6E8A-4147-A177-3AD203B41FA5}">
                      <a16:colId xmlns:a16="http://schemas.microsoft.com/office/drawing/2014/main" val="4108787759"/>
                    </a:ext>
                  </a:extLst>
                </a:gridCol>
              </a:tblGrid>
              <a:tr h="669446">
                <a:tc>
                  <a:txBody>
                    <a:bodyPr/>
                    <a:lstStyle/>
                    <a:p>
                      <a:r>
                        <a:rPr lang="en-US" sz="1600" dirty="0">
                          <a:latin typeface="+mn-lt"/>
                        </a:rPr>
                        <a:t>Product requirements</a:t>
                      </a:r>
                    </a:p>
                  </a:txBody>
                  <a:tcPr/>
                </a:tc>
                <a:tc>
                  <a:txBody>
                    <a:bodyPr/>
                    <a:lstStyle/>
                    <a:p>
                      <a:pPr algn="ctr"/>
                      <a:r>
                        <a:rPr lang="en-US" sz="1600" dirty="0">
                          <a:latin typeface="+mn-lt"/>
                        </a:rPr>
                        <a:t>Details</a:t>
                      </a:r>
                    </a:p>
                  </a:txBody>
                  <a:tcPr/>
                </a:tc>
                <a:extLst>
                  <a:ext uri="{0D108BD9-81ED-4DB2-BD59-A6C34878D82A}">
                    <a16:rowId xmlns:a16="http://schemas.microsoft.com/office/drawing/2014/main" val="125287569"/>
                  </a:ext>
                </a:extLst>
              </a:tr>
              <a:tr h="774228">
                <a:tc>
                  <a:txBody>
                    <a:bodyPr/>
                    <a:lstStyle/>
                    <a:p>
                      <a:pPr algn="l" fontAlgn="b"/>
                      <a:r>
                        <a:rPr lang="en-US" sz="1500" b="1" i="0" u="none" strike="noStrike" dirty="0">
                          <a:solidFill>
                            <a:srgbClr val="000000"/>
                          </a:solidFill>
                          <a:effectLst/>
                          <a:latin typeface="+mn-lt"/>
                        </a:rPr>
                        <a:t>Ingress Protection (IP) rating </a:t>
                      </a:r>
                    </a:p>
                    <a:p>
                      <a:pPr algn="l" fontAlgn="b"/>
                      <a:r>
                        <a:rPr lang="en-US" sz="1500" b="0" i="0" u="none" strike="noStrike" dirty="0">
                          <a:solidFill>
                            <a:srgbClr val="000000"/>
                          </a:solidFill>
                          <a:effectLst/>
                          <a:latin typeface="+mn-lt"/>
                        </a:rPr>
                        <a:t>(protection of electrical enclosures from foreign bodies)</a:t>
                      </a:r>
                    </a:p>
                  </a:txBody>
                  <a:tcPr marT="91440" marB="0"/>
                </a:tc>
                <a:tc>
                  <a:txBody>
                    <a:bodyPr/>
                    <a:lstStyle/>
                    <a:p>
                      <a:pPr algn="l" fontAlgn="b"/>
                      <a:r>
                        <a:rPr lang="en-US" sz="1500" b="0" i="0" u="none" strike="noStrike" dirty="0">
                          <a:solidFill>
                            <a:srgbClr val="000000"/>
                          </a:solidFill>
                          <a:effectLst/>
                          <a:latin typeface="+mn-lt"/>
                        </a:rPr>
                        <a:t>All models provided moisture protection with a rating of IPX1 or better.</a:t>
                      </a:r>
                    </a:p>
                  </a:txBody>
                  <a:tcPr marT="91440" marB="0"/>
                </a:tc>
                <a:extLst>
                  <a:ext uri="{0D108BD9-81ED-4DB2-BD59-A6C34878D82A}">
                    <a16:rowId xmlns:a16="http://schemas.microsoft.com/office/drawing/2014/main" val="1550421245"/>
                  </a:ext>
                </a:extLst>
              </a:tr>
              <a:tr h="645956">
                <a:tc>
                  <a:txBody>
                    <a:bodyPr/>
                    <a:lstStyle/>
                    <a:p>
                      <a:pPr algn="l" fontAlgn="b"/>
                      <a:r>
                        <a:rPr lang="en-US" sz="1500" b="1" i="0" u="none" strike="noStrike" dirty="0">
                          <a:solidFill>
                            <a:srgbClr val="000000"/>
                          </a:solidFill>
                          <a:effectLst/>
                          <a:latin typeface="+mn-lt"/>
                        </a:rPr>
                        <a:t>Device weight</a:t>
                      </a:r>
                    </a:p>
                  </a:txBody>
                  <a:tcPr marT="91440" marB="0"/>
                </a:tc>
                <a:tc>
                  <a:txBody>
                    <a:bodyPr/>
                    <a:lstStyle/>
                    <a:p>
                      <a:pPr algn="l" fontAlgn="b"/>
                      <a:r>
                        <a:rPr lang="en-US" sz="1500" b="0" i="0" u="none" strike="noStrike" dirty="0">
                          <a:solidFill>
                            <a:srgbClr val="000000"/>
                          </a:solidFill>
                          <a:effectLst/>
                          <a:latin typeface="+mn-lt"/>
                        </a:rPr>
                        <a:t>All models identified weighed between 400 and 500 g.</a:t>
                      </a:r>
                    </a:p>
                  </a:txBody>
                  <a:tcPr marT="91440" marB="0"/>
                </a:tc>
                <a:extLst>
                  <a:ext uri="{0D108BD9-81ED-4DB2-BD59-A6C34878D82A}">
                    <a16:rowId xmlns:a16="http://schemas.microsoft.com/office/drawing/2014/main" val="3825053538"/>
                  </a:ext>
                </a:extLst>
              </a:tr>
              <a:tr h="774228">
                <a:tc>
                  <a:txBody>
                    <a:bodyPr/>
                    <a:lstStyle/>
                    <a:p>
                      <a:pPr algn="l" fontAlgn="b"/>
                      <a:r>
                        <a:rPr lang="en-US" sz="1500" b="1" i="0" u="none" strike="noStrike" dirty="0">
                          <a:solidFill>
                            <a:srgbClr val="000000"/>
                          </a:solidFill>
                          <a:effectLst/>
                          <a:latin typeface="+mn-lt"/>
                        </a:rPr>
                        <a:t>Ability to operate at &gt; 75% percent relative humidity</a:t>
                      </a:r>
                    </a:p>
                  </a:txBody>
                  <a:tcPr marT="91440" marB="0"/>
                </a:tc>
                <a:tc>
                  <a:txBody>
                    <a:bodyPr/>
                    <a:lstStyle/>
                    <a:p>
                      <a:pPr algn="l" fontAlgn="b"/>
                      <a:r>
                        <a:rPr lang="en-US" sz="1500" b="0" i="0" u="none" strike="noStrike" dirty="0">
                          <a:solidFill>
                            <a:srgbClr val="000000"/>
                          </a:solidFill>
                          <a:effectLst/>
                          <a:latin typeface="+mn-lt"/>
                        </a:rPr>
                        <a:t>All models identified were able to operate at less than 75 percent humidity, with some able to operate at up to 90 percent humidity.</a:t>
                      </a:r>
                    </a:p>
                  </a:txBody>
                  <a:tcPr marT="91440" marB="0"/>
                </a:tc>
                <a:extLst>
                  <a:ext uri="{0D108BD9-81ED-4DB2-BD59-A6C34878D82A}">
                    <a16:rowId xmlns:a16="http://schemas.microsoft.com/office/drawing/2014/main" val="2888467708"/>
                  </a:ext>
                </a:extLst>
              </a:tr>
              <a:tr h="779569">
                <a:tc>
                  <a:txBody>
                    <a:bodyPr/>
                    <a:lstStyle/>
                    <a:p>
                      <a:pPr algn="l" fontAlgn="b"/>
                      <a:r>
                        <a:rPr lang="en-US" sz="1500" b="1" i="0" u="none" strike="noStrike" dirty="0">
                          <a:solidFill>
                            <a:srgbClr val="000000"/>
                          </a:solidFill>
                          <a:effectLst/>
                          <a:latin typeface="+mn-lt"/>
                        </a:rPr>
                        <a:t>Warranty</a:t>
                      </a:r>
                    </a:p>
                  </a:txBody>
                  <a:tcPr marT="91440" marB="0"/>
                </a:tc>
                <a:tc>
                  <a:txBody>
                    <a:bodyPr/>
                    <a:lstStyle/>
                    <a:p>
                      <a:pPr algn="l" fontAlgn="b"/>
                      <a:r>
                        <a:rPr lang="en-US" sz="1500" b="0" i="0" u="none" strike="noStrike" dirty="0">
                          <a:solidFill>
                            <a:srgbClr val="000000"/>
                          </a:solidFill>
                          <a:effectLst/>
                          <a:latin typeface="+mn-lt"/>
                        </a:rPr>
                        <a:t>All suppliers identified were able to offer a one-year warranty. Many were able to offer a two-year standard warranty for an additional fee.</a:t>
                      </a:r>
                    </a:p>
                  </a:txBody>
                  <a:tcPr marT="91440" marB="0"/>
                </a:tc>
                <a:extLst>
                  <a:ext uri="{0D108BD9-81ED-4DB2-BD59-A6C34878D82A}">
                    <a16:rowId xmlns:a16="http://schemas.microsoft.com/office/drawing/2014/main" val="3012935000"/>
                  </a:ext>
                </a:extLst>
              </a:tr>
              <a:tr h="774228">
                <a:tc>
                  <a:txBody>
                    <a:bodyPr/>
                    <a:lstStyle/>
                    <a:p>
                      <a:pPr algn="l" fontAlgn="b"/>
                      <a:r>
                        <a:rPr lang="en-US" sz="1500" b="1" i="0" u="none" strike="noStrike" dirty="0">
                          <a:solidFill>
                            <a:srgbClr val="000000"/>
                          </a:solidFill>
                          <a:effectLst/>
                          <a:latin typeface="+mn-lt"/>
                        </a:rPr>
                        <a:t>Spare probes </a:t>
                      </a:r>
                    </a:p>
                  </a:txBody>
                  <a:tcPr marT="91440" marB="0"/>
                </a:tc>
                <a:tc>
                  <a:txBody>
                    <a:bodyPr/>
                    <a:lstStyle/>
                    <a:p>
                      <a:pPr algn="l" fontAlgn="b"/>
                      <a:r>
                        <a:rPr lang="en-US" sz="1500" b="0" i="0" u="none" strike="noStrike" dirty="0">
                          <a:solidFill>
                            <a:srgbClr val="000000"/>
                          </a:solidFill>
                          <a:effectLst/>
                          <a:latin typeface="+mn-lt"/>
                        </a:rPr>
                        <a:t>In particular, probes have a limited lifetime and can be a considerable portion of the cost of the product over time. This should be factored into the total cost of ownership.</a:t>
                      </a:r>
                    </a:p>
                  </a:txBody>
                  <a:tcPr marT="91440" marB="0"/>
                </a:tc>
                <a:extLst>
                  <a:ext uri="{0D108BD9-81ED-4DB2-BD59-A6C34878D82A}">
                    <a16:rowId xmlns:a16="http://schemas.microsoft.com/office/drawing/2014/main" val="377404426"/>
                  </a:ext>
                </a:extLst>
              </a:tr>
            </a:tbl>
          </a:graphicData>
        </a:graphic>
      </p:graphicFrame>
      <p:sp>
        <p:nvSpPr>
          <p:cNvPr id="5" name="TextBox 4">
            <a:extLst>
              <a:ext uri="{FF2B5EF4-FFF2-40B4-BE49-F238E27FC236}">
                <a16:creationId xmlns:a16="http://schemas.microsoft.com/office/drawing/2014/main" id="{5179BC01-439B-457F-8F8B-4EF3D14F6845}"/>
              </a:ext>
            </a:extLst>
          </p:cNvPr>
          <p:cNvSpPr txBox="1"/>
          <p:nvPr/>
        </p:nvSpPr>
        <p:spPr>
          <a:xfrm>
            <a:off x="0" y="6488668"/>
            <a:ext cx="6934200" cy="369332"/>
          </a:xfrm>
          <a:prstGeom prst="rect">
            <a:avLst/>
          </a:prstGeom>
          <a:noFill/>
        </p:spPr>
        <p:txBody>
          <a:bodyPr wrap="square" rtlCol="0">
            <a:spAutoFit/>
          </a:bodyPr>
          <a:lstStyle/>
          <a:p>
            <a:r>
              <a:rPr lang="en-US" sz="900" b="1" dirty="0">
                <a:latin typeface="+mn-lt"/>
              </a:rPr>
              <a:t>Source: Respiratory Care Equipment Market Report. 2020. </a:t>
            </a:r>
          </a:p>
          <a:p>
            <a:r>
              <a:rPr lang="en-US" sz="900" b="1" dirty="0">
                <a:latin typeface="+mn-lt"/>
              </a:rPr>
              <a:t>Link: thttps://path.azureedge.net/media/documents/RespCare_Equipemnt_Market_Report_FINAL_10Dec2020.pdf</a:t>
            </a:r>
          </a:p>
        </p:txBody>
      </p:sp>
    </p:spTree>
    <p:extLst>
      <p:ext uri="{BB962C8B-B14F-4D97-AF65-F5344CB8AC3E}">
        <p14:creationId xmlns:p14="http://schemas.microsoft.com/office/powerpoint/2010/main" val="212693747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276600" y="2438400"/>
            <a:ext cx="5334000" cy="1914525"/>
          </a:xfrm>
        </p:spPr>
        <p:txBody>
          <a:bodyPr rtlCol="0" anchor="ctr">
            <a:noAutofit/>
          </a:bodyPr>
          <a:lstStyle/>
          <a:p>
            <a:pPr marL="0" indent="0"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rPr>
              <a:t>Patient Monitor Supplier Landscape </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b="1" dirty="0">
              <a:solidFill>
                <a:schemeClr val="accent2">
                  <a:lumMod val="75000"/>
                </a:schemeClr>
              </a:solidFill>
            </a:endParaRPr>
          </a:p>
        </p:txBody>
      </p:sp>
      <p:pic>
        <p:nvPicPr>
          <p:cNvPr id="4" name="Picture 3">
            <a:extLst>
              <a:ext uri="{FF2B5EF4-FFF2-40B4-BE49-F238E27FC236}">
                <a16:creationId xmlns:a16="http://schemas.microsoft.com/office/drawing/2014/main" id="{6D6FEC26-3849-45D6-B04E-46BDC8544D18}"/>
              </a:ext>
            </a:extLst>
          </p:cNvPr>
          <p:cNvPicPr>
            <a:picLocks noChangeAspect="1"/>
          </p:cNvPicPr>
          <p:nvPr/>
        </p:nvPicPr>
        <p:blipFill>
          <a:blip r:embed="rId3"/>
          <a:stretch>
            <a:fillRect/>
          </a:stretch>
        </p:blipFill>
        <p:spPr>
          <a:xfrm>
            <a:off x="228600" y="1447800"/>
            <a:ext cx="2514600" cy="2837290"/>
          </a:xfrm>
          <a:prstGeom prst="rect">
            <a:avLst/>
          </a:prstGeom>
        </p:spPr>
      </p:pic>
      <p:sp>
        <p:nvSpPr>
          <p:cNvPr id="6" name="TextBox 5">
            <a:extLst>
              <a:ext uri="{FF2B5EF4-FFF2-40B4-BE49-F238E27FC236}">
                <a16:creationId xmlns:a16="http://schemas.microsoft.com/office/drawing/2014/main" id="{E008D7C4-888E-4882-8550-C4D6292785BE}"/>
              </a:ext>
            </a:extLst>
          </p:cNvPr>
          <p:cNvSpPr txBox="1"/>
          <p:nvPr/>
        </p:nvSpPr>
        <p:spPr>
          <a:xfrm>
            <a:off x="533400" y="4495800"/>
            <a:ext cx="1981200" cy="1077218"/>
          </a:xfrm>
          <a:prstGeom prst="rect">
            <a:avLst/>
          </a:prstGeom>
          <a:noFill/>
        </p:spPr>
        <p:txBody>
          <a:bodyPr wrap="square">
            <a:spAutoFit/>
          </a:bodyPr>
          <a:lstStyle/>
          <a:p>
            <a:pPr algn="ctr"/>
            <a:r>
              <a:rPr lang="en-US" sz="3200" b="1" dirty="0">
                <a:solidFill>
                  <a:schemeClr val="bg1"/>
                </a:solidFill>
                <a:latin typeface="+mn-lt"/>
              </a:rPr>
              <a:t>Patient Monitors</a:t>
            </a:r>
          </a:p>
        </p:txBody>
      </p:sp>
    </p:spTree>
    <p:extLst>
      <p:ext uri="{BB962C8B-B14F-4D97-AF65-F5344CB8AC3E}">
        <p14:creationId xmlns:p14="http://schemas.microsoft.com/office/powerpoint/2010/main" val="2148511928"/>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6666CA-7D6A-4712-B2B3-809DB8A28587}"/>
              </a:ext>
            </a:extLst>
          </p:cNvPr>
          <p:cNvSpPr>
            <a:spLocks noGrp="1"/>
          </p:cNvSpPr>
          <p:nvPr>
            <p:ph type="body" sz="quarter" idx="14"/>
          </p:nvPr>
        </p:nvSpPr>
        <p:spPr>
          <a:xfrm>
            <a:off x="871864" y="962949"/>
            <a:ext cx="3547734" cy="762384"/>
          </a:xfrm>
          <a:ln>
            <a:noFill/>
          </a:ln>
        </p:spPr>
        <p:txBody>
          <a:bodyPr/>
          <a:lstStyle/>
          <a:p>
            <a:r>
              <a:rPr lang="en-US" dirty="0">
                <a:solidFill>
                  <a:schemeClr val="accent2">
                    <a:lumMod val="75000"/>
                  </a:schemeClr>
                </a:solidFill>
              </a:rPr>
              <a:t>Considerations for Product Deployment </a:t>
            </a:r>
          </a:p>
          <a:p>
            <a:endParaRPr lang="en-US" dirty="0">
              <a:solidFill>
                <a:schemeClr val="accent2">
                  <a:lumMod val="75000"/>
                </a:schemeClr>
              </a:solidFill>
            </a:endParaRPr>
          </a:p>
        </p:txBody>
      </p:sp>
      <p:sp>
        <p:nvSpPr>
          <p:cNvPr id="7" name="Text Placeholder 6">
            <a:extLst>
              <a:ext uri="{FF2B5EF4-FFF2-40B4-BE49-F238E27FC236}">
                <a16:creationId xmlns:a16="http://schemas.microsoft.com/office/drawing/2014/main" id="{F2268F0D-FA62-4F5C-B240-BF76CFF07AF1}"/>
              </a:ext>
            </a:extLst>
          </p:cNvPr>
          <p:cNvSpPr>
            <a:spLocks noGrp="1"/>
          </p:cNvSpPr>
          <p:nvPr>
            <p:ph type="body" sz="quarter" idx="15"/>
          </p:nvPr>
        </p:nvSpPr>
        <p:spPr>
          <a:xfrm>
            <a:off x="871864" y="1926921"/>
            <a:ext cx="3437073" cy="4318221"/>
          </a:xfrm>
        </p:spPr>
        <p:txBody>
          <a:bodyPr/>
          <a:lstStyle/>
          <a:p>
            <a:pPr marL="274320" indent="-274320" algn="just">
              <a:lnSpc>
                <a:spcPct val="100000"/>
              </a:lnSpc>
              <a:spcAft>
                <a:spcPts val="1200"/>
              </a:spcAft>
              <a:buClr>
                <a:schemeClr val="accent2"/>
              </a:buClr>
              <a:buFont typeface="Wingdings" panose="05000000000000000000" pitchFamily="2" charset="2"/>
              <a:buChar char="q"/>
            </a:pPr>
            <a:r>
              <a:rPr lang="en-US" sz="1400" dirty="0"/>
              <a:t>Patient monitors </a:t>
            </a:r>
            <a:r>
              <a:rPr lang="en-US" sz="1400" u="sng" dirty="0">
                <a:solidFill>
                  <a:schemeClr val="accent1">
                    <a:lumMod val="75000"/>
                  </a:schemeClr>
                </a:solidFill>
              </a:rPr>
              <a:t>measure, calculate, and display physiological parameters </a:t>
            </a:r>
            <a:r>
              <a:rPr lang="en-US" sz="1400" dirty="0"/>
              <a:t>(including vitals) for the continuous monitoring of hospitalized patients in severe condition and critical patients in intensive care units. </a:t>
            </a:r>
          </a:p>
          <a:p>
            <a:pPr marL="274320" indent="-274320" algn="just">
              <a:lnSpc>
                <a:spcPct val="100000"/>
              </a:lnSpc>
              <a:spcAft>
                <a:spcPts val="1200"/>
              </a:spcAft>
              <a:buClr>
                <a:schemeClr val="accent2"/>
              </a:buClr>
              <a:buFont typeface="Wingdings" panose="05000000000000000000" pitchFamily="2" charset="2"/>
              <a:buChar char="q"/>
            </a:pPr>
            <a:r>
              <a:rPr lang="en-US" sz="1400" dirty="0"/>
              <a:t>While varying configurations of these devices are available in the market, </a:t>
            </a:r>
            <a:r>
              <a:rPr lang="en-US" sz="1400" dirty="0">
                <a:solidFill>
                  <a:schemeClr val="accent2">
                    <a:lumMod val="75000"/>
                  </a:schemeClr>
                </a:solidFill>
              </a:rPr>
              <a:t>WHO technical specifications </a:t>
            </a:r>
            <a:r>
              <a:rPr lang="en-US" sz="1400" dirty="0"/>
              <a:t>outlines two parameter configurations known as, </a:t>
            </a:r>
            <a:r>
              <a:rPr lang="en-US" sz="1400" u="sng" dirty="0">
                <a:solidFill>
                  <a:schemeClr val="accent2">
                    <a:lumMod val="75000"/>
                  </a:schemeClr>
                </a:solidFill>
              </a:rPr>
              <a:t>“basic” and “advanced</a:t>
            </a:r>
            <a:r>
              <a:rPr lang="en-US" sz="1400" dirty="0"/>
              <a:t>”.</a:t>
            </a:r>
          </a:p>
        </p:txBody>
      </p:sp>
      <p:sp>
        <p:nvSpPr>
          <p:cNvPr id="8" name="Text Placeholder 5">
            <a:extLst>
              <a:ext uri="{FF2B5EF4-FFF2-40B4-BE49-F238E27FC236}">
                <a16:creationId xmlns:a16="http://schemas.microsoft.com/office/drawing/2014/main" id="{7119310A-7B46-499A-9424-086F407A3F64}"/>
              </a:ext>
            </a:extLst>
          </p:cNvPr>
          <p:cNvSpPr txBox="1">
            <a:spLocks/>
          </p:cNvSpPr>
          <p:nvPr/>
        </p:nvSpPr>
        <p:spPr bwMode="auto">
          <a:xfrm>
            <a:off x="4419597" y="962949"/>
            <a:ext cx="3962399" cy="76238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None/>
              <a:defRPr sz="2400" kern="1200">
                <a:solidFill>
                  <a:schemeClr val="accent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r>
              <a:rPr kumimoji="0" lang="en-US" sz="2400" i="0" u="none" strike="noStrike" kern="1200" cap="none" spc="0" normalizeH="0" baseline="0" noProof="0" dirty="0">
                <a:ln>
                  <a:noFill/>
                </a:ln>
                <a:solidFill>
                  <a:schemeClr val="accent2">
                    <a:lumMod val="75000"/>
                  </a:schemeClr>
                </a:solidFill>
                <a:effectLst/>
                <a:uLnTx/>
                <a:uFillTx/>
              </a:rPr>
              <a:t>Considerations for Product Selection </a:t>
            </a:r>
          </a:p>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endParaRPr kumimoji="0" lang="en-US" sz="2400" i="0" u="none" strike="noStrike" kern="1200" cap="none" spc="0" normalizeH="0" baseline="0" noProof="0" dirty="0">
              <a:ln>
                <a:noFill/>
              </a:ln>
              <a:solidFill>
                <a:schemeClr val="accent2">
                  <a:lumMod val="75000"/>
                </a:schemeClr>
              </a:solidFill>
              <a:effectLst/>
              <a:uLnTx/>
              <a:uFillTx/>
            </a:endParaRPr>
          </a:p>
        </p:txBody>
      </p:sp>
      <p:sp>
        <p:nvSpPr>
          <p:cNvPr id="9" name="Text Placeholder 6">
            <a:extLst>
              <a:ext uri="{FF2B5EF4-FFF2-40B4-BE49-F238E27FC236}">
                <a16:creationId xmlns:a16="http://schemas.microsoft.com/office/drawing/2014/main" id="{8A01158F-55FB-4811-B206-077F5614E8D7}"/>
              </a:ext>
            </a:extLst>
          </p:cNvPr>
          <p:cNvSpPr txBox="1">
            <a:spLocks/>
          </p:cNvSpPr>
          <p:nvPr/>
        </p:nvSpPr>
        <p:spPr bwMode="auto">
          <a:xfrm>
            <a:off x="4584527" y="1903956"/>
            <a:ext cx="3797470" cy="4115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0"/>
              </a:spcBef>
              <a:spcAft>
                <a:spcPts val="1350"/>
              </a:spcAft>
              <a:buClr>
                <a:schemeClr val="accent1"/>
              </a:buClr>
              <a:buSzPct val="100000"/>
              <a:buFont typeface="Calibri" panose="020F0502020204030204" pitchFamily="34" charset="0"/>
              <a:buNone/>
              <a:defRPr sz="1200" kern="1200">
                <a:solidFill>
                  <a:schemeClr val="tx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285750" indent="-285750" algn="just">
              <a:lnSpc>
                <a:spcPct val="100000"/>
              </a:lnSpc>
              <a:spcAft>
                <a:spcPts val="600"/>
              </a:spcAft>
              <a:buClr>
                <a:schemeClr val="accent2"/>
              </a:buClr>
              <a:buFont typeface="Wingdings" panose="05000000000000000000" pitchFamily="2" charset="2"/>
              <a:buChar char="q"/>
            </a:pPr>
            <a:r>
              <a:rPr lang="en-US" sz="1400" dirty="0">
                <a:solidFill>
                  <a:schemeClr val="accent1">
                    <a:lumMod val="75000"/>
                  </a:schemeClr>
                </a:solidFill>
              </a:rPr>
              <a:t>A high-quality supplier </a:t>
            </a:r>
            <a:r>
              <a:rPr lang="en-US" sz="1400" dirty="0"/>
              <a:t>is identified as having the capacity to deliver models which have critical features for their target use. </a:t>
            </a:r>
          </a:p>
          <a:p>
            <a:pPr marL="285750" indent="-285750" algn="just">
              <a:lnSpc>
                <a:spcPct val="100000"/>
              </a:lnSpc>
              <a:spcAft>
                <a:spcPts val="600"/>
              </a:spcAft>
              <a:buClr>
                <a:schemeClr val="accent2"/>
              </a:buClr>
              <a:buFont typeface="Wingdings" panose="05000000000000000000" pitchFamily="2" charset="2"/>
              <a:buChar char="q"/>
            </a:pPr>
            <a:r>
              <a:rPr lang="en-US" sz="1400" dirty="0"/>
              <a:t>This can be determined by gathering detailed </a:t>
            </a:r>
            <a:r>
              <a:rPr lang="en-US" sz="1400" dirty="0">
                <a:solidFill>
                  <a:schemeClr val="accent1">
                    <a:lumMod val="75000"/>
                  </a:schemeClr>
                </a:solidFill>
              </a:rPr>
              <a:t>technical and quality certification documents and reviewing these against WHO specifications </a:t>
            </a:r>
            <a:r>
              <a:rPr lang="en-US" sz="1400" dirty="0"/>
              <a:t>and/or a set of internal technical specifications. </a:t>
            </a:r>
          </a:p>
          <a:p>
            <a:pPr marL="285750" indent="-285750" algn="just">
              <a:lnSpc>
                <a:spcPct val="100000"/>
              </a:lnSpc>
              <a:spcAft>
                <a:spcPts val="600"/>
              </a:spcAft>
              <a:buClr>
                <a:schemeClr val="accent2"/>
              </a:buClr>
              <a:buFont typeface="Wingdings" panose="05000000000000000000" pitchFamily="2" charset="2"/>
              <a:buChar char="q"/>
            </a:pPr>
            <a:r>
              <a:rPr lang="en-US" sz="1400" dirty="0"/>
              <a:t>Two product categories prioritized in this document: </a:t>
            </a:r>
            <a:r>
              <a:rPr lang="en-US" sz="1400" dirty="0">
                <a:solidFill>
                  <a:schemeClr val="accent1">
                    <a:lumMod val="75000"/>
                  </a:schemeClr>
                </a:solidFill>
              </a:rPr>
              <a:t>Multiparametric Advanced and Basic Patient Monitors</a:t>
            </a:r>
            <a:r>
              <a:rPr lang="en-US" sz="1400" dirty="0"/>
              <a:t>.</a:t>
            </a:r>
          </a:p>
          <a:p>
            <a:pPr marL="285750" marR="0" lvl="0" indent="-285750" algn="just" defTabSz="685800" rtl="0" eaLnBrk="0" fontAlgn="base" latinLnBrk="0" hangingPunct="0">
              <a:lnSpc>
                <a:spcPct val="100000"/>
              </a:lnSpc>
              <a:spcBef>
                <a:spcPts val="0"/>
              </a:spcBef>
              <a:spcAft>
                <a:spcPts val="600"/>
              </a:spcAft>
              <a:buClr>
                <a:schemeClr val="accent2"/>
              </a:buClr>
              <a:buSzPct val="100000"/>
              <a:buFont typeface="Wingdings" panose="05000000000000000000" pitchFamily="2" charset="2"/>
              <a:buChar char="q"/>
              <a:tabLst/>
              <a:defRPr/>
            </a:pPr>
            <a:r>
              <a:rPr kumimoji="0" lang="en-US" sz="1400" b="0" i="0" u="none" strike="noStrike" kern="1200" cap="none" spc="0" normalizeH="0" baseline="0" noProof="0" dirty="0">
                <a:ln>
                  <a:noFill/>
                </a:ln>
                <a:solidFill>
                  <a:prstClr val="black"/>
                </a:solidFill>
                <a:effectLst/>
                <a:uLnTx/>
                <a:uFillTx/>
              </a:rPr>
              <a:t>Selection Criteria:</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200" b="0" i="0" u="none" strike="noStrike" kern="1200" cap="none" spc="0" normalizeH="0" baseline="0" noProof="0" dirty="0">
                <a:ln>
                  <a:noFill/>
                </a:ln>
                <a:solidFill>
                  <a:srgbClr val="1CADE4">
                    <a:lumMod val="75000"/>
                  </a:srgbClr>
                </a:solidFill>
                <a:effectLst/>
                <a:uLnTx/>
                <a:uFillTx/>
              </a:rPr>
              <a:t>Quality</a:t>
            </a:r>
            <a:r>
              <a:rPr kumimoji="0" lang="en-US" sz="1200" b="0" i="0" u="none" strike="noStrike" kern="1200" cap="none" spc="0" normalizeH="0" baseline="0" noProof="0" dirty="0">
                <a:ln>
                  <a:noFill/>
                </a:ln>
                <a:solidFill>
                  <a:srgbClr val="404040"/>
                </a:solidFill>
                <a:effectLst/>
                <a:uLnTx/>
                <a:uFillTx/>
              </a:rPr>
              <a:t>: Certifications and Registration;</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200" b="0" i="0" u="none" strike="noStrike" kern="1200" cap="none" spc="0" normalizeH="0" baseline="0" noProof="0" dirty="0">
                <a:ln>
                  <a:noFill/>
                </a:ln>
                <a:solidFill>
                  <a:srgbClr val="1CADE4">
                    <a:lumMod val="75000"/>
                  </a:srgbClr>
                </a:solidFill>
                <a:effectLst/>
                <a:uLnTx/>
                <a:uFillTx/>
              </a:rPr>
              <a:t>Ability to service the market</a:t>
            </a:r>
            <a:r>
              <a:rPr kumimoji="0" lang="en-US" sz="1200" b="0" i="0" u="none" strike="noStrike" kern="1200" cap="none" spc="0" normalizeH="0" baseline="0" noProof="0" dirty="0">
                <a:ln>
                  <a:noFill/>
                </a:ln>
                <a:solidFill>
                  <a:srgbClr val="404040"/>
                </a:solidFill>
                <a:effectLst/>
                <a:uLnTx/>
                <a:uFillTx/>
              </a:rPr>
              <a:t>: Production Capability;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200" b="0" i="0" u="none" strike="noStrike" kern="1200" cap="none" spc="0" normalizeH="0" baseline="0" noProof="0" dirty="0">
                <a:ln>
                  <a:noFill/>
                </a:ln>
                <a:solidFill>
                  <a:srgbClr val="1CADE4">
                    <a:lumMod val="75000"/>
                  </a:srgbClr>
                </a:solidFill>
                <a:effectLst/>
                <a:uLnTx/>
                <a:uFillTx/>
              </a:rPr>
              <a:t>Functional Requirements</a:t>
            </a:r>
            <a:r>
              <a:rPr kumimoji="0" lang="en-US" sz="1200" b="0" i="0" u="none" strike="noStrike" kern="1200" cap="none" spc="0" normalizeH="0" baseline="0" noProof="0" dirty="0">
                <a:ln>
                  <a:noFill/>
                </a:ln>
                <a:solidFill>
                  <a:srgbClr val="404040"/>
                </a:solidFill>
                <a:effectLst/>
                <a:uLnTx/>
                <a:uFillTx/>
              </a:rPr>
              <a:t>: Critical elements for use;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200" b="0" i="0" u="none" strike="noStrike" kern="1200" cap="none" spc="0" normalizeH="0" baseline="0" noProof="0" dirty="0">
                <a:ln>
                  <a:noFill/>
                </a:ln>
                <a:solidFill>
                  <a:srgbClr val="1CADE4">
                    <a:lumMod val="75000"/>
                  </a:srgbClr>
                </a:solidFill>
                <a:effectLst/>
                <a:uLnTx/>
                <a:uFillTx/>
              </a:rPr>
              <a:t>Operational Requirement</a:t>
            </a:r>
            <a:r>
              <a:rPr kumimoji="0" lang="en-US" sz="1200" b="0" i="0" u="none" strike="noStrike" kern="1200" cap="none" spc="0" normalizeH="0" baseline="0" noProof="0" dirty="0">
                <a:ln>
                  <a:noFill/>
                </a:ln>
                <a:solidFill>
                  <a:srgbClr val="404040"/>
                </a:solidFill>
                <a:effectLst/>
                <a:uLnTx/>
                <a:uFillTx/>
              </a:rPr>
              <a:t>s: Capability to use in surrounding environments; </a:t>
            </a:r>
          </a:p>
          <a:p>
            <a:pPr marL="573088" marR="0" lvl="1" indent="-285750" algn="just"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200" b="0" i="0" u="none" strike="noStrike" kern="1200" cap="none" spc="0" normalizeH="0" baseline="0" noProof="0" dirty="0">
                <a:ln>
                  <a:noFill/>
                </a:ln>
                <a:solidFill>
                  <a:srgbClr val="1CADE4">
                    <a:lumMod val="75000"/>
                  </a:srgbClr>
                </a:solidFill>
                <a:effectLst/>
                <a:uLnTx/>
                <a:uFillTx/>
              </a:rPr>
              <a:t>Price</a:t>
            </a:r>
            <a:r>
              <a:rPr kumimoji="0" lang="en-US" sz="1200" b="0" i="0" u="none" strike="noStrike" kern="1200" cap="none" spc="0" normalizeH="0" baseline="0" noProof="0" dirty="0">
                <a:ln>
                  <a:noFill/>
                </a:ln>
                <a:solidFill>
                  <a:srgbClr val="404040"/>
                </a:solidFill>
                <a:effectLst/>
                <a:uLnTx/>
                <a:uFillTx/>
              </a:rPr>
              <a:t>: Competitive pricing, prepayment, and potential procurement.</a:t>
            </a:r>
            <a:endParaRPr lang="en-US" sz="1200" dirty="0"/>
          </a:p>
          <a:p>
            <a:pPr marR="0" lvl="1" indent="0" algn="just" defTabSz="685800" rtl="0" eaLnBrk="0" fontAlgn="base" latinLnBrk="0" hangingPunct="0">
              <a:lnSpc>
                <a:spcPct val="100000"/>
              </a:lnSpc>
              <a:spcBef>
                <a:spcPts val="0"/>
              </a:spcBef>
              <a:spcAft>
                <a:spcPts val="600"/>
              </a:spcAft>
              <a:buClr>
                <a:srgbClr val="1CADE4">
                  <a:lumMod val="75000"/>
                </a:srgbClr>
              </a:buClr>
              <a:buSzTx/>
              <a:buNone/>
              <a:tabLst/>
              <a:defRPr/>
            </a:pPr>
            <a:endParaRPr kumimoji="0" lang="en-US" sz="1200" b="0" i="0" u="none" strike="noStrike" kern="1200" cap="none" spc="0" normalizeH="0" baseline="0" noProof="0" dirty="0">
              <a:ln>
                <a:noFill/>
              </a:ln>
              <a:solidFill>
                <a:srgbClr val="404040"/>
              </a:solidFill>
              <a:effectLst/>
              <a:uLnTx/>
              <a:uFillTx/>
            </a:endParaRPr>
          </a:p>
          <a:p>
            <a:pPr marL="573088" marR="0" lvl="1" indent="-285750" algn="just" defTabSz="685800" rtl="0" eaLnBrk="0" fontAlgn="base" latinLnBrk="0" hangingPunct="0">
              <a:lnSpc>
                <a:spcPct val="100000"/>
              </a:lnSpc>
              <a:spcBef>
                <a:spcPts val="0"/>
              </a:spcBef>
              <a:spcAft>
                <a:spcPts val="600"/>
              </a:spcAft>
              <a:buClr>
                <a:srgbClr val="1CADE4">
                  <a:lumMod val="75000"/>
                </a:srgbClr>
              </a:buClr>
              <a:buSzTx/>
              <a:buFont typeface="Wingdings" panose="05000000000000000000" pitchFamily="2" charset="2"/>
              <a:buChar char="Ø"/>
              <a:tabLst/>
              <a:defRPr/>
            </a:pPr>
            <a:endParaRPr kumimoji="0" lang="en-US" sz="1400" b="0" i="0" u="none" strike="noStrike" kern="1200" cap="none" spc="0" normalizeH="0" baseline="0" noProof="0" dirty="0">
              <a:ln>
                <a:noFill/>
              </a:ln>
              <a:solidFill>
                <a:srgbClr val="404040"/>
              </a:solidFill>
              <a:effectLst/>
              <a:uLnTx/>
              <a:uFillTx/>
            </a:endParaRPr>
          </a:p>
          <a:p>
            <a:pPr marL="287338" marR="0" lvl="1" indent="0" algn="just" defTabSz="685800" rtl="0" eaLnBrk="0" fontAlgn="base" latinLnBrk="0" hangingPunct="0">
              <a:lnSpc>
                <a:spcPct val="100000"/>
              </a:lnSpc>
              <a:spcBef>
                <a:spcPts val="0"/>
              </a:spcBef>
              <a:spcAft>
                <a:spcPts val="600"/>
              </a:spcAft>
              <a:buClr>
                <a:srgbClr val="1CADE4">
                  <a:lumMod val="75000"/>
                </a:srgbClr>
              </a:buClr>
              <a:buSzTx/>
              <a:buFont typeface="Calibri" panose="020F0502020204030204" pitchFamily="34" charset="0"/>
              <a:buNone/>
              <a:tabLst/>
              <a:defRPr/>
            </a:pPr>
            <a:endParaRPr kumimoji="0" lang="en-US" sz="1400" b="0" i="0" u="sng" strike="noStrike" kern="1200" cap="none" spc="0" normalizeH="0" baseline="0" noProof="0" dirty="0">
              <a:ln>
                <a:noFill/>
              </a:ln>
              <a:solidFill>
                <a:srgbClr val="404040"/>
              </a:solidFill>
              <a:effectLst/>
              <a:uLnTx/>
              <a:uFillTx/>
            </a:endParaRPr>
          </a:p>
        </p:txBody>
      </p:sp>
      <p:cxnSp>
        <p:nvCxnSpPr>
          <p:cNvPr id="11" name="Straight Connector 10">
            <a:extLst>
              <a:ext uri="{FF2B5EF4-FFF2-40B4-BE49-F238E27FC236}">
                <a16:creationId xmlns:a16="http://schemas.microsoft.com/office/drawing/2014/main" id="{53CF1ED1-424A-438B-B2A7-0F54D96C3125}"/>
              </a:ext>
            </a:extLst>
          </p:cNvPr>
          <p:cNvCxnSpPr>
            <a:cxnSpLocks/>
          </p:cNvCxnSpPr>
          <p:nvPr/>
        </p:nvCxnSpPr>
        <p:spPr>
          <a:xfrm flipH="1">
            <a:off x="4419597" y="1905000"/>
            <a:ext cx="3" cy="4187742"/>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0680511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27D04E9-0A03-4952-81F8-61F17FD7D26C}"/>
              </a:ext>
            </a:extLst>
          </p:cNvPr>
          <p:cNvSpPr>
            <a:spLocks noGrp="1"/>
          </p:cNvSpPr>
          <p:nvPr>
            <p:ph type="title"/>
          </p:nvPr>
        </p:nvSpPr>
        <p:spPr>
          <a:xfrm>
            <a:off x="914400" y="258728"/>
            <a:ext cx="7451725" cy="1452946"/>
          </a:xfrm>
        </p:spPr>
        <p:txBody>
          <a:bodyPr>
            <a:normAutofit/>
          </a:bodyPr>
          <a:lstStyle/>
          <a:p>
            <a:pPr algn="ctr"/>
            <a:r>
              <a:rPr lang="en-US" sz="2800" dirty="0">
                <a:solidFill>
                  <a:schemeClr val="accent2">
                    <a:lumMod val="75000"/>
                  </a:schemeClr>
                </a:solidFill>
                <a:latin typeface="+mn-lt"/>
              </a:rPr>
              <a:t>Product Requirements That May Impact The Number Of Models Available For Procurement</a:t>
            </a:r>
          </a:p>
        </p:txBody>
      </p:sp>
      <p:graphicFrame>
        <p:nvGraphicFramePr>
          <p:cNvPr id="8" name="Table 8">
            <a:extLst>
              <a:ext uri="{FF2B5EF4-FFF2-40B4-BE49-F238E27FC236}">
                <a16:creationId xmlns:a16="http://schemas.microsoft.com/office/drawing/2014/main" id="{7732F27D-8969-4068-91AE-E8BCBB6B7190}"/>
              </a:ext>
            </a:extLst>
          </p:cNvPr>
          <p:cNvGraphicFramePr>
            <a:graphicFrameLocks noGrp="1"/>
          </p:cNvGraphicFramePr>
          <p:nvPr>
            <p:ph sz="half" idx="4294967295"/>
            <p:extLst>
              <p:ext uri="{D42A27DB-BD31-4B8C-83A1-F6EECF244321}">
                <p14:modId xmlns:p14="http://schemas.microsoft.com/office/powerpoint/2010/main" val="2068852296"/>
              </p:ext>
            </p:extLst>
          </p:nvPr>
        </p:nvGraphicFramePr>
        <p:xfrm>
          <a:off x="914400" y="1804283"/>
          <a:ext cx="7543801" cy="4427787"/>
        </p:xfrm>
        <a:graphic>
          <a:graphicData uri="http://schemas.openxmlformats.org/drawingml/2006/table">
            <a:tbl>
              <a:tblPr firstRow="1" bandRow="1">
                <a:tableStyleId>{0660B408-B3CF-4A94-85FC-2B1E0A45F4A2}</a:tableStyleId>
              </a:tblPr>
              <a:tblGrid>
                <a:gridCol w="2321171">
                  <a:extLst>
                    <a:ext uri="{9D8B030D-6E8A-4147-A177-3AD203B41FA5}">
                      <a16:colId xmlns:a16="http://schemas.microsoft.com/office/drawing/2014/main" val="618828795"/>
                    </a:ext>
                  </a:extLst>
                </a:gridCol>
                <a:gridCol w="5222630">
                  <a:extLst>
                    <a:ext uri="{9D8B030D-6E8A-4147-A177-3AD203B41FA5}">
                      <a16:colId xmlns:a16="http://schemas.microsoft.com/office/drawing/2014/main" val="4108787759"/>
                    </a:ext>
                  </a:extLst>
                </a:gridCol>
              </a:tblGrid>
              <a:tr h="320675">
                <a:tc>
                  <a:txBody>
                    <a:bodyPr/>
                    <a:lstStyle/>
                    <a:p>
                      <a:r>
                        <a:rPr lang="en-US" sz="1400" dirty="0">
                          <a:latin typeface="+mn-lt"/>
                        </a:rPr>
                        <a:t>Product requirements</a:t>
                      </a:r>
                    </a:p>
                  </a:txBody>
                  <a:tcPr/>
                </a:tc>
                <a:tc>
                  <a:txBody>
                    <a:bodyPr/>
                    <a:lstStyle/>
                    <a:p>
                      <a:pPr algn="ctr"/>
                      <a:r>
                        <a:rPr lang="en-US" sz="1400" dirty="0">
                          <a:latin typeface="+mn-lt"/>
                        </a:rPr>
                        <a:t>Details</a:t>
                      </a:r>
                    </a:p>
                  </a:txBody>
                  <a:tcPr/>
                </a:tc>
                <a:extLst>
                  <a:ext uri="{0D108BD9-81ED-4DB2-BD59-A6C34878D82A}">
                    <a16:rowId xmlns:a16="http://schemas.microsoft.com/office/drawing/2014/main" val="125287569"/>
                  </a:ext>
                </a:extLst>
              </a:tr>
              <a:tr h="989497">
                <a:tc>
                  <a:txBody>
                    <a:bodyPr/>
                    <a:lstStyle/>
                    <a:p>
                      <a:pPr algn="l" rtl="0" fontAlgn="ctr"/>
                      <a:r>
                        <a:rPr lang="en-US" sz="1400" b="1" i="0" u="none" strike="noStrike" dirty="0">
                          <a:solidFill>
                            <a:srgbClr val="000000"/>
                          </a:solidFill>
                          <a:effectLst/>
                          <a:latin typeface="+mn-lt"/>
                        </a:rPr>
                        <a:t>Screen size</a:t>
                      </a:r>
                    </a:p>
                  </a:txBody>
                  <a:tcPr marL="6350" marR="6350" marT="6350" marB="0"/>
                </a:tc>
                <a:tc>
                  <a:txBody>
                    <a:bodyPr/>
                    <a:lstStyle/>
                    <a:p>
                      <a:pPr algn="l" fontAlgn="b"/>
                      <a:r>
                        <a:rPr lang="en-US" sz="1400" b="0" i="0" u="none" strike="noStrike" dirty="0">
                          <a:solidFill>
                            <a:srgbClr val="000000"/>
                          </a:solidFill>
                          <a:effectLst/>
                          <a:latin typeface="+mn-lt"/>
                        </a:rPr>
                        <a:t>Based on information collected, patient monitors with a screen size of 12” captured the range of products that tend to contain the most critical functional parameters for a broad range of applications and also tend to ensure large enough screen size for clinicians to monitor patients from a short distance if needed. </a:t>
                      </a:r>
                    </a:p>
                  </a:txBody>
                  <a:tcPr marL="6350" marR="6350" marT="6350" marB="0"/>
                </a:tc>
                <a:extLst>
                  <a:ext uri="{0D108BD9-81ED-4DB2-BD59-A6C34878D82A}">
                    <a16:rowId xmlns:a16="http://schemas.microsoft.com/office/drawing/2014/main" val="1550421245"/>
                  </a:ext>
                </a:extLst>
              </a:tr>
              <a:tr h="792768">
                <a:tc>
                  <a:txBody>
                    <a:bodyPr/>
                    <a:lstStyle/>
                    <a:p>
                      <a:pPr algn="l" rtl="0" fontAlgn="ctr"/>
                      <a:r>
                        <a:rPr lang="en-US" sz="1400" b="1" i="0" u="none" strike="noStrike">
                          <a:solidFill>
                            <a:srgbClr val="000000"/>
                          </a:solidFill>
                          <a:effectLst/>
                          <a:latin typeface="+mn-lt"/>
                        </a:rPr>
                        <a:t>Compatibility with pacemakers </a:t>
                      </a:r>
                    </a:p>
                  </a:txBody>
                  <a:tcPr marL="6350" marR="6350" marT="6350" marB="0"/>
                </a:tc>
                <a:tc>
                  <a:txBody>
                    <a:bodyPr/>
                    <a:lstStyle/>
                    <a:p>
                      <a:pPr algn="l" fontAlgn="b"/>
                      <a:r>
                        <a:rPr lang="en-US" sz="1400" b="0" i="0" u="none" strike="noStrike">
                          <a:solidFill>
                            <a:srgbClr val="000000"/>
                          </a:solidFill>
                          <a:effectLst/>
                          <a:latin typeface="+mn-lt"/>
                        </a:rPr>
                        <a:t>Buyers should consider compatibility for use with pacemakers, such as models which use separate modes for pacemaker patients and/or have the ability to automatically detect that pacemakers will be required in target use cases.</a:t>
                      </a:r>
                    </a:p>
                  </a:txBody>
                  <a:tcPr marL="6350" marR="6350" marT="6350" marB="0"/>
                </a:tc>
                <a:extLst>
                  <a:ext uri="{0D108BD9-81ED-4DB2-BD59-A6C34878D82A}">
                    <a16:rowId xmlns:a16="http://schemas.microsoft.com/office/drawing/2014/main" val="3825053538"/>
                  </a:ext>
                </a:extLst>
              </a:tr>
              <a:tr h="595593">
                <a:tc>
                  <a:txBody>
                    <a:bodyPr/>
                    <a:lstStyle/>
                    <a:p>
                      <a:pPr algn="l" rtl="0" fontAlgn="ctr"/>
                      <a:r>
                        <a:rPr lang="en-US" sz="1400" b="1" i="0" u="none" strike="noStrike">
                          <a:solidFill>
                            <a:srgbClr val="000000"/>
                          </a:solidFill>
                          <a:effectLst/>
                          <a:latin typeface="+mn-lt"/>
                        </a:rPr>
                        <a:t>Ability to operate at &gt; 85% relative humidity: </a:t>
                      </a:r>
                    </a:p>
                  </a:txBody>
                  <a:tcPr marL="6350" marR="6350" marT="6350" marB="0"/>
                </a:tc>
                <a:tc>
                  <a:txBody>
                    <a:bodyPr/>
                    <a:lstStyle/>
                    <a:p>
                      <a:pPr algn="l" fontAlgn="b"/>
                      <a:r>
                        <a:rPr lang="en-US" sz="1400" b="0" i="0" u="none" strike="noStrike" dirty="0">
                          <a:solidFill>
                            <a:srgbClr val="000000"/>
                          </a:solidFill>
                          <a:effectLst/>
                          <a:latin typeface="+mn-lt"/>
                        </a:rPr>
                        <a:t>All models identified were able to operate at less than 85 percent humidity, with some able to operate at up to 90 percent humidity.</a:t>
                      </a:r>
                    </a:p>
                  </a:txBody>
                  <a:tcPr marL="6350" marR="6350" marT="6350" marB="0"/>
                </a:tc>
                <a:extLst>
                  <a:ext uri="{0D108BD9-81ED-4DB2-BD59-A6C34878D82A}">
                    <a16:rowId xmlns:a16="http://schemas.microsoft.com/office/drawing/2014/main" val="2888467708"/>
                  </a:ext>
                </a:extLst>
              </a:tr>
              <a:tr h="718789">
                <a:tc>
                  <a:txBody>
                    <a:bodyPr/>
                    <a:lstStyle/>
                    <a:p>
                      <a:pPr algn="l" rtl="0" fontAlgn="ctr"/>
                      <a:r>
                        <a:rPr lang="en-US" sz="1400" b="1" i="0" u="none" strike="noStrike" dirty="0">
                          <a:solidFill>
                            <a:srgbClr val="000000"/>
                          </a:solidFill>
                          <a:effectLst/>
                          <a:latin typeface="+mn-lt"/>
                        </a:rPr>
                        <a:t>Warranty </a:t>
                      </a:r>
                    </a:p>
                  </a:txBody>
                  <a:tcPr marL="6350" marR="6350" marT="6350" marB="0"/>
                </a:tc>
                <a:tc>
                  <a:txBody>
                    <a:bodyPr/>
                    <a:lstStyle/>
                    <a:p>
                      <a:pPr algn="l" fontAlgn="b"/>
                      <a:r>
                        <a:rPr lang="en-US" sz="1400" b="0" i="0" u="none" strike="noStrike">
                          <a:solidFill>
                            <a:srgbClr val="000000"/>
                          </a:solidFill>
                          <a:effectLst/>
                          <a:latin typeface="+mn-lt"/>
                        </a:rPr>
                        <a:t>All suppliers identified were able to offer a two-year warranty. Many were able to offer a warranty for up to five years for an additional fee.</a:t>
                      </a:r>
                    </a:p>
                  </a:txBody>
                  <a:tcPr marL="6350" marR="6350" marT="6350" marB="0"/>
                </a:tc>
                <a:extLst>
                  <a:ext uri="{0D108BD9-81ED-4DB2-BD59-A6C34878D82A}">
                    <a16:rowId xmlns:a16="http://schemas.microsoft.com/office/drawing/2014/main" val="3012935000"/>
                  </a:ext>
                </a:extLst>
              </a:tr>
              <a:tr h="792768">
                <a:tc>
                  <a:txBody>
                    <a:bodyPr/>
                    <a:lstStyle/>
                    <a:p>
                      <a:pPr algn="l" rtl="0" fontAlgn="ctr"/>
                      <a:r>
                        <a:rPr lang="en-US" sz="1400" b="1" i="0" u="none" strike="noStrike" dirty="0">
                          <a:solidFill>
                            <a:srgbClr val="000000"/>
                          </a:solidFill>
                          <a:effectLst/>
                          <a:latin typeface="+mn-lt"/>
                        </a:rPr>
                        <a:t>Spare parts and accessories</a:t>
                      </a:r>
                    </a:p>
                  </a:txBody>
                  <a:tcPr marL="6350" marR="6350" marT="6350" marB="0"/>
                </a:tc>
                <a:tc>
                  <a:txBody>
                    <a:bodyPr/>
                    <a:lstStyle/>
                    <a:p>
                      <a:pPr algn="l" fontAlgn="b"/>
                      <a:r>
                        <a:rPr lang="en-US" sz="1400" b="0" i="0" u="none" strike="noStrike" dirty="0">
                          <a:solidFill>
                            <a:srgbClr val="000000"/>
                          </a:solidFill>
                          <a:effectLst/>
                          <a:latin typeface="+mn-lt"/>
                        </a:rPr>
                        <a:t>Most suppliers have a detailed list of spare parts and accessories which can be bundled with the patient monitor. Required spare parts and accessories should be outlined individually in the procurement order and may incur additional costs on top of the base product</a:t>
                      </a:r>
                    </a:p>
                  </a:txBody>
                  <a:tcPr marL="6350" marR="6350" marT="6350" marB="0"/>
                </a:tc>
                <a:extLst>
                  <a:ext uri="{0D108BD9-81ED-4DB2-BD59-A6C34878D82A}">
                    <a16:rowId xmlns:a16="http://schemas.microsoft.com/office/drawing/2014/main" val="377404426"/>
                  </a:ext>
                </a:extLst>
              </a:tr>
            </a:tbl>
          </a:graphicData>
        </a:graphic>
      </p:graphicFrame>
      <p:sp>
        <p:nvSpPr>
          <p:cNvPr id="5" name="TextBox 4">
            <a:extLst>
              <a:ext uri="{FF2B5EF4-FFF2-40B4-BE49-F238E27FC236}">
                <a16:creationId xmlns:a16="http://schemas.microsoft.com/office/drawing/2014/main" id="{E7E4C858-FD65-41AC-A0C1-204BE3D3F296}"/>
              </a:ext>
            </a:extLst>
          </p:cNvPr>
          <p:cNvSpPr txBox="1"/>
          <p:nvPr/>
        </p:nvSpPr>
        <p:spPr>
          <a:xfrm>
            <a:off x="0" y="6400800"/>
            <a:ext cx="9144000" cy="369332"/>
          </a:xfrm>
          <a:prstGeom prst="rect">
            <a:avLst/>
          </a:prstGeom>
          <a:noFill/>
        </p:spPr>
        <p:txBody>
          <a:bodyPr wrap="square" rtlCol="0">
            <a:spAutoFit/>
          </a:bodyPr>
          <a:lstStyle/>
          <a:p>
            <a:r>
              <a:rPr lang="en-US" sz="900" b="1" dirty="0">
                <a:latin typeface="+mn-lt"/>
              </a:rPr>
              <a:t>Source: Respiratory Care Equipment Market Report. 2020. </a:t>
            </a:r>
          </a:p>
          <a:p>
            <a:r>
              <a:rPr lang="en-US" sz="900" b="1" dirty="0">
                <a:latin typeface="+mn-lt"/>
              </a:rPr>
              <a:t>Link: thttps://path.azureedge.net/media/documents/RespCare_Equipemnt_Market_Report_FINAL_10Dec2020.pdf</a:t>
            </a:r>
          </a:p>
        </p:txBody>
      </p:sp>
    </p:spTree>
    <p:extLst>
      <p:ext uri="{BB962C8B-B14F-4D97-AF65-F5344CB8AC3E}">
        <p14:creationId xmlns:p14="http://schemas.microsoft.com/office/powerpoint/2010/main" val="408827658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254930" y="2505075"/>
            <a:ext cx="5334000" cy="1847850"/>
          </a:xfrm>
        </p:spPr>
        <p:txBody>
          <a:bodyPr rtlCol="0">
            <a:noAutofit/>
          </a:bodyPr>
          <a:lstStyle/>
          <a:p>
            <a:pPr marL="0" indent="0" eaLnBrk="1" fontAlgn="auto" hangingPunct="1">
              <a:lnSpc>
                <a:spcPct val="100000"/>
              </a:lnSpc>
              <a:spcBef>
                <a:spcPts val="0"/>
              </a:spcBef>
              <a:spcAft>
                <a:spcPts val="0"/>
              </a:spcAft>
              <a:buFont typeface="Calibri" panose="020F0502020204030204" pitchFamily="34" charset="0"/>
              <a:buNone/>
              <a:defRPr/>
            </a:pPr>
            <a:r>
              <a:rPr lang="en-US" sz="3600" b="1" dirty="0">
                <a:solidFill>
                  <a:schemeClr val="accent2">
                    <a:lumMod val="75000"/>
                  </a:schemeClr>
                </a:solidFill>
              </a:rPr>
              <a:t>Vacuum / Pressure Swing Adsorption Plant Supplier Landscape </a:t>
            </a:r>
          </a:p>
          <a:p>
            <a:pPr marL="561975" lvl="1" indent="-342900" eaLnBrk="1" fontAlgn="auto" hangingPunct="1">
              <a:lnSpc>
                <a:spcPct val="100000"/>
              </a:lnSpc>
              <a:spcBef>
                <a:spcPts val="0"/>
              </a:spcBef>
              <a:spcAft>
                <a:spcPts val="0"/>
              </a:spcAft>
              <a:buFont typeface="Arial" panose="020B0604020202020204" pitchFamily="34" charset="0"/>
              <a:buChar char="•"/>
              <a:defRPr/>
            </a:pPr>
            <a:endParaRPr lang="en-US" sz="1375" b="1" dirty="0">
              <a:solidFill>
                <a:schemeClr val="accent2">
                  <a:lumMod val="75000"/>
                </a:schemeClr>
              </a:solidFill>
            </a:endParaRPr>
          </a:p>
        </p:txBody>
      </p:sp>
      <p:pic>
        <p:nvPicPr>
          <p:cNvPr id="4" name="Picture 3">
            <a:extLst>
              <a:ext uri="{FF2B5EF4-FFF2-40B4-BE49-F238E27FC236}">
                <a16:creationId xmlns:a16="http://schemas.microsoft.com/office/drawing/2014/main" id="{81E109C8-42D8-47A0-B8FD-08407DDA0BE8}"/>
              </a:ext>
            </a:extLst>
          </p:cNvPr>
          <p:cNvPicPr>
            <a:picLocks noChangeAspect="1"/>
          </p:cNvPicPr>
          <p:nvPr/>
        </p:nvPicPr>
        <p:blipFill>
          <a:blip r:embed="rId3"/>
          <a:stretch>
            <a:fillRect/>
          </a:stretch>
        </p:blipFill>
        <p:spPr>
          <a:xfrm>
            <a:off x="152400" y="2133600"/>
            <a:ext cx="2764870" cy="2168105"/>
          </a:xfrm>
          <a:prstGeom prst="rect">
            <a:avLst/>
          </a:prstGeom>
        </p:spPr>
      </p:pic>
      <p:sp>
        <p:nvSpPr>
          <p:cNvPr id="5" name="TextBox 4">
            <a:extLst>
              <a:ext uri="{FF2B5EF4-FFF2-40B4-BE49-F238E27FC236}">
                <a16:creationId xmlns:a16="http://schemas.microsoft.com/office/drawing/2014/main" id="{9A72AD8F-8B77-4BFD-853C-FC788EC0FEC9}"/>
              </a:ext>
            </a:extLst>
          </p:cNvPr>
          <p:cNvSpPr txBox="1"/>
          <p:nvPr/>
        </p:nvSpPr>
        <p:spPr>
          <a:xfrm>
            <a:off x="152400" y="4495800"/>
            <a:ext cx="2764870" cy="954107"/>
          </a:xfrm>
          <a:prstGeom prst="rect">
            <a:avLst/>
          </a:prstGeom>
          <a:noFill/>
        </p:spPr>
        <p:txBody>
          <a:bodyPr wrap="square">
            <a:spAutoFit/>
          </a:bodyPr>
          <a:lstStyle/>
          <a:p>
            <a:pPr algn="ctr"/>
            <a:r>
              <a:rPr lang="en-US" sz="2800" b="1" dirty="0">
                <a:solidFill>
                  <a:schemeClr val="bg1"/>
                </a:solidFill>
                <a:latin typeface="+mn-lt"/>
              </a:rPr>
              <a:t>Pressure Swing Adsorption plant </a:t>
            </a:r>
          </a:p>
        </p:txBody>
      </p:sp>
    </p:spTree>
    <p:extLst>
      <p:ext uri="{BB962C8B-B14F-4D97-AF65-F5344CB8AC3E}">
        <p14:creationId xmlns:p14="http://schemas.microsoft.com/office/powerpoint/2010/main" val="252000335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6666CA-7D6A-4712-B2B3-809DB8A28587}"/>
              </a:ext>
            </a:extLst>
          </p:cNvPr>
          <p:cNvSpPr>
            <a:spLocks noGrp="1"/>
          </p:cNvSpPr>
          <p:nvPr>
            <p:ph type="body" sz="quarter" idx="14"/>
          </p:nvPr>
        </p:nvSpPr>
        <p:spPr>
          <a:xfrm>
            <a:off x="883346" y="964504"/>
            <a:ext cx="3841052" cy="788288"/>
          </a:xfrm>
          <a:ln>
            <a:noFill/>
          </a:ln>
        </p:spPr>
        <p:txBody>
          <a:bodyPr/>
          <a:lstStyle/>
          <a:p>
            <a:r>
              <a:rPr lang="en-US" dirty="0">
                <a:solidFill>
                  <a:schemeClr val="accent2">
                    <a:lumMod val="75000"/>
                  </a:schemeClr>
                </a:solidFill>
              </a:rPr>
              <a:t>Considerations for Product Deployment </a:t>
            </a:r>
          </a:p>
          <a:p>
            <a:endParaRPr lang="en-US" dirty="0">
              <a:solidFill>
                <a:schemeClr val="accent2">
                  <a:lumMod val="75000"/>
                </a:schemeClr>
              </a:solidFill>
            </a:endParaRPr>
          </a:p>
        </p:txBody>
      </p:sp>
      <p:sp>
        <p:nvSpPr>
          <p:cNvPr id="7" name="Text Placeholder 6">
            <a:extLst>
              <a:ext uri="{FF2B5EF4-FFF2-40B4-BE49-F238E27FC236}">
                <a16:creationId xmlns:a16="http://schemas.microsoft.com/office/drawing/2014/main" id="{F2268F0D-FA62-4F5C-B240-BF76CFF07AF1}"/>
              </a:ext>
            </a:extLst>
          </p:cNvPr>
          <p:cNvSpPr>
            <a:spLocks noGrp="1"/>
          </p:cNvSpPr>
          <p:nvPr>
            <p:ph type="body" sz="quarter" idx="15"/>
          </p:nvPr>
        </p:nvSpPr>
        <p:spPr>
          <a:xfrm>
            <a:off x="907444" y="1828800"/>
            <a:ext cx="3664556" cy="4343400"/>
          </a:xfrm>
        </p:spPr>
        <p:txBody>
          <a:bodyPr/>
          <a:lstStyle/>
          <a:p>
            <a:pPr marL="274320" indent="-274320">
              <a:lnSpc>
                <a:spcPct val="100000"/>
              </a:lnSpc>
              <a:spcAft>
                <a:spcPts val="600"/>
              </a:spcAft>
              <a:buClr>
                <a:schemeClr val="accent2"/>
              </a:buClr>
              <a:buFont typeface="Wingdings" panose="05000000000000000000" pitchFamily="2" charset="2"/>
              <a:buChar char="q"/>
            </a:pPr>
            <a:r>
              <a:rPr lang="en-US" sz="1400" u="sng" dirty="0">
                <a:solidFill>
                  <a:schemeClr val="accent2">
                    <a:lumMod val="75000"/>
                  </a:schemeClr>
                </a:solidFill>
              </a:rPr>
              <a:t>Pressure swing adsorption </a:t>
            </a:r>
            <a:r>
              <a:rPr lang="en-US" sz="1400" dirty="0"/>
              <a:t>(PSA) oxygen generation plants are designed to produce medical grade oxygen at scale.</a:t>
            </a:r>
          </a:p>
          <a:p>
            <a:pPr marL="274320" indent="-274320">
              <a:lnSpc>
                <a:spcPct val="100000"/>
              </a:lnSpc>
              <a:spcAft>
                <a:spcPts val="600"/>
              </a:spcAft>
              <a:buClr>
                <a:schemeClr val="accent2"/>
              </a:buClr>
              <a:buFont typeface="Wingdings" panose="05000000000000000000" pitchFamily="2" charset="2"/>
              <a:buChar char="q"/>
            </a:pPr>
            <a:r>
              <a:rPr lang="en-US" sz="1400" dirty="0"/>
              <a:t>They can deliver oxygen at varying flow rates directly to health facilities via piping or compressed and stored in cylinders for storage and distribution. </a:t>
            </a:r>
          </a:p>
          <a:p>
            <a:pPr marL="274320" indent="-274320">
              <a:lnSpc>
                <a:spcPct val="100000"/>
              </a:lnSpc>
              <a:spcAft>
                <a:spcPts val="600"/>
              </a:spcAft>
              <a:buClr>
                <a:schemeClr val="accent2"/>
              </a:buClr>
              <a:buFont typeface="Wingdings" panose="05000000000000000000" pitchFamily="2" charset="2"/>
              <a:buChar char="q"/>
            </a:pPr>
            <a:r>
              <a:rPr lang="en-US" sz="1400" dirty="0"/>
              <a:t>When </a:t>
            </a:r>
            <a:r>
              <a:rPr lang="en-US" sz="1400" dirty="0">
                <a:solidFill>
                  <a:schemeClr val="accent1">
                    <a:lumMod val="75000"/>
                  </a:schemeClr>
                </a:solidFill>
              </a:rPr>
              <a:t>deploying a solution involving a PSA plant</a:t>
            </a:r>
            <a:r>
              <a:rPr lang="en-US" sz="1400" dirty="0"/>
              <a:t>, in addition to selecting a supplier, buyers should consider the ecosystem where the product is deployed. This is including but not limited to:</a:t>
            </a:r>
          </a:p>
          <a:p>
            <a:pPr marL="573088" lvl="1" indent="-285750">
              <a:lnSpc>
                <a:spcPct val="100000"/>
              </a:lnSpc>
              <a:spcBef>
                <a:spcPts val="0"/>
              </a:spcBef>
              <a:spcAft>
                <a:spcPts val="600"/>
              </a:spcAft>
              <a:buClr>
                <a:schemeClr val="accent2"/>
              </a:buClr>
              <a:buFont typeface="Wingdings" panose="05000000000000000000" pitchFamily="2" charset="2"/>
              <a:buChar char="Ø"/>
            </a:pPr>
            <a:r>
              <a:rPr lang="en-US" sz="1400" dirty="0">
                <a:solidFill>
                  <a:schemeClr val="accent2">
                    <a:lumMod val="75000"/>
                  </a:schemeClr>
                </a:solidFill>
              </a:rPr>
              <a:t>Clarity on service offerings</a:t>
            </a:r>
          </a:p>
          <a:p>
            <a:pPr marL="573088" lvl="1" indent="-285750">
              <a:lnSpc>
                <a:spcPct val="100000"/>
              </a:lnSpc>
              <a:spcBef>
                <a:spcPts val="0"/>
              </a:spcBef>
              <a:spcAft>
                <a:spcPts val="600"/>
              </a:spcAft>
              <a:buClr>
                <a:schemeClr val="accent2"/>
              </a:buClr>
              <a:buFont typeface="Wingdings" panose="05000000000000000000" pitchFamily="2" charset="2"/>
              <a:buChar char="Ø"/>
            </a:pPr>
            <a:r>
              <a:rPr lang="en-US" sz="1400" dirty="0">
                <a:solidFill>
                  <a:schemeClr val="accent2">
                    <a:lumMod val="75000"/>
                  </a:schemeClr>
                </a:solidFill>
              </a:rPr>
              <a:t>Ownership and operating models</a:t>
            </a:r>
          </a:p>
          <a:p>
            <a:pPr marL="573088" lvl="1" indent="-285750">
              <a:lnSpc>
                <a:spcPct val="100000"/>
              </a:lnSpc>
              <a:spcBef>
                <a:spcPts val="0"/>
              </a:spcBef>
              <a:spcAft>
                <a:spcPts val="600"/>
              </a:spcAft>
              <a:buClr>
                <a:schemeClr val="accent2"/>
              </a:buClr>
              <a:buFont typeface="Wingdings" panose="05000000000000000000" pitchFamily="2" charset="2"/>
              <a:buChar char="Ø"/>
            </a:pPr>
            <a:r>
              <a:rPr lang="en-US" sz="1400" dirty="0">
                <a:solidFill>
                  <a:schemeClr val="accent2">
                    <a:lumMod val="75000"/>
                  </a:schemeClr>
                </a:solidFill>
              </a:rPr>
              <a:t>Compatibility with delivery system</a:t>
            </a:r>
          </a:p>
          <a:p>
            <a:pPr marL="573088" lvl="1" indent="-285750">
              <a:lnSpc>
                <a:spcPct val="100000"/>
              </a:lnSpc>
              <a:spcBef>
                <a:spcPts val="0"/>
              </a:spcBef>
              <a:spcAft>
                <a:spcPts val="600"/>
              </a:spcAft>
              <a:buClr>
                <a:schemeClr val="accent2"/>
              </a:buClr>
              <a:buFont typeface="Wingdings" panose="05000000000000000000" pitchFamily="2" charset="2"/>
              <a:buChar char="Ø"/>
            </a:pPr>
            <a:r>
              <a:rPr lang="en-US" sz="1400" dirty="0">
                <a:solidFill>
                  <a:schemeClr val="accent2">
                    <a:lumMod val="75000"/>
                  </a:schemeClr>
                </a:solidFill>
              </a:rPr>
              <a:t>Supporting infrastructure</a:t>
            </a:r>
          </a:p>
          <a:p>
            <a:pPr marL="274320" indent="-274320">
              <a:lnSpc>
                <a:spcPct val="100000"/>
              </a:lnSpc>
              <a:spcAft>
                <a:spcPts val="600"/>
              </a:spcAft>
              <a:buFont typeface="Wingdings" panose="05000000000000000000" pitchFamily="2" charset="2"/>
              <a:buChar char="q"/>
            </a:pPr>
            <a:endParaRPr lang="en-US" sz="1400" dirty="0"/>
          </a:p>
          <a:p>
            <a:pPr marL="274320" indent="-274320">
              <a:lnSpc>
                <a:spcPct val="100000"/>
              </a:lnSpc>
              <a:spcAft>
                <a:spcPts val="1200"/>
              </a:spcAft>
              <a:buFont typeface="Wingdings" panose="05000000000000000000" pitchFamily="2" charset="2"/>
              <a:buChar char="q"/>
            </a:pPr>
            <a:endParaRPr lang="en-US" sz="1400" dirty="0"/>
          </a:p>
        </p:txBody>
      </p:sp>
      <p:sp>
        <p:nvSpPr>
          <p:cNvPr id="8" name="Text Placeholder 5">
            <a:extLst>
              <a:ext uri="{FF2B5EF4-FFF2-40B4-BE49-F238E27FC236}">
                <a16:creationId xmlns:a16="http://schemas.microsoft.com/office/drawing/2014/main" id="{7119310A-7B46-499A-9424-086F407A3F64}"/>
              </a:ext>
            </a:extLst>
          </p:cNvPr>
          <p:cNvSpPr txBox="1">
            <a:spLocks/>
          </p:cNvSpPr>
          <p:nvPr/>
        </p:nvSpPr>
        <p:spPr bwMode="auto">
          <a:xfrm>
            <a:off x="4724398" y="990312"/>
            <a:ext cx="3655514" cy="76238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None/>
              <a:defRPr sz="2400" kern="1200">
                <a:solidFill>
                  <a:schemeClr val="accent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r>
              <a:rPr kumimoji="0" lang="en-US" sz="2400" i="0" u="none" strike="noStrike" kern="1200" cap="none" spc="0" normalizeH="0" baseline="0" noProof="0" dirty="0">
                <a:ln>
                  <a:noFill/>
                </a:ln>
                <a:solidFill>
                  <a:schemeClr val="accent2">
                    <a:lumMod val="75000"/>
                  </a:schemeClr>
                </a:solidFill>
                <a:effectLst/>
                <a:uLnTx/>
                <a:uFillTx/>
              </a:rPr>
              <a:t>Considerations for Product Selection </a:t>
            </a:r>
          </a:p>
          <a:p>
            <a:pPr marL="0" marR="0" lvl="0" indent="0"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endParaRPr kumimoji="0" lang="en-US" sz="2400" i="0" u="none" strike="noStrike" kern="1200" cap="none" spc="0" normalizeH="0" baseline="0" noProof="0" dirty="0">
              <a:ln>
                <a:noFill/>
              </a:ln>
              <a:solidFill>
                <a:schemeClr val="accent2">
                  <a:lumMod val="75000"/>
                </a:schemeClr>
              </a:solidFill>
              <a:effectLst/>
              <a:uLnTx/>
              <a:uFillTx/>
            </a:endParaRPr>
          </a:p>
        </p:txBody>
      </p:sp>
      <p:sp>
        <p:nvSpPr>
          <p:cNvPr id="9" name="Text Placeholder 6">
            <a:extLst>
              <a:ext uri="{FF2B5EF4-FFF2-40B4-BE49-F238E27FC236}">
                <a16:creationId xmlns:a16="http://schemas.microsoft.com/office/drawing/2014/main" id="{8A01158F-55FB-4811-B206-077F5614E8D7}"/>
              </a:ext>
            </a:extLst>
          </p:cNvPr>
          <p:cNvSpPr txBox="1">
            <a:spLocks/>
          </p:cNvSpPr>
          <p:nvPr/>
        </p:nvSpPr>
        <p:spPr bwMode="auto">
          <a:xfrm>
            <a:off x="4724398" y="1829844"/>
            <a:ext cx="3616325" cy="350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0"/>
              </a:spcBef>
              <a:spcAft>
                <a:spcPts val="1350"/>
              </a:spcAft>
              <a:buClr>
                <a:schemeClr val="accent1"/>
              </a:buClr>
              <a:buSzPct val="100000"/>
              <a:buFont typeface="Calibri" panose="020F0502020204030204" pitchFamily="34" charset="0"/>
              <a:buNone/>
              <a:defRPr sz="1200" kern="1200">
                <a:solidFill>
                  <a:schemeClr val="tx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274320" marR="0" lvl="0" indent="-274320" algn="just" defTabSz="685800" rtl="0" eaLnBrk="0" fontAlgn="base" latinLnBrk="0" hangingPunct="0">
              <a:lnSpc>
                <a:spcPct val="100000"/>
              </a:lnSpc>
              <a:spcBef>
                <a:spcPts val="0"/>
              </a:spcBef>
              <a:spcAft>
                <a:spcPts val="600"/>
              </a:spcAft>
              <a:buClr>
                <a:schemeClr val="accent2"/>
              </a:buClr>
              <a:buSzPct val="100000"/>
              <a:buFont typeface="Wingdings" panose="05000000000000000000" pitchFamily="2" charset="2"/>
              <a:buChar char="q"/>
              <a:tabLst/>
              <a:defRPr/>
            </a:pPr>
            <a:r>
              <a:rPr kumimoji="0" lang="en-US" sz="1400" b="0" i="0" u="none" strike="noStrike" kern="1200" cap="none" spc="0" normalizeH="0" baseline="0" noProof="0" dirty="0">
                <a:ln>
                  <a:noFill/>
                </a:ln>
                <a:solidFill>
                  <a:prstClr val="black"/>
                </a:solidFill>
                <a:effectLst/>
                <a:uLnTx/>
                <a:uFillTx/>
              </a:rPr>
              <a:t>Selection Criteria:</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1CADE4">
                    <a:lumMod val="75000"/>
                  </a:srgbClr>
                </a:solidFill>
                <a:effectLst/>
                <a:uLnTx/>
                <a:uFillTx/>
              </a:rPr>
              <a:t>Quality</a:t>
            </a:r>
            <a:r>
              <a:rPr kumimoji="0" lang="en-US" sz="1400" b="0" i="0" u="none" strike="noStrike" kern="1200" cap="none" spc="0" normalizeH="0" baseline="0" noProof="0" dirty="0">
                <a:ln>
                  <a:noFill/>
                </a:ln>
                <a:solidFill>
                  <a:srgbClr val="404040"/>
                </a:solidFill>
                <a:effectLst/>
                <a:uLnTx/>
                <a:uFillTx/>
              </a:rPr>
              <a:t>: Certifications and Registration;</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1CADE4">
                    <a:lumMod val="75000"/>
                  </a:srgbClr>
                </a:solidFill>
                <a:effectLst/>
                <a:uLnTx/>
                <a:uFillTx/>
              </a:rPr>
              <a:t>Ability to service the market</a:t>
            </a:r>
            <a:r>
              <a:rPr kumimoji="0" lang="en-US" sz="1400" b="0" i="0" u="none" strike="noStrike" kern="1200" cap="none" spc="0" normalizeH="0" baseline="0" noProof="0" dirty="0">
                <a:ln>
                  <a:noFill/>
                </a:ln>
                <a:solidFill>
                  <a:srgbClr val="404040"/>
                </a:solidFill>
                <a:effectLst/>
                <a:uLnTx/>
                <a:uFillTx/>
              </a:rPr>
              <a:t>: Production Capability; </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1CADE4">
                    <a:lumMod val="75000"/>
                  </a:srgbClr>
                </a:solidFill>
                <a:effectLst/>
                <a:uLnTx/>
                <a:uFillTx/>
              </a:rPr>
              <a:t>Functional Requirements</a:t>
            </a:r>
            <a:r>
              <a:rPr kumimoji="0" lang="en-US" sz="1400" b="0" i="0" u="none" strike="noStrike" kern="1200" cap="none" spc="0" normalizeH="0" baseline="0" noProof="0" dirty="0">
                <a:ln>
                  <a:noFill/>
                </a:ln>
                <a:solidFill>
                  <a:srgbClr val="404040"/>
                </a:solidFill>
                <a:effectLst/>
                <a:uLnTx/>
                <a:uFillTx/>
              </a:rPr>
              <a:t>: Critical elements for use; </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1CADE4">
                    <a:lumMod val="75000"/>
                  </a:srgbClr>
                </a:solidFill>
                <a:effectLst/>
                <a:uLnTx/>
                <a:uFillTx/>
              </a:rPr>
              <a:t>Operational Requirement</a:t>
            </a:r>
            <a:r>
              <a:rPr kumimoji="0" lang="en-US" sz="1400" b="0" i="0" u="none" strike="noStrike" kern="1200" cap="none" spc="0" normalizeH="0" baseline="0" noProof="0" dirty="0">
                <a:ln>
                  <a:noFill/>
                </a:ln>
                <a:solidFill>
                  <a:srgbClr val="404040"/>
                </a:solidFill>
                <a:effectLst/>
                <a:uLnTx/>
                <a:uFillTx/>
              </a:rPr>
              <a:t>s: Capability to use in surrounding environments; </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1CADE4">
                    <a:lumMod val="75000"/>
                  </a:srgbClr>
                </a:solidFill>
                <a:effectLst/>
                <a:uLnTx/>
                <a:uFillTx/>
              </a:rPr>
              <a:t>Price</a:t>
            </a:r>
            <a:r>
              <a:rPr kumimoji="0" lang="en-US" sz="1400" b="0" i="0" u="none" strike="noStrike" kern="1200" cap="none" spc="0" normalizeH="0" baseline="0" noProof="0" dirty="0">
                <a:ln>
                  <a:noFill/>
                </a:ln>
                <a:solidFill>
                  <a:srgbClr val="404040"/>
                </a:solidFill>
                <a:effectLst/>
                <a:uLnTx/>
                <a:uFillTx/>
              </a:rPr>
              <a:t>: Competitive pricing, prepayment, and potential procurement.</a:t>
            </a:r>
          </a:p>
          <a:p>
            <a:pPr marL="573088" marR="0" lvl="1" indent="-285750" algn="l" defTabSz="685800" rtl="0" eaLnBrk="0" fontAlgn="base" latinLnBrk="0" hangingPunct="0">
              <a:lnSpc>
                <a:spcPct val="100000"/>
              </a:lnSpc>
              <a:spcBef>
                <a:spcPts val="0"/>
              </a:spcBef>
              <a:spcAft>
                <a:spcPts val="600"/>
              </a:spcAft>
              <a:buClr>
                <a:schemeClr val="accent2"/>
              </a:buClr>
              <a:buSzTx/>
              <a:buFont typeface="Wingdings" panose="05000000000000000000" pitchFamily="2" charset="2"/>
              <a:buChar char="Ø"/>
              <a:tabLst/>
              <a:defRPr/>
            </a:pPr>
            <a:endParaRPr kumimoji="0" lang="en-US" sz="1400" b="0" i="0" u="none" strike="noStrike" kern="1200" cap="none" spc="0" normalizeH="0" baseline="0" noProof="0" dirty="0">
              <a:ln>
                <a:noFill/>
              </a:ln>
              <a:solidFill>
                <a:srgbClr val="404040"/>
              </a:solidFill>
              <a:effectLst/>
              <a:uLnTx/>
              <a:uFillTx/>
            </a:endParaRPr>
          </a:p>
          <a:p>
            <a:pPr marL="287338" marR="0" lvl="1" indent="0" algn="l" defTabSz="685800" rtl="0" eaLnBrk="0" fontAlgn="base" latinLnBrk="0" hangingPunct="0">
              <a:lnSpc>
                <a:spcPct val="100000"/>
              </a:lnSpc>
              <a:spcBef>
                <a:spcPts val="0"/>
              </a:spcBef>
              <a:spcAft>
                <a:spcPts val="600"/>
              </a:spcAft>
              <a:buClr>
                <a:srgbClr val="1CADE4">
                  <a:lumMod val="75000"/>
                </a:srgbClr>
              </a:buClr>
              <a:buSzTx/>
              <a:buFont typeface="Calibri" panose="020F0502020204030204" pitchFamily="34" charset="0"/>
              <a:buNone/>
              <a:tabLst/>
              <a:defRPr/>
            </a:pPr>
            <a:endParaRPr kumimoji="0" lang="en-US" sz="1500" b="0" i="0" u="sng" strike="noStrike" kern="1200" cap="none" spc="0" normalizeH="0" baseline="0" noProof="0" dirty="0">
              <a:ln>
                <a:noFill/>
              </a:ln>
              <a:solidFill>
                <a:srgbClr val="404040"/>
              </a:solidFill>
              <a:effectLst/>
              <a:uLnTx/>
              <a:uFillTx/>
            </a:endParaRPr>
          </a:p>
        </p:txBody>
      </p:sp>
      <p:cxnSp>
        <p:nvCxnSpPr>
          <p:cNvPr id="11" name="Straight Connector 10">
            <a:extLst>
              <a:ext uri="{FF2B5EF4-FFF2-40B4-BE49-F238E27FC236}">
                <a16:creationId xmlns:a16="http://schemas.microsoft.com/office/drawing/2014/main" id="{53CF1ED1-424A-438B-B2A7-0F54D96C3125}"/>
              </a:ext>
            </a:extLst>
          </p:cNvPr>
          <p:cNvCxnSpPr>
            <a:cxnSpLocks/>
          </p:cNvCxnSpPr>
          <p:nvPr/>
        </p:nvCxnSpPr>
        <p:spPr>
          <a:xfrm>
            <a:off x="4572000" y="1905000"/>
            <a:ext cx="0" cy="4267200"/>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3325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27D04E9-0A03-4952-81F8-61F17FD7D26C}"/>
              </a:ext>
            </a:extLst>
          </p:cNvPr>
          <p:cNvSpPr>
            <a:spLocks noGrp="1"/>
          </p:cNvSpPr>
          <p:nvPr>
            <p:ph type="title"/>
          </p:nvPr>
        </p:nvSpPr>
        <p:spPr>
          <a:xfrm>
            <a:off x="914399" y="304800"/>
            <a:ext cx="7451725" cy="1431925"/>
          </a:xfrm>
        </p:spPr>
        <p:txBody>
          <a:bodyPr>
            <a:normAutofit/>
          </a:bodyPr>
          <a:lstStyle/>
          <a:p>
            <a:pPr algn="ctr"/>
            <a:r>
              <a:rPr lang="en-US" sz="2800" dirty="0">
                <a:solidFill>
                  <a:schemeClr val="accent2">
                    <a:lumMod val="75000"/>
                  </a:schemeClr>
                </a:solidFill>
                <a:latin typeface="+mn-lt"/>
              </a:rPr>
              <a:t>Product Requirements That May Impact The Number Of Models Available For Procurement</a:t>
            </a:r>
          </a:p>
        </p:txBody>
      </p:sp>
      <p:graphicFrame>
        <p:nvGraphicFramePr>
          <p:cNvPr id="8" name="Table 8">
            <a:extLst>
              <a:ext uri="{FF2B5EF4-FFF2-40B4-BE49-F238E27FC236}">
                <a16:creationId xmlns:a16="http://schemas.microsoft.com/office/drawing/2014/main" id="{7732F27D-8969-4068-91AE-E8BCBB6B7190}"/>
              </a:ext>
            </a:extLst>
          </p:cNvPr>
          <p:cNvGraphicFramePr>
            <a:graphicFrameLocks noGrp="1"/>
          </p:cNvGraphicFramePr>
          <p:nvPr>
            <p:ph sz="half" idx="4294967295"/>
            <p:extLst>
              <p:ext uri="{D42A27DB-BD31-4B8C-83A1-F6EECF244321}">
                <p14:modId xmlns:p14="http://schemas.microsoft.com/office/powerpoint/2010/main" val="3830390266"/>
              </p:ext>
            </p:extLst>
          </p:nvPr>
        </p:nvGraphicFramePr>
        <p:xfrm>
          <a:off x="914400" y="1803748"/>
          <a:ext cx="7467599" cy="4520853"/>
        </p:xfrm>
        <a:graphic>
          <a:graphicData uri="http://schemas.openxmlformats.org/drawingml/2006/table">
            <a:tbl>
              <a:tblPr firstRow="1" bandRow="1">
                <a:tableStyleId>{0660B408-B3CF-4A94-85FC-2B1E0A45F4A2}</a:tableStyleId>
              </a:tblPr>
              <a:tblGrid>
                <a:gridCol w="2082311">
                  <a:extLst>
                    <a:ext uri="{9D8B030D-6E8A-4147-A177-3AD203B41FA5}">
                      <a16:colId xmlns:a16="http://schemas.microsoft.com/office/drawing/2014/main" val="618828795"/>
                    </a:ext>
                  </a:extLst>
                </a:gridCol>
                <a:gridCol w="5385288">
                  <a:extLst>
                    <a:ext uri="{9D8B030D-6E8A-4147-A177-3AD203B41FA5}">
                      <a16:colId xmlns:a16="http://schemas.microsoft.com/office/drawing/2014/main" val="4108787759"/>
                    </a:ext>
                  </a:extLst>
                </a:gridCol>
              </a:tblGrid>
              <a:tr h="482356">
                <a:tc>
                  <a:txBody>
                    <a:bodyPr/>
                    <a:lstStyle/>
                    <a:p>
                      <a:r>
                        <a:rPr lang="en-US" sz="1400" dirty="0">
                          <a:latin typeface="+mn-lt"/>
                        </a:rPr>
                        <a:t>Product requirements</a:t>
                      </a:r>
                    </a:p>
                  </a:txBody>
                  <a:tcPr/>
                </a:tc>
                <a:tc>
                  <a:txBody>
                    <a:bodyPr/>
                    <a:lstStyle/>
                    <a:p>
                      <a:pPr algn="ctr"/>
                      <a:r>
                        <a:rPr lang="en-US" sz="1400" dirty="0">
                          <a:latin typeface="+mn-lt"/>
                        </a:rPr>
                        <a:t>Details</a:t>
                      </a:r>
                    </a:p>
                  </a:txBody>
                  <a:tcPr/>
                </a:tc>
                <a:extLst>
                  <a:ext uri="{0D108BD9-81ED-4DB2-BD59-A6C34878D82A}">
                    <a16:rowId xmlns:a16="http://schemas.microsoft.com/office/drawing/2014/main" val="125287569"/>
                  </a:ext>
                </a:extLst>
              </a:tr>
              <a:tr h="962999">
                <a:tc>
                  <a:txBody>
                    <a:bodyPr/>
                    <a:lstStyle/>
                    <a:p>
                      <a:pPr algn="l" rtl="0" fontAlgn="ctr"/>
                      <a:r>
                        <a:rPr lang="en-US" sz="1400" b="1" i="0" u="none" strike="noStrike" dirty="0">
                          <a:solidFill>
                            <a:srgbClr val="000000"/>
                          </a:solidFill>
                          <a:effectLst/>
                          <a:latin typeface="+mn-lt"/>
                        </a:rPr>
                        <a:t>Skid mount / containerization</a:t>
                      </a:r>
                    </a:p>
                  </a:txBody>
                  <a:tcPr marL="6350" marR="6350" marT="6350" marB="0"/>
                </a:tc>
                <a:tc>
                  <a:txBody>
                    <a:bodyPr/>
                    <a:lstStyle/>
                    <a:p>
                      <a:pPr algn="l" fontAlgn="b"/>
                      <a:r>
                        <a:rPr lang="en-US" sz="1400" b="0" i="0" u="none" strike="noStrike" dirty="0">
                          <a:solidFill>
                            <a:srgbClr val="000000"/>
                          </a:solidFill>
                          <a:effectLst/>
                          <a:latin typeface="+mn-lt"/>
                        </a:rPr>
                        <a:t>Consider the choice between skid mount and containerization and associated trade-offs between cost and mobility.</a:t>
                      </a:r>
                    </a:p>
                  </a:txBody>
                  <a:tcPr marL="6350" marR="6350" marT="6350" marB="0"/>
                </a:tc>
                <a:extLst>
                  <a:ext uri="{0D108BD9-81ED-4DB2-BD59-A6C34878D82A}">
                    <a16:rowId xmlns:a16="http://schemas.microsoft.com/office/drawing/2014/main" val="1550421245"/>
                  </a:ext>
                </a:extLst>
              </a:tr>
              <a:tr h="771539">
                <a:tc>
                  <a:txBody>
                    <a:bodyPr/>
                    <a:lstStyle/>
                    <a:p>
                      <a:pPr algn="l" rtl="0" fontAlgn="ctr"/>
                      <a:r>
                        <a:rPr lang="en-US" sz="1400" b="1" i="0" u="none" strike="noStrike" dirty="0">
                          <a:solidFill>
                            <a:srgbClr val="000000"/>
                          </a:solidFill>
                          <a:effectLst/>
                          <a:latin typeface="+mn-lt"/>
                        </a:rPr>
                        <a:t>Inclusion of oxygen compressors, cylinders, and other accessories </a:t>
                      </a:r>
                    </a:p>
                  </a:txBody>
                  <a:tcPr marL="6350" marR="6350" marT="6350" marB="0"/>
                </a:tc>
                <a:tc>
                  <a:txBody>
                    <a:bodyPr/>
                    <a:lstStyle/>
                    <a:p>
                      <a:pPr algn="l" fontAlgn="b"/>
                      <a:r>
                        <a:rPr lang="en-US" sz="1400" b="0" i="0" u="none" strike="noStrike">
                          <a:solidFill>
                            <a:srgbClr val="000000"/>
                          </a:solidFill>
                          <a:effectLst/>
                          <a:latin typeface="+mn-lt"/>
                        </a:rPr>
                        <a:t>Specific suppliers may include oxygen compressors in the cost, require a separate purchase, or bundle oxygen compressors from another supplier for an additional fee.</a:t>
                      </a:r>
                    </a:p>
                  </a:txBody>
                  <a:tcPr marL="6350" marR="6350" marT="6350" marB="0"/>
                </a:tc>
                <a:extLst>
                  <a:ext uri="{0D108BD9-81ED-4DB2-BD59-A6C34878D82A}">
                    <a16:rowId xmlns:a16="http://schemas.microsoft.com/office/drawing/2014/main" val="3825053538"/>
                  </a:ext>
                </a:extLst>
              </a:tr>
              <a:tr h="581909">
                <a:tc>
                  <a:txBody>
                    <a:bodyPr/>
                    <a:lstStyle/>
                    <a:p>
                      <a:pPr algn="l" rtl="0" fontAlgn="ctr"/>
                      <a:r>
                        <a:rPr lang="en-US" sz="1400" b="1" i="0" u="none" strike="noStrike">
                          <a:solidFill>
                            <a:srgbClr val="000000"/>
                          </a:solidFill>
                          <a:effectLst/>
                          <a:latin typeface="+mn-lt"/>
                        </a:rPr>
                        <a:t>Lead times and shipping times</a:t>
                      </a:r>
                    </a:p>
                  </a:txBody>
                  <a:tcPr marL="6350" marR="6350" marT="6350" marB="0"/>
                </a:tc>
                <a:tc>
                  <a:txBody>
                    <a:bodyPr/>
                    <a:lstStyle/>
                    <a:p>
                      <a:pPr algn="l" fontAlgn="b"/>
                      <a:r>
                        <a:rPr lang="en-US" sz="1400" b="0" i="0" u="none" strike="noStrike">
                          <a:solidFill>
                            <a:srgbClr val="000000"/>
                          </a:solidFill>
                          <a:effectLst/>
                          <a:latin typeface="+mn-lt"/>
                        </a:rPr>
                        <a:t>American and European suppliers tended to report longer production lead times than their Chinese counterparts. </a:t>
                      </a:r>
                    </a:p>
                  </a:txBody>
                  <a:tcPr marL="6350" marR="6350" marT="6350" marB="0"/>
                </a:tc>
                <a:extLst>
                  <a:ext uri="{0D108BD9-81ED-4DB2-BD59-A6C34878D82A}">
                    <a16:rowId xmlns:a16="http://schemas.microsoft.com/office/drawing/2014/main" val="2888467708"/>
                  </a:ext>
                </a:extLst>
              </a:tr>
              <a:tr h="861025">
                <a:tc>
                  <a:txBody>
                    <a:bodyPr/>
                    <a:lstStyle/>
                    <a:p>
                      <a:pPr algn="l" rtl="0" fontAlgn="ctr"/>
                      <a:r>
                        <a:rPr lang="en-US" sz="1400" b="1" i="0" u="none" strike="noStrike" dirty="0">
                          <a:solidFill>
                            <a:srgbClr val="000000"/>
                          </a:solidFill>
                          <a:effectLst/>
                          <a:latin typeface="+mn-lt"/>
                        </a:rPr>
                        <a:t>Price and type of installation/maintenance </a:t>
                      </a:r>
                    </a:p>
                  </a:txBody>
                  <a:tcPr marL="6350" marR="6350" marT="6350" marB="0"/>
                </a:tc>
                <a:tc>
                  <a:txBody>
                    <a:bodyPr/>
                    <a:lstStyle/>
                    <a:p>
                      <a:pPr algn="l" fontAlgn="b"/>
                      <a:r>
                        <a:rPr lang="en-US" sz="1400" b="0" i="0" u="none" strike="noStrike">
                          <a:solidFill>
                            <a:srgbClr val="000000"/>
                          </a:solidFill>
                          <a:effectLst/>
                          <a:latin typeface="+mn-lt"/>
                        </a:rPr>
                        <a:t>All manufacturers reported that they offer installation and maintenance, though some suppliers include this in the price of the product, while others require a separate fee. In addition, several manufacturers offer remote support for installation and maintenance.</a:t>
                      </a:r>
                    </a:p>
                  </a:txBody>
                  <a:tcPr marL="6350" marR="6350" marT="6350" marB="0"/>
                </a:tc>
                <a:extLst>
                  <a:ext uri="{0D108BD9-81ED-4DB2-BD59-A6C34878D82A}">
                    <a16:rowId xmlns:a16="http://schemas.microsoft.com/office/drawing/2014/main" val="3012935000"/>
                  </a:ext>
                </a:extLst>
              </a:tr>
              <a:tr h="861025">
                <a:tc>
                  <a:txBody>
                    <a:bodyPr/>
                    <a:lstStyle/>
                    <a:p>
                      <a:pPr algn="l" rtl="0" fontAlgn="ctr"/>
                      <a:r>
                        <a:rPr lang="en-US" sz="1400" b="1" i="0" u="none" strike="noStrike">
                          <a:solidFill>
                            <a:srgbClr val="000000"/>
                          </a:solidFill>
                          <a:effectLst/>
                          <a:latin typeface="+mn-lt"/>
                        </a:rPr>
                        <a:t>Conditions of target site </a:t>
                      </a:r>
                    </a:p>
                  </a:txBody>
                  <a:tcPr marL="6350" marR="6350" marT="6350" marB="0"/>
                </a:tc>
                <a:tc>
                  <a:txBody>
                    <a:bodyPr/>
                    <a:lstStyle/>
                    <a:p>
                      <a:pPr algn="l" fontAlgn="b"/>
                      <a:r>
                        <a:rPr lang="en-US" sz="1400" b="0" i="0" u="none" strike="noStrike" dirty="0">
                          <a:solidFill>
                            <a:srgbClr val="000000"/>
                          </a:solidFill>
                          <a:effectLst/>
                          <a:latin typeface="+mn-lt"/>
                        </a:rPr>
                        <a:t>While all manufacturers reported that they were able to meet temperature, humidity, and elevation requirements, most mentioned that they would need information on specific site conditions to ensure that PSAs were built according to these requirements.</a:t>
                      </a:r>
                    </a:p>
                  </a:txBody>
                  <a:tcPr marL="6350" marR="6350" marT="6350" marB="0"/>
                </a:tc>
                <a:extLst>
                  <a:ext uri="{0D108BD9-81ED-4DB2-BD59-A6C34878D82A}">
                    <a16:rowId xmlns:a16="http://schemas.microsoft.com/office/drawing/2014/main" val="377404426"/>
                  </a:ext>
                </a:extLst>
              </a:tr>
            </a:tbl>
          </a:graphicData>
        </a:graphic>
      </p:graphicFrame>
      <p:sp>
        <p:nvSpPr>
          <p:cNvPr id="5" name="TextBox 4">
            <a:extLst>
              <a:ext uri="{FF2B5EF4-FFF2-40B4-BE49-F238E27FC236}">
                <a16:creationId xmlns:a16="http://schemas.microsoft.com/office/drawing/2014/main" id="{0CE05ABB-92B7-4939-9793-198AE31D3270}"/>
              </a:ext>
            </a:extLst>
          </p:cNvPr>
          <p:cNvSpPr txBox="1"/>
          <p:nvPr/>
        </p:nvSpPr>
        <p:spPr>
          <a:xfrm>
            <a:off x="0" y="6544498"/>
            <a:ext cx="9144000" cy="338554"/>
          </a:xfrm>
          <a:prstGeom prst="rect">
            <a:avLst/>
          </a:prstGeom>
          <a:noFill/>
        </p:spPr>
        <p:txBody>
          <a:bodyPr wrap="square" rtlCol="0">
            <a:spAutoFit/>
          </a:bodyPr>
          <a:lstStyle/>
          <a:p>
            <a:r>
              <a:rPr lang="en-US" sz="800" b="1" dirty="0">
                <a:latin typeface="Calibri" panose="020F0502020204030204" pitchFamily="34" charset="0"/>
              </a:rPr>
              <a:t>Source: Respiratory Care Equipment Market Report. 2020. </a:t>
            </a:r>
          </a:p>
          <a:p>
            <a:r>
              <a:rPr lang="en-US" sz="800" b="1" dirty="0">
                <a:latin typeface="Calibri" panose="020F0502020204030204" pitchFamily="34" charset="0"/>
              </a:rPr>
              <a:t>Link: thttps://path.azureedge.net/media/documents/RespCare_Equipemnt_Market_Report_FINAL_10Dec2020.pdf</a:t>
            </a:r>
          </a:p>
        </p:txBody>
      </p:sp>
    </p:spTree>
    <p:extLst>
      <p:ext uri="{BB962C8B-B14F-4D97-AF65-F5344CB8AC3E}">
        <p14:creationId xmlns:p14="http://schemas.microsoft.com/office/powerpoint/2010/main" val="342629520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276600" y="3429000"/>
            <a:ext cx="4038600" cy="1238250"/>
          </a:xfrm>
        </p:spPr>
        <p:txBody>
          <a:bodyPr rtlCol="0" anchor="ctr">
            <a:noAutofit/>
          </a:bodyPr>
          <a:lstStyle/>
          <a:p>
            <a:pPr defTabSz="457189" eaLnBrk="1" hangingPunct="1">
              <a:spcBef>
                <a:spcPts val="0"/>
              </a:spcBef>
              <a:buFont typeface="Arial" panose="020B0604020202020204" pitchFamily="34" charset="0"/>
              <a:buChar char=" "/>
              <a:defRPr/>
            </a:pPr>
            <a:r>
              <a:rPr lang="en-US" sz="3600" b="1" spc="-50" dirty="0">
                <a:solidFill>
                  <a:schemeClr val="accent2">
                    <a:lumMod val="75000"/>
                  </a:schemeClr>
                </a:solidFill>
                <a:ea typeface="+mj-ea"/>
                <a:cs typeface="+mj-cs"/>
              </a:rPr>
              <a:t>Questionnaire</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b="1" dirty="0">
              <a:solidFill>
                <a:schemeClr val="accent2">
                  <a:lumMod val="75000"/>
                </a:schemeClr>
              </a:solidFill>
            </a:endParaRPr>
          </a:p>
        </p:txBody>
      </p:sp>
      <p:pic>
        <p:nvPicPr>
          <p:cNvPr id="4" name="Graphic 3" descr="Questions with solid fill">
            <a:extLst>
              <a:ext uri="{FF2B5EF4-FFF2-40B4-BE49-F238E27FC236}">
                <a16:creationId xmlns:a16="http://schemas.microsoft.com/office/drawing/2014/main" id="{C968D480-802C-4D64-AFE7-3A9059211076}"/>
              </a:ext>
            </a:extLst>
          </p:cNvPr>
          <p:cNvPicPr>
            <a:picLocks noChangeAspect="1"/>
          </p:cNvPicPr>
          <p:nvPr/>
        </p:nvPicPr>
        <p:blipFill>
          <a:blip r:embed="rId3">
            <a:alphaModFix/>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76600" y="2293307"/>
            <a:ext cx="1143000" cy="1143000"/>
          </a:xfrm>
          <a:prstGeom prst="rect">
            <a:avLst/>
          </a:prstGeom>
        </p:spPr>
      </p:pic>
    </p:spTree>
    <p:extLst>
      <p:ext uri="{BB962C8B-B14F-4D97-AF65-F5344CB8AC3E}">
        <p14:creationId xmlns:p14="http://schemas.microsoft.com/office/powerpoint/2010/main" val="2424105480"/>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8CA09FF-957B-4133-AFBF-829566371F0A}"/>
              </a:ext>
            </a:extLst>
          </p:cNvPr>
          <p:cNvSpPr>
            <a:spLocks noGrp="1"/>
          </p:cNvSpPr>
          <p:nvPr>
            <p:ph type="body" sz="quarter" idx="14"/>
          </p:nvPr>
        </p:nvSpPr>
        <p:spPr>
          <a:xfrm>
            <a:off x="884130" y="843511"/>
            <a:ext cx="3535469" cy="909089"/>
          </a:xfrm>
        </p:spPr>
        <p:txBody>
          <a:bodyPr anchor="ctr"/>
          <a:lstStyle/>
          <a:p>
            <a:r>
              <a:rPr lang="en-US" dirty="0">
                <a:solidFill>
                  <a:schemeClr val="accent2">
                    <a:lumMod val="75000"/>
                  </a:schemeClr>
                </a:solidFill>
              </a:rPr>
              <a:t>Equipment manufacturer template: Screening metrics</a:t>
            </a:r>
          </a:p>
        </p:txBody>
      </p:sp>
      <p:sp>
        <p:nvSpPr>
          <p:cNvPr id="7" name="Text Placeholder 6">
            <a:extLst>
              <a:ext uri="{FF2B5EF4-FFF2-40B4-BE49-F238E27FC236}">
                <a16:creationId xmlns:a16="http://schemas.microsoft.com/office/drawing/2014/main" id="{7C885179-1444-4424-A02D-DA4A82A35C22}"/>
              </a:ext>
            </a:extLst>
          </p:cNvPr>
          <p:cNvSpPr>
            <a:spLocks noGrp="1"/>
          </p:cNvSpPr>
          <p:nvPr>
            <p:ph type="body" sz="quarter" idx="15"/>
          </p:nvPr>
        </p:nvSpPr>
        <p:spPr>
          <a:xfrm>
            <a:off x="884129" y="1822721"/>
            <a:ext cx="3306859" cy="4408602"/>
          </a:xfrm>
        </p:spPr>
        <p:txBody>
          <a:bodyPr/>
          <a:lstStyle/>
          <a:p>
            <a:pPr marL="228600" indent="-228600" algn="just">
              <a:buClr>
                <a:schemeClr val="accent2">
                  <a:lumMod val="75000"/>
                </a:schemeClr>
              </a:buClr>
              <a:buFont typeface="+mj-lt"/>
              <a:buAutoNum type="arabicPeriod"/>
            </a:pPr>
            <a:r>
              <a:rPr lang="en-US" sz="1500" dirty="0"/>
              <a:t>What is your company name?</a:t>
            </a:r>
          </a:p>
          <a:p>
            <a:pPr marL="228600" indent="-228600" algn="just">
              <a:buClr>
                <a:schemeClr val="accent2">
                  <a:lumMod val="75000"/>
                </a:schemeClr>
              </a:buClr>
              <a:buFont typeface="+mj-lt"/>
              <a:buAutoNum type="arabicPeriod"/>
            </a:pPr>
            <a:r>
              <a:rPr lang="en-US" sz="1500" dirty="0"/>
              <a:t>Please provide the contact for your company.</a:t>
            </a:r>
          </a:p>
          <a:p>
            <a:pPr marL="228600" indent="-228600" algn="just">
              <a:buClr>
                <a:schemeClr val="accent2">
                  <a:lumMod val="75000"/>
                </a:schemeClr>
              </a:buClr>
              <a:buFont typeface="+mj-lt"/>
              <a:buAutoNum type="arabicPeriod"/>
            </a:pPr>
            <a:r>
              <a:rPr lang="en-US" sz="1500" dirty="0"/>
              <a:t>What type(s) of respiratory care equipment in the following list does your company manufacture? (List is in the appendix)</a:t>
            </a:r>
          </a:p>
          <a:p>
            <a:pPr marL="228600" indent="-228600" algn="just">
              <a:buClr>
                <a:schemeClr val="accent2">
                  <a:lumMod val="75000"/>
                </a:schemeClr>
              </a:buClr>
              <a:buFont typeface="+mj-lt"/>
              <a:buAutoNum type="arabicPeriod"/>
            </a:pPr>
            <a:r>
              <a:rPr lang="en-US" sz="1500" dirty="0"/>
              <a:t>For each type of equipment, which qualification does it have (CE/EUA/FDA/ISO)? </a:t>
            </a:r>
          </a:p>
          <a:p>
            <a:pPr marL="228600" indent="-228600" algn="just">
              <a:buClr>
                <a:schemeClr val="accent2">
                  <a:lumMod val="75000"/>
                </a:schemeClr>
              </a:buClr>
              <a:buFont typeface="+mj-lt"/>
              <a:buAutoNum type="arabicPeriod"/>
            </a:pPr>
            <a:r>
              <a:rPr lang="en-US" sz="1500" dirty="0"/>
              <a:t>For each type of equipment, what is your current production capacity?</a:t>
            </a:r>
          </a:p>
          <a:p>
            <a:pPr marL="228600" indent="-228600" algn="just">
              <a:buClr>
                <a:schemeClr val="accent2">
                  <a:lumMod val="75000"/>
                </a:schemeClr>
              </a:buClr>
              <a:buFont typeface="+mj-lt"/>
              <a:buAutoNum type="arabicPeriod"/>
            </a:pPr>
            <a:r>
              <a:rPr lang="en-US" sz="1500" dirty="0"/>
              <a:t>Do you currently export this equipment? If yes, please list your key international market(s)?</a:t>
            </a:r>
          </a:p>
          <a:p>
            <a:pPr algn="just"/>
            <a:endParaRPr lang="en-US" sz="1500" dirty="0"/>
          </a:p>
        </p:txBody>
      </p:sp>
      <p:sp>
        <p:nvSpPr>
          <p:cNvPr id="8" name="Text Placeholder 5">
            <a:extLst>
              <a:ext uri="{FF2B5EF4-FFF2-40B4-BE49-F238E27FC236}">
                <a16:creationId xmlns:a16="http://schemas.microsoft.com/office/drawing/2014/main" id="{7B9D3801-F531-45A1-B9DB-D02B725A7D7B}"/>
              </a:ext>
            </a:extLst>
          </p:cNvPr>
          <p:cNvSpPr txBox="1">
            <a:spLocks/>
          </p:cNvSpPr>
          <p:nvPr/>
        </p:nvSpPr>
        <p:spPr bwMode="auto">
          <a:xfrm>
            <a:off x="4419599" y="827761"/>
            <a:ext cx="3957928" cy="870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0" indent="0"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None/>
              <a:defRPr sz="2400" kern="1200">
                <a:solidFill>
                  <a:schemeClr val="accent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algn="just"/>
            <a:r>
              <a:rPr lang="en-US" dirty="0">
                <a:solidFill>
                  <a:schemeClr val="accent2">
                    <a:lumMod val="75000"/>
                  </a:schemeClr>
                </a:solidFill>
              </a:rPr>
              <a:t>Equipment manufacturer template: Detailed metrics</a:t>
            </a:r>
          </a:p>
        </p:txBody>
      </p:sp>
      <p:sp>
        <p:nvSpPr>
          <p:cNvPr id="9" name="Text Placeholder 6">
            <a:extLst>
              <a:ext uri="{FF2B5EF4-FFF2-40B4-BE49-F238E27FC236}">
                <a16:creationId xmlns:a16="http://schemas.microsoft.com/office/drawing/2014/main" id="{2C740F53-B956-4BED-BBCB-F054A8E82283}"/>
              </a:ext>
            </a:extLst>
          </p:cNvPr>
          <p:cNvSpPr txBox="1">
            <a:spLocks/>
          </p:cNvSpPr>
          <p:nvPr/>
        </p:nvSpPr>
        <p:spPr bwMode="auto">
          <a:xfrm>
            <a:off x="4559477" y="1828800"/>
            <a:ext cx="3700394" cy="4408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0"/>
              </a:spcBef>
              <a:spcAft>
                <a:spcPts val="1350"/>
              </a:spcAft>
              <a:buClr>
                <a:schemeClr val="accent1"/>
              </a:buClr>
              <a:buSzPct val="100000"/>
              <a:buFont typeface="Calibri" panose="020F0502020204030204" pitchFamily="34" charset="0"/>
              <a:buNone/>
              <a:defRPr sz="1200" kern="1200">
                <a:solidFill>
                  <a:schemeClr val="tx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228600" indent="-228600">
              <a:buClr>
                <a:schemeClr val="accent2">
                  <a:lumMod val="75000"/>
                </a:schemeClr>
              </a:buClr>
              <a:buFont typeface="+mj-lt"/>
              <a:buAutoNum type="arabicPeriod"/>
            </a:pPr>
            <a:r>
              <a:rPr lang="en-US" sz="1400" dirty="0"/>
              <a:t>What is your company name?</a:t>
            </a:r>
          </a:p>
          <a:p>
            <a:pPr marL="228600" indent="-228600">
              <a:buClr>
                <a:schemeClr val="accent2">
                  <a:lumMod val="75000"/>
                </a:schemeClr>
              </a:buClr>
              <a:buFont typeface="+mj-lt"/>
              <a:buAutoNum type="arabicPeriod"/>
            </a:pPr>
            <a:r>
              <a:rPr lang="en-US" sz="1400" dirty="0"/>
              <a:t>Please provide the contact for your company.</a:t>
            </a:r>
          </a:p>
          <a:p>
            <a:pPr marL="228600" indent="-228600">
              <a:buClr>
                <a:schemeClr val="accent2">
                  <a:lumMod val="75000"/>
                </a:schemeClr>
              </a:buClr>
              <a:buFont typeface="+mj-lt"/>
              <a:buAutoNum type="arabicPeriod"/>
            </a:pPr>
            <a:r>
              <a:rPr lang="en-US" sz="1400" dirty="0"/>
              <a:t>What is the type of the equipment?</a:t>
            </a:r>
          </a:p>
          <a:p>
            <a:pPr marL="228600" indent="-228600">
              <a:buClr>
                <a:schemeClr val="accent2">
                  <a:lumMod val="75000"/>
                </a:schemeClr>
              </a:buClr>
              <a:buFont typeface="+mj-lt"/>
              <a:buAutoNum type="arabicPeriod"/>
            </a:pPr>
            <a:r>
              <a:rPr lang="en-US" sz="1400" dirty="0"/>
              <a:t>How many models do you manufacture?</a:t>
            </a:r>
          </a:p>
          <a:p>
            <a:pPr marL="228600" indent="-228600">
              <a:buClr>
                <a:schemeClr val="accent2">
                  <a:lumMod val="75000"/>
                </a:schemeClr>
              </a:buClr>
              <a:buFont typeface="+mj-lt"/>
              <a:buAutoNum type="arabicPeriod"/>
            </a:pPr>
            <a:r>
              <a:rPr lang="en-US" sz="1400" dirty="0"/>
              <a:t>Please look at the following specifications for the equipment below. How many of your company’s model(s) have matching specifications?</a:t>
            </a:r>
          </a:p>
          <a:p>
            <a:pPr marL="182880" indent="-182880">
              <a:lnSpc>
                <a:spcPct val="100000"/>
              </a:lnSpc>
              <a:spcAft>
                <a:spcPts val="0"/>
              </a:spcAft>
              <a:buClr>
                <a:schemeClr val="accent2"/>
              </a:buClr>
              <a:buFont typeface="Wingdings" panose="05000000000000000000" pitchFamily="2" charset="2"/>
              <a:buChar char="q"/>
            </a:pPr>
            <a:r>
              <a:rPr lang="en-US" dirty="0"/>
              <a:t>Example of specifications for Nasal oxygen cannula, with  prongs, adult </a:t>
            </a:r>
          </a:p>
          <a:p>
            <a:pPr marL="470218" lvl="1" indent="-182880">
              <a:lnSpc>
                <a:spcPct val="100000"/>
              </a:lnSpc>
              <a:spcAft>
                <a:spcPts val="0"/>
              </a:spcAft>
              <a:buClr>
                <a:schemeClr val="accent2"/>
              </a:buClr>
              <a:buFont typeface="Courier New" panose="02070309020205020404" pitchFamily="49" charset="0"/>
              <a:buChar char="o"/>
            </a:pPr>
            <a:r>
              <a:rPr lang="en-US" sz="1200" dirty="0"/>
              <a:t>Outer diameter of the prong: 4 mm.</a:t>
            </a:r>
          </a:p>
          <a:p>
            <a:pPr marL="470218" lvl="1" indent="-182880">
              <a:lnSpc>
                <a:spcPct val="100000"/>
              </a:lnSpc>
              <a:spcAft>
                <a:spcPts val="0"/>
              </a:spcAft>
              <a:buClr>
                <a:schemeClr val="accent2"/>
              </a:buClr>
              <a:buFont typeface="Courier New" panose="02070309020205020404" pitchFamily="49" charset="0"/>
              <a:buChar char="o"/>
            </a:pPr>
            <a:r>
              <a:rPr lang="en-US" sz="1200" dirty="0"/>
              <a:t>Septum width: 10 mm or adjustable.</a:t>
            </a:r>
          </a:p>
          <a:p>
            <a:pPr marL="470218" lvl="1" indent="-182880">
              <a:lnSpc>
                <a:spcPct val="100000"/>
              </a:lnSpc>
              <a:spcAft>
                <a:spcPts val="0"/>
              </a:spcAft>
              <a:buClr>
                <a:schemeClr val="accent2"/>
              </a:buClr>
              <a:buFont typeface="Courier New" panose="02070309020205020404" pitchFamily="49" charset="0"/>
              <a:buChar char="o"/>
            </a:pPr>
            <a:r>
              <a:rPr lang="en-US" sz="1200" dirty="0"/>
              <a:t>Maximum flow: 6 to 8 L/min.</a:t>
            </a:r>
          </a:p>
          <a:p>
            <a:pPr marL="470218" lvl="1" indent="-182880">
              <a:lnSpc>
                <a:spcPct val="100000"/>
              </a:lnSpc>
              <a:spcAft>
                <a:spcPts val="0"/>
              </a:spcAft>
              <a:buClr>
                <a:schemeClr val="accent2"/>
              </a:buClr>
              <a:buFont typeface="Courier New" panose="02070309020205020404" pitchFamily="49" charset="0"/>
              <a:buChar char="o"/>
            </a:pPr>
            <a:r>
              <a:rPr lang="en-US" sz="1200" dirty="0"/>
              <a:t>Tube length: 1.6 to 2 m.</a:t>
            </a:r>
          </a:p>
          <a:p>
            <a:pPr marL="470218" lvl="1" indent="-182880">
              <a:lnSpc>
                <a:spcPct val="100000"/>
              </a:lnSpc>
              <a:spcAft>
                <a:spcPts val="0"/>
              </a:spcAft>
              <a:buClr>
                <a:schemeClr val="accent2"/>
              </a:buClr>
              <a:buFont typeface="Courier New" panose="02070309020205020404" pitchFamily="49" charset="0"/>
              <a:buChar char="o"/>
            </a:pPr>
            <a:r>
              <a:rPr lang="en-US" sz="1200" dirty="0"/>
              <a:t>An oxygen flow rate of 2 to 4 L/min delivers a FiO2 of 0.28 to 0.36</a:t>
            </a:r>
          </a:p>
          <a:p>
            <a:pPr marL="470218" lvl="1" indent="-182880">
              <a:lnSpc>
                <a:spcPct val="100000"/>
              </a:lnSpc>
              <a:spcAft>
                <a:spcPts val="0"/>
              </a:spcAft>
              <a:buClr>
                <a:schemeClr val="accent2"/>
              </a:buClr>
              <a:buFont typeface="Courier New" panose="02070309020205020404" pitchFamily="49" charset="0"/>
              <a:buChar char="o"/>
            </a:pPr>
            <a:r>
              <a:rPr lang="en-US" sz="1200" dirty="0"/>
              <a:t>Material: Rubber or soft plastic tubing and prongs, PVC or other material, and certified for medical use.</a:t>
            </a:r>
          </a:p>
          <a:p>
            <a:pPr>
              <a:buClr>
                <a:schemeClr val="accent2">
                  <a:lumMod val="75000"/>
                </a:schemeClr>
              </a:buClr>
            </a:pPr>
            <a:endParaRPr lang="en-US" sz="1400" dirty="0"/>
          </a:p>
        </p:txBody>
      </p:sp>
      <p:cxnSp>
        <p:nvCxnSpPr>
          <p:cNvPr id="10" name="Straight Connector 9">
            <a:extLst>
              <a:ext uri="{FF2B5EF4-FFF2-40B4-BE49-F238E27FC236}">
                <a16:creationId xmlns:a16="http://schemas.microsoft.com/office/drawing/2014/main" id="{98FA007E-1958-42A6-BACD-90B6D92D760E}"/>
              </a:ext>
            </a:extLst>
          </p:cNvPr>
          <p:cNvCxnSpPr>
            <a:cxnSpLocks/>
          </p:cNvCxnSpPr>
          <p:nvPr/>
        </p:nvCxnSpPr>
        <p:spPr>
          <a:xfrm>
            <a:off x="4419594" y="1822721"/>
            <a:ext cx="0" cy="4408602"/>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3953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8CA09FF-957B-4133-AFBF-829566371F0A}"/>
              </a:ext>
            </a:extLst>
          </p:cNvPr>
          <p:cNvSpPr>
            <a:spLocks noGrp="1"/>
          </p:cNvSpPr>
          <p:nvPr>
            <p:ph type="body" sz="quarter" idx="14"/>
          </p:nvPr>
        </p:nvSpPr>
        <p:spPr>
          <a:xfrm>
            <a:off x="838205" y="685800"/>
            <a:ext cx="3886195" cy="995344"/>
          </a:xfrm>
        </p:spPr>
        <p:txBody>
          <a:bodyPr anchor="ctr"/>
          <a:lstStyle/>
          <a:p>
            <a:r>
              <a:rPr lang="en-US" dirty="0">
                <a:solidFill>
                  <a:schemeClr val="accent2">
                    <a:lumMod val="75000"/>
                  </a:schemeClr>
                </a:solidFill>
              </a:rPr>
              <a:t>Detailed questions for each model</a:t>
            </a:r>
          </a:p>
        </p:txBody>
      </p:sp>
      <p:sp>
        <p:nvSpPr>
          <p:cNvPr id="7" name="Text Placeholder 6">
            <a:extLst>
              <a:ext uri="{FF2B5EF4-FFF2-40B4-BE49-F238E27FC236}">
                <a16:creationId xmlns:a16="http://schemas.microsoft.com/office/drawing/2014/main" id="{7C885179-1444-4424-A02D-DA4A82A35C22}"/>
              </a:ext>
            </a:extLst>
          </p:cNvPr>
          <p:cNvSpPr>
            <a:spLocks noGrp="1"/>
          </p:cNvSpPr>
          <p:nvPr>
            <p:ph type="body" sz="quarter" idx="15"/>
          </p:nvPr>
        </p:nvSpPr>
        <p:spPr>
          <a:xfrm>
            <a:off x="838205" y="1822721"/>
            <a:ext cx="3809993" cy="4578079"/>
          </a:xfrm>
        </p:spPr>
        <p:txBody>
          <a:bodyPr/>
          <a:lstStyle/>
          <a:p>
            <a:pPr marL="228600" indent="-228600">
              <a:lnSpc>
                <a:spcPct val="100000"/>
              </a:lnSpc>
              <a:spcAft>
                <a:spcPts val="300"/>
              </a:spcAft>
              <a:buClr>
                <a:schemeClr val="accent2">
                  <a:lumMod val="75000"/>
                </a:schemeClr>
              </a:buClr>
              <a:buFont typeface="+mj-lt"/>
              <a:buAutoNum type="arabicPeriod"/>
            </a:pPr>
            <a:r>
              <a:rPr lang="en-US" sz="1400" dirty="0"/>
              <a:t>What is the model's name?</a:t>
            </a:r>
          </a:p>
          <a:p>
            <a:pPr marL="228600" indent="-228600">
              <a:lnSpc>
                <a:spcPct val="100000"/>
              </a:lnSpc>
              <a:spcAft>
                <a:spcPts val="300"/>
              </a:spcAft>
              <a:buClr>
                <a:schemeClr val="accent2">
                  <a:lumMod val="75000"/>
                </a:schemeClr>
              </a:buClr>
              <a:buFont typeface="+mj-lt"/>
              <a:buAutoNum type="arabicPeriod"/>
            </a:pPr>
            <a:r>
              <a:rPr lang="en-US" sz="1400" dirty="0"/>
              <a:t>Which qualification does it have CE/EUA/FDA/ISO)? </a:t>
            </a:r>
          </a:p>
          <a:p>
            <a:pPr marL="228600" indent="-228600">
              <a:lnSpc>
                <a:spcPct val="100000"/>
              </a:lnSpc>
              <a:spcAft>
                <a:spcPts val="300"/>
              </a:spcAft>
              <a:buClr>
                <a:schemeClr val="accent2">
                  <a:lumMod val="75000"/>
                </a:schemeClr>
              </a:buClr>
              <a:buFont typeface="+mj-lt"/>
              <a:buAutoNum type="arabicPeriod"/>
            </a:pPr>
            <a:r>
              <a:rPr lang="en-US" sz="1400" dirty="0"/>
              <a:t>What is the existing inventory?</a:t>
            </a:r>
          </a:p>
          <a:p>
            <a:pPr marL="228600" indent="-228600">
              <a:lnSpc>
                <a:spcPct val="100000"/>
              </a:lnSpc>
              <a:spcAft>
                <a:spcPts val="300"/>
              </a:spcAft>
              <a:buClr>
                <a:schemeClr val="accent2">
                  <a:lumMod val="75000"/>
                </a:schemeClr>
              </a:buClr>
              <a:buFont typeface="+mj-lt"/>
              <a:buAutoNum type="arabicPeriod"/>
            </a:pPr>
            <a:r>
              <a:rPr lang="en-US" sz="1400" dirty="0"/>
              <a:t>What is the production capacity?</a:t>
            </a:r>
          </a:p>
          <a:p>
            <a:pPr marL="228600" indent="-228600">
              <a:lnSpc>
                <a:spcPct val="100000"/>
              </a:lnSpc>
              <a:spcAft>
                <a:spcPts val="300"/>
              </a:spcAft>
              <a:buClr>
                <a:schemeClr val="accent2">
                  <a:lumMod val="75000"/>
                </a:schemeClr>
              </a:buClr>
              <a:buFont typeface="+mj-lt"/>
              <a:buAutoNum type="arabicPeriod"/>
            </a:pPr>
            <a:r>
              <a:rPr lang="en-US" sz="1400" dirty="0"/>
              <a:t>What is the typical lead time (days) if order? </a:t>
            </a:r>
          </a:p>
          <a:p>
            <a:pPr marL="228600" indent="-228600">
              <a:lnSpc>
                <a:spcPct val="100000"/>
              </a:lnSpc>
              <a:spcAft>
                <a:spcPts val="300"/>
              </a:spcAft>
              <a:buClr>
                <a:schemeClr val="accent2">
                  <a:lumMod val="75000"/>
                </a:schemeClr>
              </a:buClr>
              <a:buFont typeface="+mj-lt"/>
              <a:buAutoNum type="arabicPeriod"/>
            </a:pPr>
            <a:r>
              <a:rPr lang="en-US" sz="1400" dirty="0"/>
              <a:t>What is the preferred volume to increase priority of order fulfillment? </a:t>
            </a:r>
          </a:p>
          <a:p>
            <a:pPr marL="228600" indent="-228600">
              <a:lnSpc>
                <a:spcPct val="100000"/>
              </a:lnSpc>
              <a:spcAft>
                <a:spcPts val="300"/>
              </a:spcAft>
              <a:buClr>
                <a:schemeClr val="accent2">
                  <a:lumMod val="75000"/>
                </a:schemeClr>
              </a:buClr>
              <a:buFont typeface="+mj-lt"/>
              <a:buAutoNum type="arabicPeriod"/>
            </a:pPr>
            <a:r>
              <a:rPr lang="en-US" sz="1400" dirty="0"/>
              <a:t>What is the price/unit?</a:t>
            </a:r>
          </a:p>
          <a:p>
            <a:pPr marL="228600" indent="-228600">
              <a:lnSpc>
                <a:spcPct val="100000"/>
              </a:lnSpc>
              <a:spcAft>
                <a:spcPts val="300"/>
              </a:spcAft>
              <a:buClr>
                <a:schemeClr val="accent2">
                  <a:lumMod val="75000"/>
                </a:schemeClr>
              </a:buClr>
              <a:buFont typeface="+mj-lt"/>
              <a:buAutoNum type="arabicPeriod"/>
            </a:pPr>
            <a:r>
              <a:rPr lang="en-US" sz="1400" dirty="0"/>
              <a:t>What is the typical payment term?</a:t>
            </a:r>
          </a:p>
          <a:p>
            <a:pPr marL="228600" indent="-228600">
              <a:lnSpc>
                <a:spcPct val="100000"/>
              </a:lnSpc>
              <a:spcAft>
                <a:spcPts val="300"/>
              </a:spcAft>
              <a:buClr>
                <a:schemeClr val="accent2">
                  <a:lumMod val="75000"/>
                </a:schemeClr>
              </a:buClr>
              <a:buFont typeface="+mj-lt"/>
              <a:buAutoNum type="arabicPeriod"/>
            </a:pPr>
            <a:r>
              <a:rPr lang="en-US" sz="1400" dirty="0"/>
              <a:t>Do you currently export this product? If yes, please list your key international market(s)?</a:t>
            </a:r>
          </a:p>
          <a:p>
            <a:pPr marL="228600" indent="-228600">
              <a:lnSpc>
                <a:spcPct val="100000"/>
              </a:lnSpc>
              <a:spcAft>
                <a:spcPts val="300"/>
              </a:spcAft>
              <a:buClr>
                <a:schemeClr val="accent2">
                  <a:lumMod val="75000"/>
                </a:schemeClr>
              </a:buClr>
              <a:buFont typeface="+mj-lt"/>
              <a:buAutoNum type="arabicPeriod"/>
            </a:pPr>
            <a:r>
              <a:rPr lang="en-US" sz="1400" dirty="0"/>
              <a:t>Does your company provide maintenance services for this device (if applicable)?</a:t>
            </a:r>
          </a:p>
          <a:p>
            <a:pPr marL="228600" indent="-228600">
              <a:lnSpc>
                <a:spcPct val="100000"/>
              </a:lnSpc>
              <a:spcAft>
                <a:spcPts val="300"/>
              </a:spcAft>
              <a:buClr>
                <a:schemeClr val="accent2">
                  <a:lumMod val="75000"/>
                </a:schemeClr>
              </a:buClr>
              <a:buFont typeface="+mj-lt"/>
              <a:buAutoNum type="arabicPeriod"/>
            </a:pPr>
            <a:r>
              <a:rPr lang="en-US" sz="1400" dirty="0"/>
              <a:t>Does your company sell device-related accessories (if applicable)?</a:t>
            </a:r>
          </a:p>
          <a:p>
            <a:pPr marL="228600" indent="-228600">
              <a:lnSpc>
                <a:spcPct val="100000"/>
              </a:lnSpc>
              <a:spcAft>
                <a:spcPts val="300"/>
              </a:spcAft>
              <a:buClr>
                <a:schemeClr val="accent2">
                  <a:lumMod val="75000"/>
                </a:schemeClr>
              </a:buClr>
              <a:buFont typeface="+mj-lt"/>
              <a:buAutoNum type="arabicPeriod"/>
            </a:pPr>
            <a:r>
              <a:rPr lang="en-US" sz="1400" dirty="0"/>
              <a:t>Please identify some major bottleneck in production of this equipment.</a:t>
            </a:r>
          </a:p>
          <a:p>
            <a:pPr marL="228600" indent="-228600">
              <a:lnSpc>
                <a:spcPct val="100000"/>
              </a:lnSpc>
              <a:spcAft>
                <a:spcPts val="300"/>
              </a:spcAft>
              <a:buClr>
                <a:schemeClr val="accent2">
                  <a:lumMod val="75000"/>
                </a:schemeClr>
              </a:buClr>
              <a:buFont typeface="+mj-lt"/>
              <a:buAutoNum type="arabicPeriod"/>
            </a:pPr>
            <a:r>
              <a:rPr lang="en-US" sz="1400" dirty="0"/>
              <a:t>Is there something else we should know?</a:t>
            </a:r>
          </a:p>
          <a:p>
            <a:endParaRPr lang="en-US" dirty="0"/>
          </a:p>
        </p:txBody>
      </p:sp>
      <p:sp>
        <p:nvSpPr>
          <p:cNvPr id="8" name="Text Placeholder 5">
            <a:extLst>
              <a:ext uri="{FF2B5EF4-FFF2-40B4-BE49-F238E27FC236}">
                <a16:creationId xmlns:a16="http://schemas.microsoft.com/office/drawing/2014/main" id="{7B9D3801-F531-45A1-B9DB-D02B725A7D7B}"/>
              </a:ext>
            </a:extLst>
          </p:cNvPr>
          <p:cNvSpPr txBox="1">
            <a:spLocks/>
          </p:cNvSpPr>
          <p:nvPr/>
        </p:nvSpPr>
        <p:spPr bwMode="auto">
          <a:xfrm>
            <a:off x="4876799" y="685800"/>
            <a:ext cx="3729330" cy="1061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0" indent="0"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None/>
              <a:defRPr sz="2400" kern="1200">
                <a:solidFill>
                  <a:schemeClr val="accent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0" marR="0" lvl="0" indent="0" algn="just"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endParaRPr kumimoji="0" lang="en-US" sz="2400" b="0" i="0" u="none" strike="noStrike" kern="1200" cap="none" spc="0" normalizeH="0" baseline="0" noProof="0" dirty="0">
              <a:ln>
                <a:noFill/>
              </a:ln>
              <a:solidFill>
                <a:schemeClr val="accent2">
                  <a:lumMod val="75000"/>
                </a:schemeClr>
              </a:solidFill>
              <a:effectLst/>
              <a:uLnTx/>
              <a:uFillTx/>
            </a:endParaRPr>
          </a:p>
          <a:p>
            <a:pPr marL="0" marR="0" lvl="0" indent="0" algn="just"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r>
              <a:rPr kumimoji="0" lang="en-US" sz="2400" b="0" i="0" u="none" strike="noStrike" kern="1200" cap="none" spc="0" normalizeH="0" baseline="0" noProof="0" dirty="0">
                <a:ln>
                  <a:noFill/>
                </a:ln>
                <a:solidFill>
                  <a:schemeClr val="accent2">
                    <a:lumMod val="75000"/>
                  </a:schemeClr>
                </a:solidFill>
                <a:effectLst/>
                <a:uLnTx/>
                <a:uFillTx/>
              </a:rPr>
              <a:t>Potential in-depth questions for equipment manufacturer template</a:t>
            </a:r>
          </a:p>
          <a:p>
            <a:pPr marL="0" marR="0" lvl="0" indent="0" algn="just" defTabSz="685800" rtl="0" eaLnBrk="0" fontAlgn="base" latinLnBrk="0" hangingPunct="0">
              <a:lnSpc>
                <a:spcPct val="90000"/>
              </a:lnSpc>
              <a:spcBef>
                <a:spcPts val="900"/>
              </a:spcBef>
              <a:spcAft>
                <a:spcPts val="150"/>
              </a:spcAft>
              <a:buClr>
                <a:srgbClr val="1CADE4"/>
              </a:buClr>
              <a:buSzPct val="100000"/>
              <a:buFont typeface="Calibri" panose="020F0502020204030204" pitchFamily="34" charset="0"/>
              <a:buNone/>
              <a:tabLst/>
              <a:defRPr/>
            </a:pPr>
            <a:endParaRPr kumimoji="0" lang="en-US" sz="2400" b="0" i="0" u="none" strike="noStrike" kern="1200" cap="none" spc="0" normalizeH="0" baseline="0" noProof="0" dirty="0">
              <a:ln>
                <a:noFill/>
              </a:ln>
              <a:solidFill>
                <a:schemeClr val="accent2">
                  <a:lumMod val="75000"/>
                </a:schemeClr>
              </a:solidFill>
              <a:effectLst/>
              <a:uLnTx/>
              <a:uFillTx/>
            </a:endParaRPr>
          </a:p>
        </p:txBody>
      </p:sp>
      <p:sp>
        <p:nvSpPr>
          <p:cNvPr id="9" name="Text Placeholder 6">
            <a:extLst>
              <a:ext uri="{FF2B5EF4-FFF2-40B4-BE49-F238E27FC236}">
                <a16:creationId xmlns:a16="http://schemas.microsoft.com/office/drawing/2014/main" id="{2C740F53-B956-4BED-BBCB-F054A8E82283}"/>
              </a:ext>
            </a:extLst>
          </p:cNvPr>
          <p:cNvSpPr txBox="1">
            <a:spLocks/>
          </p:cNvSpPr>
          <p:nvPr/>
        </p:nvSpPr>
        <p:spPr bwMode="auto">
          <a:xfrm>
            <a:off x="4845485" y="1828800"/>
            <a:ext cx="3460310" cy="4408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685800" rtl="0" eaLnBrk="0" fontAlgn="base" hangingPunct="0">
              <a:lnSpc>
                <a:spcPct val="90000"/>
              </a:lnSpc>
              <a:spcBef>
                <a:spcPts val="0"/>
              </a:spcBef>
              <a:spcAft>
                <a:spcPts val="1350"/>
              </a:spcAft>
              <a:buClr>
                <a:schemeClr val="accent1"/>
              </a:buClr>
              <a:buSzPct val="100000"/>
              <a:buFont typeface="Calibri" panose="020F0502020204030204" pitchFamily="34" charset="0"/>
              <a:buNone/>
              <a:defRPr sz="1200" kern="1200">
                <a:solidFill>
                  <a:schemeClr val="tx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5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228600" marR="0" lvl="0" indent="-228600" algn="l" defTabSz="685800" rtl="0" eaLnBrk="0" fontAlgn="base" latinLnBrk="0" hangingPunct="0">
              <a:lnSpc>
                <a:spcPct val="100000"/>
              </a:lnSpc>
              <a:spcBef>
                <a:spcPts val="0"/>
              </a:spcBef>
              <a:spcAft>
                <a:spcPts val="600"/>
              </a:spcAft>
              <a:buClr>
                <a:srgbClr val="2683C6">
                  <a:lumMod val="75000"/>
                </a:srgbClr>
              </a:buClr>
              <a:buSzPct val="100000"/>
              <a:buFont typeface="+mj-lt"/>
              <a:buAutoNum type="arabicPeriod"/>
              <a:tabLst/>
              <a:defRPr/>
            </a:pPr>
            <a:r>
              <a:rPr kumimoji="0" lang="en-US" sz="1400" b="0" i="0" u="none" strike="noStrike" kern="1200" cap="none" spc="0" normalizeH="0" baseline="0" noProof="0" dirty="0">
                <a:ln>
                  <a:noFill/>
                </a:ln>
                <a:solidFill>
                  <a:prstClr val="black"/>
                </a:solidFill>
                <a:effectLst/>
                <a:uLnTx/>
                <a:uFillTx/>
              </a:rPr>
              <a:t>Can additional production shift be added to scale capacity?</a:t>
            </a:r>
          </a:p>
          <a:p>
            <a:pPr marL="228600" marR="0" lvl="0" indent="-228600" algn="l" defTabSz="685800" rtl="0" eaLnBrk="0" fontAlgn="base" latinLnBrk="0" hangingPunct="0">
              <a:lnSpc>
                <a:spcPct val="100000"/>
              </a:lnSpc>
              <a:spcBef>
                <a:spcPts val="0"/>
              </a:spcBef>
              <a:spcAft>
                <a:spcPts val="600"/>
              </a:spcAft>
              <a:buClr>
                <a:srgbClr val="2683C6">
                  <a:lumMod val="75000"/>
                </a:srgbClr>
              </a:buClr>
              <a:buSzPct val="100000"/>
              <a:buFont typeface="+mj-lt"/>
              <a:buAutoNum type="arabicPeriod"/>
              <a:tabLst/>
              <a:defRPr/>
            </a:pPr>
            <a:r>
              <a:rPr kumimoji="0" lang="en-US" sz="1400" b="0" i="0" u="none" strike="noStrike" kern="1200" cap="none" spc="0" normalizeH="0" baseline="0" noProof="0" dirty="0">
                <a:ln>
                  <a:noFill/>
                </a:ln>
                <a:solidFill>
                  <a:prstClr val="black"/>
                </a:solidFill>
                <a:effectLst/>
                <a:uLnTx/>
                <a:uFillTx/>
              </a:rPr>
              <a:t>What would be lead time to add additional manufacturing capacity?</a:t>
            </a:r>
          </a:p>
          <a:p>
            <a:pPr marL="228600" marR="0" lvl="0" indent="-228600" algn="l" defTabSz="685800" rtl="0" eaLnBrk="0" fontAlgn="base" latinLnBrk="0" hangingPunct="0">
              <a:lnSpc>
                <a:spcPct val="100000"/>
              </a:lnSpc>
              <a:spcBef>
                <a:spcPts val="0"/>
              </a:spcBef>
              <a:spcAft>
                <a:spcPts val="600"/>
              </a:spcAft>
              <a:buClr>
                <a:srgbClr val="2683C6">
                  <a:lumMod val="75000"/>
                </a:srgbClr>
              </a:buClr>
              <a:buSzPct val="100000"/>
              <a:buFont typeface="+mj-lt"/>
              <a:buAutoNum type="arabicPeriod"/>
              <a:tabLst/>
              <a:defRPr/>
            </a:pPr>
            <a:r>
              <a:rPr kumimoji="0" lang="en-US" sz="1400" b="0" i="0" u="none" strike="noStrike" kern="1200" cap="none" spc="0" normalizeH="0" baseline="0" noProof="0" dirty="0">
                <a:ln>
                  <a:noFill/>
                </a:ln>
                <a:solidFill>
                  <a:prstClr val="black"/>
                </a:solidFill>
                <a:effectLst/>
                <a:uLnTx/>
                <a:uFillTx/>
              </a:rPr>
              <a:t>What is the maximum increase in demand that your organization would still be able to supply this product?</a:t>
            </a:r>
          </a:p>
          <a:p>
            <a:pPr marL="228600" marR="0" lvl="0" indent="-228600" algn="l" defTabSz="685800" rtl="0" eaLnBrk="0" fontAlgn="base" latinLnBrk="0" hangingPunct="0">
              <a:lnSpc>
                <a:spcPct val="100000"/>
              </a:lnSpc>
              <a:spcBef>
                <a:spcPts val="0"/>
              </a:spcBef>
              <a:spcAft>
                <a:spcPts val="600"/>
              </a:spcAft>
              <a:buClr>
                <a:srgbClr val="2683C6">
                  <a:lumMod val="75000"/>
                </a:srgbClr>
              </a:buClr>
              <a:buSzPct val="100000"/>
              <a:buFont typeface="+mj-lt"/>
              <a:buAutoNum type="arabicPeriod"/>
              <a:tabLst/>
              <a:defRPr/>
            </a:pPr>
            <a:r>
              <a:rPr kumimoji="0" lang="en-US" sz="1400" b="0" i="0" u="none" strike="noStrike" kern="1200" cap="none" spc="0" normalizeH="0" baseline="0" noProof="0" dirty="0">
                <a:ln>
                  <a:noFill/>
                </a:ln>
                <a:solidFill>
                  <a:prstClr val="black"/>
                </a:solidFill>
                <a:effectLst/>
                <a:uLnTx/>
                <a:uFillTx/>
              </a:rPr>
              <a:t>What would be the cost to add additional capacity? Please specify the factors included in cost estimates.</a:t>
            </a:r>
          </a:p>
          <a:p>
            <a:pPr marL="228600" marR="0" lvl="0" indent="-228600" algn="l" defTabSz="685800" rtl="0" eaLnBrk="0" fontAlgn="base" latinLnBrk="0" hangingPunct="0">
              <a:lnSpc>
                <a:spcPct val="100000"/>
              </a:lnSpc>
              <a:spcBef>
                <a:spcPts val="0"/>
              </a:spcBef>
              <a:spcAft>
                <a:spcPts val="600"/>
              </a:spcAft>
              <a:buClr>
                <a:srgbClr val="2683C6">
                  <a:lumMod val="75000"/>
                </a:srgbClr>
              </a:buClr>
              <a:buSzPct val="100000"/>
              <a:buFont typeface="+mj-lt"/>
              <a:buAutoNum type="arabicPeriod"/>
              <a:tabLst/>
              <a:defRPr/>
            </a:pPr>
            <a:r>
              <a:rPr kumimoji="0" lang="en-US" sz="1400" b="0" i="0" u="none" strike="noStrike" kern="1200" cap="none" spc="0" normalizeH="0" baseline="0" noProof="0" dirty="0">
                <a:ln>
                  <a:noFill/>
                </a:ln>
                <a:solidFill>
                  <a:prstClr val="black"/>
                </a:solidFill>
                <a:effectLst/>
                <a:uLnTx/>
                <a:uFillTx/>
              </a:rPr>
              <a:t>What are the core device components of this product?</a:t>
            </a:r>
          </a:p>
          <a:p>
            <a:pPr marL="228600" marR="0" lvl="0" indent="-228600" algn="l" defTabSz="685800" rtl="0" eaLnBrk="0" fontAlgn="base" latinLnBrk="0" hangingPunct="0">
              <a:lnSpc>
                <a:spcPct val="100000"/>
              </a:lnSpc>
              <a:spcBef>
                <a:spcPts val="0"/>
              </a:spcBef>
              <a:spcAft>
                <a:spcPts val="600"/>
              </a:spcAft>
              <a:buClr>
                <a:srgbClr val="2683C6">
                  <a:lumMod val="75000"/>
                </a:srgbClr>
              </a:buClr>
              <a:buSzPct val="100000"/>
              <a:buFont typeface="+mj-lt"/>
              <a:buAutoNum type="arabicPeriod"/>
              <a:tabLst/>
              <a:defRPr/>
            </a:pPr>
            <a:r>
              <a:rPr kumimoji="0" lang="en-US" sz="1400" b="0" i="0" u="none" strike="noStrike" kern="1200" cap="none" spc="0" normalizeH="0" baseline="0" noProof="0" dirty="0">
                <a:ln>
                  <a:noFill/>
                </a:ln>
                <a:solidFill>
                  <a:prstClr val="black"/>
                </a:solidFill>
                <a:effectLst/>
                <a:uLnTx/>
                <a:uFillTx/>
              </a:rPr>
              <a:t>Do you have concerns about sourcing core components for this product? If yes, please explain.</a:t>
            </a:r>
          </a:p>
          <a:p>
            <a:pPr marL="228600" marR="0" lvl="0" indent="-228600" algn="l" defTabSz="685800" rtl="0" eaLnBrk="0" fontAlgn="base" latinLnBrk="0" hangingPunct="0">
              <a:lnSpc>
                <a:spcPct val="100000"/>
              </a:lnSpc>
              <a:spcBef>
                <a:spcPts val="0"/>
              </a:spcBef>
              <a:spcAft>
                <a:spcPts val="600"/>
              </a:spcAft>
              <a:buClr>
                <a:srgbClr val="2683C6">
                  <a:lumMod val="75000"/>
                </a:srgbClr>
              </a:buClr>
              <a:buSzPct val="100000"/>
              <a:buFont typeface="+mj-lt"/>
              <a:buAutoNum type="arabicPeriod"/>
              <a:tabLst/>
              <a:defRPr/>
            </a:pPr>
            <a:r>
              <a:rPr kumimoji="0" lang="en-US" sz="1400" b="0" i="0" u="none" strike="noStrike" kern="1200" cap="none" spc="0" normalizeH="0" baseline="0" noProof="0" dirty="0">
                <a:ln>
                  <a:noFill/>
                </a:ln>
                <a:solidFill>
                  <a:prstClr val="black"/>
                </a:solidFill>
                <a:effectLst/>
                <a:uLnTx/>
                <a:uFillTx/>
              </a:rPr>
              <a:t>Does your company have shipping capacity concerns for specific products? If yes, please explain.</a:t>
            </a:r>
          </a:p>
          <a:p>
            <a:pPr marL="0" marR="0" lvl="0" indent="0" algn="l" defTabSz="685800" rtl="0" eaLnBrk="0" fontAlgn="base" latinLnBrk="0" hangingPunct="0">
              <a:lnSpc>
                <a:spcPct val="90000"/>
              </a:lnSpc>
              <a:spcBef>
                <a:spcPts val="0"/>
              </a:spcBef>
              <a:spcAft>
                <a:spcPts val="1350"/>
              </a:spcAft>
              <a:buClr>
                <a:srgbClr val="2683C6">
                  <a:lumMod val="75000"/>
                </a:srgbClr>
              </a:buClr>
              <a:buSzPct val="100000"/>
              <a:buFont typeface="Calibri" panose="020F0502020204030204" pitchFamily="34" charset="0"/>
              <a:buNone/>
              <a:tabLst/>
              <a:defRPr/>
            </a:pPr>
            <a:endParaRPr kumimoji="0" lang="en-US" sz="1400" b="0" i="0" u="none" strike="noStrike" kern="1200" cap="none" spc="0" normalizeH="0" baseline="0" noProof="0" dirty="0">
              <a:ln>
                <a:noFill/>
              </a:ln>
              <a:solidFill>
                <a:prstClr val="black"/>
              </a:solidFill>
              <a:effectLst/>
              <a:uLnTx/>
              <a:uFillTx/>
            </a:endParaRPr>
          </a:p>
        </p:txBody>
      </p:sp>
      <p:cxnSp>
        <p:nvCxnSpPr>
          <p:cNvPr id="10" name="Straight Connector 9">
            <a:extLst>
              <a:ext uri="{FF2B5EF4-FFF2-40B4-BE49-F238E27FC236}">
                <a16:creationId xmlns:a16="http://schemas.microsoft.com/office/drawing/2014/main" id="{98FA007E-1958-42A6-BACD-90B6D92D760E}"/>
              </a:ext>
            </a:extLst>
          </p:cNvPr>
          <p:cNvCxnSpPr>
            <a:cxnSpLocks/>
          </p:cNvCxnSpPr>
          <p:nvPr/>
        </p:nvCxnSpPr>
        <p:spPr>
          <a:xfrm>
            <a:off x="4724400" y="1822721"/>
            <a:ext cx="0" cy="4414681"/>
          </a:xfrm>
          <a:prstGeom prst="line">
            <a:avLst/>
          </a:prstGeom>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470549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pic>
        <p:nvPicPr>
          <p:cNvPr id="7" name="Content Placeholder 3">
            <a:extLst>
              <a:ext uri="{FF2B5EF4-FFF2-40B4-BE49-F238E27FC236}">
                <a16:creationId xmlns:a16="http://schemas.microsoft.com/office/drawing/2014/main" id="{8199CF09-49D1-44C5-BA24-F9F8DBD62267}"/>
              </a:ext>
            </a:extLst>
          </p:cNvPr>
          <p:cNvPicPr>
            <a:picLocks noChangeAspect="1"/>
          </p:cNvPicPr>
          <p:nvPr/>
        </p:nvPicPr>
        <p:blipFill>
          <a:blip r:embed="rId3"/>
          <a:stretch>
            <a:fillRect/>
          </a:stretch>
        </p:blipFill>
        <p:spPr>
          <a:xfrm>
            <a:off x="1295400" y="1827414"/>
            <a:ext cx="6096000" cy="4349503"/>
          </a:xfrm>
          <a:prstGeom prst="rect">
            <a:avLst/>
          </a:prstGeom>
        </p:spPr>
      </p:pic>
      <p:sp>
        <p:nvSpPr>
          <p:cNvPr id="6" name="Google Shape;602;ge9eb37db0a_0_51">
            <a:extLst>
              <a:ext uri="{FF2B5EF4-FFF2-40B4-BE49-F238E27FC236}">
                <a16:creationId xmlns:a16="http://schemas.microsoft.com/office/drawing/2014/main" id="{A612136F-95E7-45AD-A3B0-04E675C26F51}"/>
              </a:ext>
            </a:extLst>
          </p:cNvPr>
          <p:cNvSpPr txBox="1"/>
          <p:nvPr/>
        </p:nvSpPr>
        <p:spPr>
          <a:xfrm>
            <a:off x="838200" y="559676"/>
            <a:ext cx="7467600" cy="1204676"/>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sym typeface="Arial"/>
              </a:rPr>
              <a:t>Low Dependency Devices</a:t>
            </a:r>
          </a:p>
        </p:txBody>
      </p:sp>
    </p:spTree>
    <p:extLst>
      <p:ext uri="{BB962C8B-B14F-4D97-AF65-F5344CB8AC3E}">
        <p14:creationId xmlns:p14="http://schemas.microsoft.com/office/powerpoint/2010/main" val="947261177"/>
      </p:ext>
    </p:extLst>
  </p:cSld>
  <p:clrMapOvr>
    <a:masterClrMapping/>
  </p:clrMapOvr>
  <p:transition spd="med">
    <p:fade/>
  </p:transition>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2682D-2852-49CB-B5F8-DE6209420C9F}"/>
              </a:ext>
            </a:extLst>
          </p:cNvPr>
          <p:cNvSpPr>
            <a:spLocks noGrp="1"/>
          </p:cNvSpPr>
          <p:nvPr>
            <p:ph type="title"/>
          </p:nvPr>
        </p:nvSpPr>
        <p:spPr>
          <a:xfrm>
            <a:off x="773113" y="1506538"/>
            <a:ext cx="7543800" cy="1500187"/>
          </a:xfrm>
        </p:spPr>
        <p:txBody>
          <a:bodyPr/>
          <a:lstStyle/>
          <a:p>
            <a:pPr algn="ctr" eaLnBrk="1" fontAlgn="auto" hangingPunct="1">
              <a:spcAft>
                <a:spcPts val="0"/>
              </a:spcAft>
              <a:defRPr/>
            </a:pPr>
            <a:r>
              <a:rPr lang="en-US" sz="3000" b="1" dirty="0">
                <a:solidFill>
                  <a:schemeClr val="accent2">
                    <a:lumMod val="75000"/>
                  </a:schemeClr>
                </a:solidFill>
              </a:rPr>
              <a:t>Thank You!</a:t>
            </a:r>
          </a:p>
        </p:txBody>
      </p:sp>
      <p:sp>
        <p:nvSpPr>
          <p:cNvPr id="3" name="Text Placeholder 2">
            <a:extLst>
              <a:ext uri="{FF2B5EF4-FFF2-40B4-BE49-F238E27FC236}">
                <a16:creationId xmlns:a16="http://schemas.microsoft.com/office/drawing/2014/main" id="{3DDC4C97-4694-4FA3-A1C6-32E6107E510E}"/>
              </a:ext>
            </a:extLst>
          </p:cNvPr>
          <p:cNvSpPr>
            <a:spLocks noGrp="1"/>
          </p:cNvSpPr>
          <p:nvPr>
            <p:ph type="body" idx="1"/>
          </p:nvPr>
        </p:nvSpPr>
        <p:spPr>
          <a:xfrm>
            <a:off x="822325" y="4452938"/>
            <a:ext cx="7543800" cy="1719262"/>
          </a:xfrm>
        </p:spPr>
        <p:txBody>
          <a:bodyPr rtlCol="0">
            <a:normAutofit fontScale="25000" lnSpcReduction="20000"/>
          </a:bodyPr>
          <a:lstStyle/>
          <a:p>
            <a:pPr eaLnBrk="1" fontAlgn="auto" hangingPunct="1">
              <a:lnSpc>
                <a:spcPct val="170000"/>
              </a:lnSpc>
              <a:defRPr/>
            </a:pPr>
            <a:r>
              <a:rPr lang="en-US" sz="4800" cap="none" dirty="0">
                <a:solidFill>
                  <a:schemeClr val="tx1"/>
                </a:solidFill>
                <a:latin typeface="Calibri" panose="020F0502020204030204" pitchFamily="34" charset="0"/>
                <a:cs typeface="Calibri" panose="020F0502020204030204" pitchFamily="34" charset="0"/>
              </a:rPr>
              <a:t>This presentation was made possible with support from the United States Agency for International Development funded RISE program, under the terms of the cooperative agreement 7200AA19CA00003. The contents are the responsibility of the RISE program and do not necessarily reflect the views of USAID or the United States Government.​</a:t>
            </a:r>
          </a:p>
          <a:p>
            <a:pPr eaLnBrk="1" fontAlgn="auto" hangingPunct="1">
              <a:defRPr/>
            </a:pPr>
            <a:endParaRPr lang="en-US" dirty="0"/>
          </a:p>
        </p:txBody>
      </p:sp>
    </p:spTree>
  </p:cSld>
  <p:clrMapOvr>
    <a:masterClrMapping/>
  </p:clrMapOvr>
</p:sld>
</file>

<file path=ppt/slides/slide19.xml><?xml version="1.0" encoding="utf-8"?>
<p:sld xmlns:p="http://schemas.openxmlformats.org/presentationml/2006/main" xmlns:a="http://schemas.openxmlformats.org/drawingml/2006/main" xmlns:r="http://schemas.openxmlformats.org/officeDocument/2006/relationships">
  <p:cSld>
    <p:spTree>
      <p:nvGrpSpPr>
        <p:cNvPr id="1" name="Shape 601"/>
        <p:cNvGrpSpPr/>
        <p:nvPr/>
      </p:nvGrpSpPr>
      <p:grpSpPr>
        <a:xfrm>
          <a:off x="0" y="0"/>
          <a:ext cx="0" cy="0"/>
          <a:chOff x="0" y="0"/>
          <a:chExt cx="0" cy="0"/>
        </a:xfrm>
      </p:grpSpPr>
      <p:sp>
        <p:nvSpPr>
          <p:cNvPr id="602" name="Google Shape;602;ge9eb37db0a_0_51"/>
          <p:cNvSpPr txBox="1"/>
          <p:nvPr/>
        </p:nvSpPr>
        <p:spPr>
          <a:xfrm>
            <a:off x="914400" y="736948"/>
            <a:ext cx="7467600" cy="938048"/>
          </a:xfrm>
          <a:prstGeom prst="rect">
            <a:avLst/>
          </a:prstGeom>
          <a:noFill/>
          <a:ln>
            <a:noFill/>
          </a:ln>
        </p:spPr>
        <p:txBody>
          <a:bodyPr anchor="b" anchorCtr="0" bIns="0" lIns="0" rIns="0" spcFirstLastPara="1" tIns="0" wrap="square">
            <a:noAutofit/>
          </a:bodyPr>
          <a:lstStyle/>
          <a:p>
            <a:pPr algn="ctr">
              <a:spcBef>
                <a:spcPts val="0"/>
              </a:spcBef>
              <a:spcAft>
                <a:spcPts val="0"/>
              </a:spcAft>
              <a:buClr>
                <a:schemeClr val="accent1"/>
              </a:buClr>
              <a:buSzPts val="3200"/>
            </a:pPr>
            <a:r>
              <a:rPr b="1" dirty="0" lang="en-US" spc="-50" sz="3600">
                <a:solidFill>
                  <a:schemeClr val="accent2">
                    <a:lumMod val="75000"/>
                  </a:schemeClr>
                </a:solidFill>
                <a:latin typeface="+mn-lt"/>
                <a:ea typeface="+mj-ea"/>
                <a:cs typeface="+mj-cs"/>
                <a:sym typeface="Arial"/>
              </a:rPr>
              <a:t>Low Dependency Devices</a:t>
            </a:r>
          </a:p>
        </p:txBody>
      </p:sp>
      <p:grpSp>
        <p:nvGrpSpPr>
          <p:cNvPr id="3" name="Group 2">
            <a:extLst>
              <a:ext uri="{FF2B5EF4-FFF2-40B4-BE49-F238E27FC236}">
                <a16:creationId xmlns:a16="http://schemas.microsoft.com/office/drawing/2014/main" id="{4279BDD9-AF1A-4DAC-A5C3-21FEBD8AF90E}"/>
              </a:ext>
            </a:extLst>
          </p:cNvPr>
          <p:cNvGrpSpPr/>
          <p:nvPr/>
        </p:nvGrpSpPr>
        <p:grpSpPr>
          <a:xfrm>
            <a:off x="614118" y="1949669"/>
            <a:ext cx="7915763" cy="4305228"/>
            <a:chOff x="457200" y="1496475"/>
            <a:chExt cx="8363925" cy="4789953"/>
          </a:xfrm>
        </p:grpSpPr>
        <p:pic>
          <p:nvPicPr>
            <p:cNvPr id="6" name="Content Placeholder 3">
              <a:extLst>
                <a:ext uri="{FF2B5EF4-FFF2-40B4-BE49-F238E27FC236}">
                  <a16:creationId xmlns:a16="http://schemas.microsoft.com/office/drawing/2014/main" id="{5B3D240A-349F-4AC4-A148-ADD0E2B1A33E}"/>
                </a:ext>
              </a:extLst>
            </p:cNvPr>
            <p:cNvPicPr>
              <a:picLocks noChangeAspect="1"/>
            </p:cNvPicPr>
            <p:nvPr/>
          </p:nvPicPr>
          <p:blipFill>
            <a:blip r:embed="rId3"/>
            <a:srcRect b="1"/>
            <a:stretch>
              <a:fillRect/>
            </a:stretch>
          </p:blipFill>
          <p:spPr>
            <a:xfrm>
              <a:off x="457200" y="1496475"/>
              <a:ext cx="8363925" cy="4789953"/>
            </a:xfrm>
            <a:prstGeom prst="rect">
              <a:avLst/>
            </a:prstGeom>
          </p:spPr>
        </p:pic>
        <p:sp>
          <p:nvSpPr>
            <p:cNvPr id="2" name="TextBox 1">
              <a:extLst>
                <a:ext uri="{FF2B5EF4-FFF2-40B4-BE49-F238E27FC236}">
                  <a16:creationId xmlns:a16="http://schemas.microsoft.com/office/drawing/2014/main" id="{CB315BE6-0C80-4D8A-9A86-BF10F8CD6499}"/>
                </a:ext>
              </a:extLst>
            </p:cNvPr>
            <p:cNvSpPr txBox="1"/>
            <p:nvPr/>
          </p:nvSpPr>
          <p:spPr>
            <a:xfrm>
              <a:off x="905362" y="2203691"/>
              <a:ext cx="2295038" cy="273943"/>
            </a:xfrm>
            <a:prstGeom prst="rect">
              <a:avLst/>
            </a:prstGeom>
            <a:noFill/>
          </p:spPr>
          <p:txBody>
            <a:bodyPr rtlCol="0" wrap="square">
              <a:spAutoFit/>
            </a:bodyPr>
            <a:lstStyle/>
            <a:p>
              <a:r>
                <a:rPr b="1" dirty="0" lang="en-GB" sz="1000">
                  <a:latin typeface="+mn-lt"/>
                </a:rPr>
                <a:t>FiO2: Fraction of inspired oxygen</a:t>
              </a:r>
              <a:endParaRPr b="1" dirty="0" lang="en-IN" sz="1000">
                <a:latin typeface="+mn-lt"/>
              </a:endParaRPr>
            </a:p>
          </p:txBody>
        </p:sp>
      </p:grpSp>
    </p:spTree>
    <p:extLst>
      <p:ext uri="{BB962C8B-B14F-4D97-AF65-F5344CB8AC3E}">
        <p14:creationId xmlns:p14="http://schemas.microsoft.com/office/powerpoint/2010/main" val="3002536975"/>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3C1463C-6007-45BB-8D79-DC2E4A2CFF3F}"/>
              </a:ext>
            </a:extLst>
          </p:cNvPr>
          <p:cNvSpPr txBox="1"/>
          <p:nvPr/>
        </p:nvSpPr>
        <p:spPr>
          <a:xfrm>
            <a:off x="838200" y="152400"/>
            <a:ext cx="7772400" cy="6186309"/>
          </a:xfrm>
          <a:prstGeom prst="rect">
            <a:avLst/>
          </a:prstGeom>
          <a:noFill/>
        </p:spPr>
        <p:txBody>
          <a:bodyPr wrap="square">
            <a:spAutoFit/>
          </a:bodyPr>
          <a:lstStyle/>
          <a:p>
            <a:pPr marL="0" marR="0">
              <a:lnSpc>
                <a:spcPct val="120000"/>
              </a:lnSpc>
              <a:spcBef>
                <a:spcPts val="0"/>
              </a:spcBef>
              <a:spcAft>
                <a:spcPts val="600"/>
              </a:spcAft>
            </a:pPr>
            <a:r>
              <a:rPr lang="en-IN" sz="3200" b="1" spc="-50" dirty="0">
                <a:solidFill>
                  <a:schemeClr val="accent2">
                    <a:lumMod val="75000"/>
                  </a:schemeClr>
                </a:solidFill>
                <a:latin typeface="+mn-lt"/>
                <a:ea typeface="+mj-ea"/>
                <a:cs typeface="+mj-cs"/>
              </a:rPr>
              <a:t>Purpose of the training</a:t>
            </a:r>
            <a:endParaRPr lang="en-US" sz="3200" b="1" spc="-50" dirty="0">
              <a:solidFill>
                <a:schemeClr val="accent2">
                  <a:lumMod val="75000"/>
                </a:schemeClr>
              </a:solidFill>
              <a:latin typeface="+mn-lt"/>
              <a:ea typeface="+mj-ea"/>
              <a:cs typeface="+mj-cs"/>
            </a:endParaRPr>
          </a:p>
          <a:p>
            <a:pPr marL="0" marR="0" algn="just">
              <a:lnSpc>
                <a:spcPct val="120000"/>
              </a:lnSpc>
              <a:spcBef>
                <a:spcPts val="0"/>
              </a:spcBef>
              <a:spcAft>
                <a:spcPts val="1800"/>
              </a:spcAft>
            </a:pPr>
            <a:r>
              <a:rPr lang="en-IN" dirty="0">
                <a:effectLst/>
                <a:latin typeface="+mn-lt"/>
                <a:ea typeface="Times New Roman" panose="02020603050405020304" pitchFamily="18" charset="0"/>
                <a:cs typeface="Arial" panose="020B0604020202020204" pitchFamily="34" charset="0"/>
              </a:rPr>
              <a:t>At the end of this course, participants are expected to effectively oversee the oxygen ecosystem at their respective levels.</a:t>
            </a:r>
            <a:endParaRPr lang="en-US" dirty="0">
              <a:effectLst/>
              <a:latin typeface="+mn-lt"/>
              <a:ea typeface="Times New Roman" panose="02020603050405020304" pitchFamily="18" charset="0"/>
              <a:cs typeface="Arial" panose="020B0604020202020204" pitchFamily="34" charset="0"/>
            </a:endParaRPr>
          </a:p>
          <a:p>
            <a:pPr>
              <a:lnSpc>
                <a:spcPct val="120000"/>
              </a:lnSpc>
              <a:spcBef>
                <a:spcPts val="0"/>
              </a:spcBef>
              <a:spcAft>
                <a:spcPts val="600"/>
              </a:spcAft>
            </a:pPr>
            <a:r>
              <a:rPr lang="en-IN" sz="3200" b="1" spc="-50" dirty="0">
                <a:solidFill>
                  <a:schemeClr val="accent2">
                    <a:lumMod val="75000"/>
                  </a:schemeClr>
                </a:solidFill>
                <a:latin typeface="+mn-lt"/>
                <a:ea typeface="+mj-ea"/>
                <a:cs typeface="+mj-cs"/>
              </a:rPr>
              <a:t>Training objectives</a:t>
            </a:r>
            <a:endParaRPr lang="en-US" sz="3200" b="1" spc="-50" dirty="0">
              <a:solidFill>
                <a:schemeClr val="accent2">
                  <a:lumMod val="75000"/>
                </a:schemeClr>
              </a:solidFill>
              <a:latin typeface="+mn-lt"/>
              <a:ea typeface="+mj-ea"/>
              <a:cs typeface="+mj-cs"/>
            </a:endParaRPr>
          </a:p>
          <a:p>
            <a:pPr algn="just">
              <a:spcBef>
                <a:spcPts val="0"/>
              </a:spcBef>
              <a:spcAft>
                <a:spcPts val="600"/>
              </a:spcAft>
              <a:buClr>
                <a:srgbClr val="F65050"/>
              </a:buClr>
            </a:pPr>
            <a:r>
              <a:rPr lang="en-IN" dirty="0">
                <a:latin typeface="+mn-lt"/>
                <a:cs typeface="Arial" panose="020B0604020202020204" pitchFamily="34" charset="0"/>
              </a:rPr>
              <a:t>By end of this training, the participants will be able to:</a:t>
            </a:r>
            <a:endParaRPr lang="en-US" dirty="0">
              <a:latin typeface="+mn-lt"/>
              <a:cs typeface="Arial" panose="020B0604020202020204" pitchFamily="34" charset="0"/>
            </a:endParaRPr>
          </a:p>
          <a:p>
            <a:pPr marL="342900" indent="-342900" algn="just">
              <a:spcBef>
                <a:spcPts val="0"/>
              </a:spcBef>
              <a:spcAft>
                <a:spcPts val="600"/>
              </a:spcAft>
              <a:buClr>
                <a:srgbClr val="002F6D"/>
              </a:buClr>
              <a:buFont typeface="Symbol" panose="05050102010706020507" pitchFamily="18" charset="2"/>
              <a:buChar char=""/>
            </a:pPr>
            <a:r>
              <a:rPr lang="en-IN" dirty="0">
                <a:latin typeface="+mn-lt"/>
                <a:cs typeface="Arial" panose="020B0604020202020204" pitchFamily="34" charset="0"/>
              </a:rPr>
              <a:t>Understand medical oxygen and oxygen therapy, its purpose and devices for oxygen therapy</a:t>
            </a:r>
            <a:endParaRPr lang="en-US" dirty="0">
              <a:latin typeface="+mn-lt"/>
              <a:cs typeface="Arial" panose="020B0604020202020204" pitchFamily="34" charset="0"/>
            </a:endParaRPr>
          </a:p>
          <a:p>
            <a:pPr marL="342900" indent="-342900" algn="just">
              <a:spcBef>
                <a:spcPts val="0"/>
              </a:spcBef>
              <a:spcAft>
                <a:spcPts val="600"/>
              </a:spcAft>
              <a:buClr>
                <a:srgbClr val="002F6D"/>
              </a:buClr>
              <a:buFont typeface="Symbol" panose="05050102010706020507" pitchFamily="18" charset="2"/>
              <a:buChar char=""/>
            </a:pPr>
            <a:r>
              <a:rPr lang="en-IN" dirty="0">
                <a:latin typeface="+mn-lt"/>
                <a:cs typeface="Arial" panose="020B0604020202020204" pitchFamily="34" charset="0"/>
              </a:rPr>
              <a:t>Correctly communicate on oxygen generation equipment, oxygen storage and delivery devices, and devices for oxygen monitoring</a:t>
            </a:r>
            <a:endParaRPr lang="en-US" dirty="0">
              <a:latin typeface="+mn-lt"/>
              <a:cs typeface="Arial" panose="020B0604020202020204" pitchFamily="34" charset="0"/>
            </a:endParaRPr>
          </a:p>
          <a:p>
            <a:pPr marL="342900" indent="-342900" algn="just">
              <a:spcBef>
                <a:spcPts val="0"/>
              </a:spcBef>
              <a:spcAft>
                <a:spcPts val="600"/>
              </a:spcAft>
              <a:buClr>
                <a:srgbClr val="002F6D"/>
              </a:buClr>
              <a:buFont typeface="Symbol" panose="05050102010706020507" pitchFamily="18" charset="2"/>
              <a:buChar char=""/>
            </a:pPr>
            <a:r>
              <a:rPr lang="en-IN" dirty="0">
                <a:latin typeface="+mn-lt"/>
                <a:cs typeface="Arial" panose="020B0604020202020204" pitchFamily="34" charset="0"/>
              </a:rPr>
              <a:t>Undertake facility and site requirements for installing oxygen equipment</a:t>
            </a:r>
            <a:endParaRPr lang="en-US" dirty="0">
              <a:latin typeface="+mn-lt"/>
              <a:cs typeface="Arial" panose="020B0604020202020204" pitchFamily="34" charset="0"/>
            </a:endParaRPr>
          </a:p>
          <a:p>
            <a:pPr marL="342900" indent="-342900" algn="just">
              <a:spcBef>
                <a:spcPts val="0"/>
              </a:spcBef>
              <a:spcAft>
                <a:spcPts val="600"/>
              </a:spcAft>
              <a:buClr>
                <a:srgbClr val="002F6D"/>
              </a:buClr>
              <a:buFont typeface="Symbol" panose="05050102010706020507" pitchFamily="18" charset="2"/>
              <a:buChar char=""/>
            </a:pPr>
            <a:r>
              <a:rPr lang="en-IN" dirty="0">
                <a:latin typeface="+mn-lt"/>
                <a:cs typeface="Arial" panose="020B0604020202020204" pitchFamily="34" charset="0"/>
              </a:rPr>
              <a:t>Ensure safe handling of medical gas</a:t>
            </a:r>
            <a:endParaRPr lang="en-US" dirty="0">
              <a:latin typeface="+mn-lt"/>
              <a:cs typeface="Arial" panose="020B0604020202020204" pitchFamily="34" charset="0"/>
            </a:endParaRPr>
          </a:p>
          <a:p>
            <a:pPr marL="342900" indent="-342900" algn="just">
              <a:spcBef>
                <a:spcPts val="0"/>
              </a:spcBef>
              <a:spcAft>
                <a:spcPts val="600"/>
              </a:spcAft>
              <a:buClr>
                <a:srgbClr val="002F6D"/>
              </a:buClr>
              <a:buFont typeface="Symbol" panose="05050102010706020507" pitchFamily="18" charset="2"/>
              <a:buChar char=""/>
            </a:pPr>
            <a:r>
              <a:rPr lang="en-IN" dirty="0">
                <a:latin typeface="+mn-lt"/>
                <a:cs typeface="Arial" panose="020B0604020202020204" pitchFamily="34" charset="0"/>
              </a:rPr>
              <a:t>Demonstrate the ability to use oxygen monitoring platforms, like ODAS, OCMIS and ODTS</a:t>
            </a:r>
            <a:endParaRPr lang="en-US" dirty="0">
              <a:latin typeface="+mn-lt"/>
              <a:cs typeface="Arial" panose="020B0604020202020204" pitchFamily="34" charset="0"/>
            </a:endParaRPr>
          </a:p>
          <a:p>
            <a:pPr marL="342900" indent="-342900" algn="just">
              <a:spcBef>
                <a:spcPts val="0"/>
              </a:spcBef>
              <a:spcAft>
                <a:spcPts val="600"/>
              </a:spcAft>
              <a:buClr>
                <a:srgbClr val="002F6D"/>
              </a:buClr>
              <a:buFont typeface="Symbol" panose="05050102010706020507" pitchFamily="18" charset="2"/>
              <a:buChar char=""/>
            </a:pPr>
            <a:r>
              <a:rPr lang="en-IN" dirty="0">
                <a:latin typeface="+mn-lt"/>
                <a:cs typeface="Arial" panose="020B0604020202020204" pitchFamily="34" charset="0"/>
              </a:rPr>
              <a:t>Understand the rationale for oxygen audit and rational use of oxygen</a:t>
            </a:r>
            <a:endParaRPr lang="en-US" dirty="0">
              <a:latin typeface="+mn-lt"/>
              <a:cs typeface="Arial" panose="020B0604020202020204" pitchFamily="34" charset="0"/>
            </a:endParaRPr>
          </a:p>
          <a:p>
            <a:pPr marL="342900" indent="-342900" algn="just">
              <a:spcBef>
                <a:spcPts val="0"/>
              </a:spcBef>
              <a:spcAft>
                <a:spcPts val="600"/>
              </a:spcAft>
              <a:buClr>
                <a:srgbClr val="002F6D"/>
              </a:buClr>
              <a:buFont typeface="Symbol" panose="05050102010706020507" pitchFamily="18" charset="2"/>
              <a:buChar char=""/>
            </a:pPr>
            <a:r>
              <a:rPr lang="en-IN" dirty="0">
                <a:latin typeface="+mn-lt"/>
                <a:cs typeface="Arial" panose="020B0604020202020204" pitchFamily="34" charset="0"/>
              </a:rPr>
              <a:t>Show their understanding of the respiratory care market and supplier landscape</a:t>
            </a:r>
            <a:endParaRPr lang="en-US" dirty="0">
              <a:latin typeface="+mn-lt"/>
              <a:cs typeface="Arial" panose="020B0604020202020204" pitchFamily="34" charset="0"/>
            </a:endParaRPr>
          </a:p>
        </p:txBody>
      </p:sp>
    </p:spTree>
    <p:extLst>
      <p:ext uri="{BB962C8B-B14F-4D97-AF65-F5344CB8AC3E}">
        <p14:creationId xmlns:p14="http://schemas.microsoft.com/office/powerpoint/2010/main" val="575191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888467" y="995974"/>
            <a:ext cx="7376159" cy="702378"/>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sym typeface="Arial"/>
              </a:rPr>
              <a:t>Low </a:t>
            </a:r>
            <a:r>
              <a:rPr lang="en-US" sz="3600" b="1" spc="-50" dirty="0">
                <a:solidFill>
                  <a:schemeClr val="accent2">
                    <a:lumMod val="75000"/>
                  </a:schemeClr>
                </a:solidFill>
                <a:latin typeface="+mn-lt"/>
                <a:ea typeface="+mj-ea"/>
                <a:cs typeface="+mj-cs"/>
              </a:rPr>
              <a:t>Flow Devices</a:t>
            </a:r>
            <a:endParaRPr lang="en-US" sz="3600" b="1" spc="-50" dirty="0">
              <a:solidFill>
                <a:schemeClr val="accent2">
                  <a:lumMod val="75000"/>
                </a:schemeClr>
              </a:solidFill>
              <a:latin typeface="+mn-lt"/>
              <a:ea typeface="+mj-ea"/>
              <a:cs typeface="+mj-cs"/>
              <a:sym typeface="Arial"/>
            </a:endParaRPr>
          </a:p>
        </p:txBody>
      </p:sp>
      <p:sp>
        <p:nvSpPr>
          <p:cNvPr id="8" name="TextBox 7">
            <a:extLst>
              <a:ext uri="{FF2B5EF4-FFF2-40B4-BE49-F238E27FC236}">
                <a16:creationId xmlns:a16="http://schemas.microsoft.com/office/drawing/2014/main" id="{1D4E7573-5696-477D-B200-10EB20C0B5D2}"/>
              </a:ext>
            </a:extLst>
          </p:cNvPr>
          <p:cNvSpPr txBox="1"/>
          <p:nvPr/>
        </p:nvSpPr>
        <p:spPr>
          <a:xfrm>
            <a:off x="888468" y="1752599"/>
            <a:ext cx="7866282" cy="4570482"/>
          </a:xfrm>
          <a:prstGeom prst="rect">
            <a:avLst/>
          </a:prstGeom>
          <a:noFill/>
        </p:spPr>
        <p:txBody>
          <a:bodyPr wrap="square">
            <a:spAutoFit/>
          </a:bodyPr>
          <a:lstStyle/>
          <a:p>
            <a:pPr marL="480060" lvl="1" indent="-205740" defTabSz="685800" eaLnBrk="1" fontAlgn="auto" hangingPunct="1">
              <a:spcBef>
                <a:spcPts val="600"/>
              </a:spcBef>
              <a:spcAft>
                <a:spcPts val="0"/>
              </a:spcAft>
              <a:buClr>
                <a:schemeClr val="accent1"/>
              </a:buClr>
              <a:buSzPct val="70000"/>
              <a:buFont typeface="Courier New" panose="02070309020205020404" pitchFamily="49" charset="0"/>
              <a:buChar char="o"/>
              <a:defRPr/>
            </a:pPr>
            <a:r>
              <a:rPr lang="en-US" sz="1600" b="1" u="sng" dirty="0">
                <a:solidFill>
                  <a:schemeClr val="accent2"/>
                </a:solidFill>
                <a:latin typeface="+mn-lt"/>
                <a:ea typeface="+mn-ea"/>
              </a:rPr>
              <a:t>Low flow (Variable performance devices )</a:t>
            </a:r>
          </a:p>
          <a:p>
            <a:pPr marL="685800" lvl="2" indent="-171450" defTabSz="685800" eaLnBrk="1" fontAlgn="auto" hangingPunct="1">
              <a:spcBef>
                <a:spcPts val="600"/>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Nasal cannula (prongs or spectacles)</a:t>
            </a:r>
          </a:p>
          <a:p>
            <a:pPr marL="685800" lvl="2" indent="-171450" defTabSz="685800" eaLnBrk="1" fontAlgn="auto" hangingPunct="1">
              <a:spcBef>
                <a:spcPts val="600"/>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Nasal catheters</a:t>
            </a:r>
          </a:p>
          <a:p>
            <a:pPr marL="685800" lvl="2" indent="-171450" defTabSz="685800" eaLnBrk="1" fontAlgn="auto" hangingPunct="1">
              <a:spcBef>
                <a:spcPts val="600"/>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Transtracheal catheter</a:t>
            </a:r>
          </a:p>
          <a:p>
            <a:pPr marL="685800" lvl="2" indent="-171450">
              <a:spcBef>
                <a:spcPts val="600"/>
              </a:spcBef>
              <a:buClr>
                <a:schemeClr val="accent2"/>
              </a:buClr>
              <a:buSzPct val="75000"/>
              <a:buFont typeface="Wingdings" panose="05000000000000000000"/>
              <a:buChar char=""/>
              <a:defRPr/>
            </a:pPr>
            <a:r>
              <a:rPr lang="en-US" sz="1600" kern="1200" dirty="0">
                <a:solidFill>
                  <a:schemeClr val="accent2"/>
                </a:solidFill>
                <a:latin typeface="+mn-lt"/>
                <a:ea typeface="+mn-ea"/>
              </a:rPr>
              <a:t>Face mask</a:t>
            </a:r>
          </a:p>
          <a:p>
            <a:pPr marL="480060" lvl="1" indent="-205740" defTabSz="685800" eaLnBrk="1" fontAlgn="auto" hangingPunct="1">
              <a:spcBef>
                <a:spcPts val="600"/>
              </a:spcBef>
              <a:spcAft>
                <a:spcPts val="0"/>
              </a:spcAft>
              <a:buClr>
                <a:schemeClr val="accent1"/>
              </a:buClr>
              <a:buSzPct val="70000"/>
              <a:buFont typeface="Courier New" panose="02070309020205020404" pitchFamily="49" charset="0"/>
              <a:buChar char="o"/>
              <a:defRPr/>
            </a:pPr>
            <a:r>
              <a:rPr lang="en-US" sz="1600" b="1" u="sng" dirty="0">
                <a:solidFill>
                  <a:schemeClr val="accent2"/>
                </a:solidFill>
                <a:latin typeface="+mn-lt"/>
                <a:ea typeface="+mn-ea"/>
              </a:rPr>
              <a:t>Reservoir system (Variable performance device)</a:t>
            </a:r>
            <a:r>
              <a:rPr lang="en-US" sz="1600" dirty="0">
                <a:solidFill>
                  <a:schemeClr val="accent2"/>
                </a:solidFill>
                <a:latin typeface="+mn-lt"/>
                <a:ea typeface="+mn-ea"/>
              </a:rPr>
              <a:t> </a:t>
            </a:r>
          </a:p>
          <a:p>
            <a:pPr marL="685800" lvl="2" indent="-171450" defTabSz="685800" eaLnBrk="1" fontAlgn="auto" hangingPunct="1">
              <a:spcBef>
                <a:spcPts val="600"/>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Reservoir cannula</a:t>
            </a:r>
          </a:p>
          <a:p>
            <a:pPr marL="685800" lvl="2" indent="-171450" defTabSz="685800" eaLnBrk="1" fontAlgn="auto" hangingPunct="1">
              <a:spcBef>
                <a:spcPts val="600"/>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Simple face mask</a:t>
            </a:r>
          </a:p>
          <a:p>
            <a:pPr marL="685800" lvl="2" indent="-171450" defTabSz="685800" eaLnBrk="1" fontAlgn="auto" hangingPunct="1">
              <a:spcBef>
                <a:spcPts val="600"/>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Partial rebreathing mask</a:t>
            </a:r>
          </a:p>
          <a:p>
            <a:pPr marL="685800" lvl="2" indent="-171450" defTabSz="685800" eaLnBrk="1" fontAlgn="auto" hangingPunct="1">
              <a:spcBef>
                <a:spcPts val="600"/>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Non rebreathing mask</a:t>
            </a:r>
          </a:p>
          <a:p>
            <a:pPr marL="685800" lvl="2" indent="-171450" defTabSz="685800" eaLnBrk="1" fontAlgn="auto" hangingPunct="1">
              <a:spcBef>
                <a:spcPts val="600"/>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Tracheostomy mask </a:t>
            </a:r>
          </a:p>
          <a:p>
            <a:pPr marL="480060" lvl="1" indent="-205740" defTabSz="685800" eaLnBrk="1" fontAlgn="auto" hangingPunct="1">
              <a:spcBef>
                <a:spcPts val="600"/>
              </a:spcBef>
              <a:spcAft>
                <a:spcPts val="0"/>
              </a:spcAft>
              <a:buClr>
                <a:schemeClr val="accent1"/>
              </a:buClr>
              <a:buSzPct val="70000"/>
              <a:buFont typeface="Courier New" panose="02070309020205020404" pitchFamily="49" charset="0"/>
              <a:buChar char="o"/>
              <a:defRPr/>
            </a:pPr>
            <a:r>
              <a:rPr lang="en-US" sz="1600" b="1" u="sng" dirty="0">
                <a:solidFill>
                  <a:schemeClr val="accent2"/>
                </a:solidFill>
                <a:latin typeface="+mn-lt"/>
                <a:ea typeface="+mn-ea"/>
              </a:rPr>
              <a:t>High flow (Fixed performance devices)</a:t>
            </a:r>
          </a:p>
          <a:p>
            <a:pPr marL="685800" lvl="2" indent="-171450" defTabSz="685800" eaLnBrk="1" fontAlgn="auto" hangingPunct="1">
              <a:spcBef>
                <a:spcPts val="600"/>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Venturi mask  (HAFOE)</a:t>
            </a:r>
          </a:p>
          <a:p>
            <a:pPr marL="685800" lvl="2" indent="-171450" defTabSz="685800" eaLnBrk="1" fontAlgn="auto" hangingPunct="1">
              <a:spcBef>
                <a:spcPts val="600"/>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Aerosol mask and T-piece with nebulizers </a:t>
            </a:r>
          </a:p>
        </p:txBody>
      </p:sp>
      <p:sp>
        <p:nvSpPr>
          <p:cNvPr id="4" name="TextBox 3">
            <a:extLst>
              <a:ext uri="{FF2B5EF4-FFF2-40B4-BE49-F238E27FC236}">
                <a16:creationId xmlns:a16="http://schemas.microsoft.com/office/drawing/2014/main" id="{3D53BD65-9430-4524-8689-06D6898C8FC7}"/>
              </a:ext>
            </a:extLst>
          </p:cNvPr>
          <p:cNvSpPr txBox="1"/>
          <p:nvPr/>
        </p:nvSpPr>
        <p:spPr>
          <a:xfrm>
            <a:off x="5181600" y="5359468"/>
            <a:ext cx="3054123" cy="933589"/>
          </a:xfrm>
          <a:prstGeom prst="rect">
            <a:avLst/>
          </a:prstGeom>
          <a:noFill/>
        </p:spPr>
        <p:txBody>
          <a:bodyPr wrap="square" rtlCol="0">
            <a:spAutoFit/>
          </a:bodyPr>
          <a:lstStyle/>
          <a:p>
            <a:pPr marL="685800" lvl="2" indent="-171450" defTabSz="685800" eaLnBrk="1" fontAlgn="auto" hangingPunct="1">
              <a:spcBef>
                <a:spcPts val="375"/>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Partial rebreathing mask</a:t>
            </a:r>
          </a:p>
          <a:p>
            <a:pPr marL="685800" lvl="2" indent="-171450" defTabSz="685800" eaLnBrk="1" fontAlgn="auto" hangingPunct="1">
              <a:spcBef>
                <a:spcPts val="375"/>
              </a:spcBef>
              <a:spcAft>
                <a:spcPts val="0"/>
              </a:spcAft>
              <a:buClr>
                <a:schemeClr val="accent2"/>
              </a:buClr>
              <a:buSzPct val="75000"/>
              <a:buFont typeface="Wingdings" panose="05000000000000000000"/>
              <a:buChar char=""/>
              <a:defRPr/>
            </a:pPr>
            <a:r>
              <a:rPr lang="en-US" sz="1600" kern="1200" dirty="0">
                <a:solidFill>
                  <a:schemeClr val="accent2"/>
                </a:solidFill>
                <a:latin typeface="+mn-lt"/>
                <a:ea typeface="+mn-ea"/>
              </a:rPr>
              <a:t>Non-rebreathing mask</a:t>
            </a:r>
          </a:p>
          <a:p>
            <a:pPr marL="685800" lvl="2" indent="-171450" defTabSz="685800" eaLnBrk="1" fontAlgn="auto" hangingPunct="1">
              <a:spcBef>
                <a:spcPts val="375"/>
              </a:spcBef>
              <a:spcAft>
                <a:spcPts val="0"/>
              </a:spcAft>
              <a:buClr>
                <a:schemeClr val="accent2"/>
              </a:buClr>
              <a:buSzPct val="75000"/>
              <a:buFont typeface="Wingdings" panose="05000000000000000000"/>
              <a:buChar char=""/>
              <a:defRPr/>
            </a:pPr>
            <a:r>
              <a:rPr lang="en-US" sz="1600" dirty="0">
                <a:solidFill>
                  <a:schemeClr val="accent2"/>
                </a:solidFill>
                <a:latin typeface="+mn-lt"/>
                <a:ea typeface="+mn-ea"/>
              </a:rPr>
              <a:t>Tracheostomy mask</a:t>
            </a:r>
          </a:p>
        </p:txBody>
      </p:sp>
    </p:spTree>
    <p:extLst>
      <p:ext uri="{BB962C8B-B14F-4D97-AF65-F5344CB8AC3E}">
        <p14:creationId xmlns:p14="http://schemas.microsoft.com/office/powerpoint/2010/main" val="409300942"/>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2" name="TextBox 1">
            <a:extLst>
              <a:ext uri="{FF2B5EF4-FFF2-40B4-BE49-F238E27FC236}">
                <a16:creationId xmlns:a16="http://schemas.microsoft.com/office/drawing/2014/main" id="{B18C3AA8-B19D-4D39-A9B1-C2D1E7A4403B}"/>
              </a:ext>
            </a:extLst>
          </p:cNvPr>
          <p:cNvSpPr txBox="1"/>
          <p:nvPr/>
        </p:nvSpPr>
        <p:spPr>
          <a:xfrm>
            <a:off x="885497" y="1752600"/>
            <a:ext cx="7467600" cy="3373359"/>
          </a:xfrm>
          <a:prstGeom prst="rect">
            <a:avLst/>
          </a:prstGeom>
          <a:noFill/>
        </p:spPr>
        <p:txBody>
          <a:bodyPr wrap="square" rtlCol="0">
            <a:spAutoFit/>
          </a:bodyPr>
          <a:lstStyle/>
          <a:p>
            <a:pPr marL="214313" indent="-214313" algn="just">
              <a:lnSpc>
                <a:spcPct val="150000"/>
              </a:lnSpc>
              <a:buFont typeface="Arial" panose="020B0604020202020204" pitchFamily="34" charset="0"/>
              <a:buChar char="•"/>
            </a:pPr>
            <a:r>
              <a:rPr lang="en-GB" dirty="0">
                <a:solidFill>
                  <a:schemeClr val="accent2"/>
                </a:solidFill>
                <a:latin typeface="+mn-lt"/>
              </a:rPr>
              <a:t>Consists of </a:t>
            </a:r>
            <a:r>
              <a:rPr lang="en-GB" b="1" dirty="0">
                <a:solidFill>
                  <a:schemeClr val="accent2"/>
                </a:solidFill>
                <a:latin typeface="+mn-lt"/>
              </a:rPr>
              <a:t>two soft prongs </a:t>
            </a:r>
            <a:r>
              <a:rPr lang="en-GB" dirty="0">
                <a:solidFill>
                  <a:schemeClr val="accent2"/>
                </a:solidFill>
                <a:latin typeface="+mn-lt"/>
              </a:rPr>
              <a:t>attached to oxygen supply</a:t>
            </a:r>
          </a:p>
          <a:p>
            <a:pPr marL="214313" indent="-214313" algn="just">
              <a:lnSpc>
                <a:spcPct val="150000"/>
              </a:lnSpc>
              <a:buFont typeface="Arial" panose="020B0604020202020204" pitchFamily="34" charset="0"/>
              <a:buChar char="•"/>
            </a:pPr>
            <a:r>
              <a:rPr lang="en-GB" dirty="0">
                <a:solidFill>
                  <a:schemeClr val="accent2"/>
                </a:solidFill>
                <a:latin typeface="+mn-lt"/>
              </a:rPr>
              <a:t>A flow rate of </a:t>
            </a:r>
            <a:r>
              <a:rPr lang="en-GB" b="1" dirty="0">
                <a:solidFill>
                  <a:schemeClr val="accent2"/>
                </a:solidFill>
                <a:latin typeface="+mn-lt"/>
              </a:rPr>
              <a:t>2-4L/min </a:t>
            </a:r>
            <a:r>
              <a:rPr lang="en-GB" dirty="0">
                <a:solidFill>
                  <a:schemeClr val="accent2"/>
                </a:solidFill>
                <a:latin typeface="+mn-lt"/>
              </a:rPr>
              <a:t>delivers an </a:t>
            </a:r>
            <a:r>
              <a:rPr lang="en-GB" b="1" dirty="0">
                <a:solidFill>
                  <a:schemeClr val="accent2"/>
                </a:solidFill>
                <a:latin typeface="+mn-lt"/>
              </a:rPr>
              <a:t>FiO2 of 0.28-0.36 </a:t>
            </a:r>
            <a:r>
              <a:rPr lang="en-GB" dirty="0">
                <a:solidFill>
                  <a:schemeClr val="accent2"/>
                </a:solidFill>
                <a:latin typeface="+mn-lt"/>
              </a:rPr>
              <a:t>respectively</a:t>
            </a:r>
          </a:p>
          <a:p>
            <a:pPr marL="214313" indent="-214313" algn="just">
              <a:lnSpc>
                <a:spcPct val="150000"/>
              </a:lnSpc>
              <a:buFont typeface="Arial" panose="020B0604020202020204" pitchFamily="34" charset="0"/>
              <a:buChar char="•"/>
            </a:pPr>
            <a:r>
              <a:rPr lang="en-GB" dirty="0">
                <a:solidFill>
                  <a:schemeClr val="accent2"/>
                </a:solidFill>
                <a:latin typeface="+mn-lt"/>
              </a:rPr>
              <a:t>FiO2 = </a:t>
            </a:r>
            <a:r>
              <a:rPr lang="en-GB" b="1" dirty="0">
                <a:solidFill>
                  <a:schemeClr val="accent2"/>
                </a:solidFill>
                <a:latin typeface="+mn-lt"/>
              </a:rPr>
              <a:t>20% + (4 x oxygen litre flow)</a:t>
            </a:r>
          </a:p>
          <a:p>
            <a:pPr marL="214313" indent="-214313" algn="just">
              <a:lnSpc>
                <a:spcPct val="150000"/>
              </a:lnSpc>
              <a:buFont typeface="Arial" panose="020B0604020202020204" pitchFamily="34" charset="0"/>
              <a:buChar char="•"/>
            </a:pPr>
            <a:r>
              <a:rPr lang="en-GB" dirty="0">
                <a:solidFill>
                  <a:schemeClr val="accent2"/>
                </a:solidFill>
                <a:latin typeface="+mn-lt"/>
              </a:rPr>
              <a:t>No increase in FiO2 if flow is more than 6L/min</a:t>
            </a:r>
          </a:p>
          <a:p>
            <a:pPr marL="214313" indent="-214313" algn="just">
              <a:lnSpc>
                <a:spcPct val="150000"/>
              </a:lnSpc>
              <a:buFont typeface="Arial" panose="020B0604020202020204" pitchFamily="34" charset="0"/>
              <a:buChar char="•"/>
            </a:pPr>
            <a:r>
              <a:rPr lang="en-GB" b="1" dirty="0">
                <a:solidFill>
                  <a:schemeClr val="accent2"/>
                </a:solidFill>
                <a:latin typeface="+mn-lt"/>
              </a:rPr>
              <a:t>Nasopharynx</a:t>
            </a:r>
            <a:r>
              <a:rPr lang="en-GB" dirty="0">
                <a:solidFill>
                  <a:schemeClr val="accent2"/>
                </a:solidFill>
                <a:latin typeface="+mn-lt"/>
              </a:rPr>
              <a:t> acts as a reservoir</a:t>
            </a:r>
          </a:p>
          <a:p>
            <a:pPr marL="214313" indent="-214313" algn="just">
              <a:lnSpc>
                <a:spcPct val="150000"/>
              </a:lnSpc>
              <a:buFont typeface="Arial" panose="020B0604020202020204" pitchFamily="34" charset="0"/>
              <a:buChar char="•"/>
            </a:pPr>
            <a:r>
              <a:rPr lang="en-GB" dirty="0">
                <a:solidFill>
                  <a:schemeClr val="accent2"/>
                </a:solidFill>
                <a:latin typeface="+mn-lt"/>
              </a:rPr>
              <a:t>If patient breaths through mouth, air flow produces a </a:t>
            </a:r>
            <a:r>
              <a:rPr lang="en-GB" b="1" dirty="0">
                <a:solidFill>
                  <a:schemeClr val="accent2"/>
                </a:solidFill>
                <a:latin typeface="+mn-lt"/>
              </a:rPr>
              <a:t>Venturi effect in the posterior pharynx</a:t>
            </a:r>
            <a:r>
              <a:rPr lang="en-GB" dirty="0">
                <a:solidFill>
                  <a:schemeClr val="accent2"/>
                </a:solidFill>
                <a:latin typeface="+mn-lt"/>
              </a:rPr>
              <a:t> entraining oxygen from the nose</a:t>
            </a:r>
          </a:p>
          <a:p>
            <a:pPr marL="214313" indent="-214313" algn="just">
              <a:lnSpc>
                <a:spcPct val="150000"/>
              </a:lnSpc>
              <a:buFont typeface="Arial" panose="020B0604020202020204" pitchFamily="34" charset="0"/>
              <a:buChar char="•"/>
            </a:pPr>
            <a:r>
              <a:rPr lang="en-GB" dirty="0">
                <a:solidFill>
                  <a:schemeClr val="accent2"/>
                </a:solidFill>
                <a:latin typeface="+mn-lt"/>
              </a:rPr>
              <a:t>Available in </a:t>
            </a:r>
            <a:r>
              <a:rPr lang="en-GB" b="1" dirty="0">
                <a:solidFill>
                  <a:schemeClr val="accent2"/>
                </a:solidFill>
                <a:latin typeface="+mn-lt"/>
              </a:rPr>
              <a:t>different sizes and different prong shapes</a:t>
            </a:r>
            <a:endParaRPr lang="en-IN" b="1" dirty="0">
              <a:solidFill>
                <a:schemeClr val="accent2"/>
              </a:solidFill>
              <a:latin typeface="+mn-lt"/>
            </a:endParaRPr>
          </a:p>
        </p:txBody>
      </p:sp>
      <p:pic>
        <p:nvPicPr>
          <p:cNvPr id="9" name="Content Placeholder 3">
            <a:extLst>
              <a:ext uri="{FF2B5EF4-FFF2-40B4-BE49-F238E27FC236}">
                <a16:creationId xmlns:a16="http://schemas.microsoft.com/office/drawing/2014/main" id="{E87BC5A3-5E05-4779-A7E3-42BCD79D56A3}"/>
              </a:ext>
            </a:extLst>
          </p:cNvPr>
          <p:cNvPicPr>
            <a:picLocks noChangeAspect="1"/>
          </p:cNvPicPr>
          <p:nvPr/>
        </p:nvPicPr>
        <p:blipFill>
          <a:blip r:embed="rId3">
            <a:clrChange>
              <a:clrFrom>
                <a:srgbClr val="FFFFFF"/>
              </a:clrFrom>
              <a:clrTo>
                <a:srgbClr val="FFFFFF">
                  <a:alpha val="0"/>
                </a:srgbClr>
              </a:clrTo>
            </a:clrChange>
          </a:blip>
          <a:srcRect t="19113"/>
          <a:stretch>
            <a:fillRect/>
          </a:stretch>
        </p:blipFill>
        <p:spPr>
          <a:xfrm>
            <a:off x="5564713" y="4780069"/>
            <a:ext cx="3116179" cy="1557669"/>
          </a:xfrm>
          <a:prstGeom prst="rect">
            <a:avLst/>
          </a:prstGeom>
        </p:spPr>
      </p:pic>
      <p:pic>
        <p:nvPicPr>
          <p:cNvPr id="10" name="Picture 9">
            <a:extLst>
              <a:ext uri="{FF2B5EF4-FFF2-40B4-BE49-F238E27FC236}">
                <a16:creationId xmlns:a16="http://schemas.microsoft.com/office/drawing/2014/main" id="{AA09471C-D33E-44F4-BECF-F50099DFA1FE}"/>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85497" y="4714039"/>
            <a:ext cx="4329095" cy="1610561"/>
          </a:xfrm>
          <a:prstGeom prst="rect">
            <a:avLst/>
          </a:prstGeom>
        </p:spPr>
      </p:pic>
      <p:sp>
        <p:nvSpPr>
          <p:cNvPr id="8" name="Google Shape;602;ge9eb37db0a_0_51">
            <a:extLst>
              <a:ext uri="{FF2B5EF4-FFF2-40B4-BE49-F238E27FC236}">
                <a16:creationId xmlns:a16="http://schemas.microsoft.com/office/drawing/2014/main" id="{8B818A66-AA4E-48C9-B472-8CA7A3A84E0D}"/>
              </a:ext>
            </a:extLst>
          </p:cNvPr>
          <p:cNvSpPr txBox="1"/>
          <p:nvPr/>
        </p:nvSpPr>
        <p:spPr>
          <a:xfrm>
            <a:off x="832945" y="838200"/>
            <a:ext cx="7467600" cy="914400"/>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Nasal Cannula</a:t>
            </a:r>
            <a:endParaRPr lang="en-US" sz="3600" b="1" spc="-50" dirty="0">
              <a:solidFill>
                <a:schemeClr val="accent2">
                  <a:lumMod val="75000"/>
                </a:schemeClr>
              </a:solidFill>
              <a:latin typeface="+mn-lt"/>
              <a:ea typeface="+mj-ea"/>
              <a:cs typeface="+mj-cs"/>
              <a:sym typeface="Arial"/>
            </a:endParaRPr>
          </a:p>
        </p:txBody>
      </p:sp>
    </p:spTree>
    <p:extLst>
      <p:ext uri="{BB962C8B-B14F-4D97-AF65-F5344CB8AC3E}">
        <p14:creationId xmlns:p14="http://schemas.microsoft.com/office/powerpoint/2010/main" val="3539274531"/>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838200" y="822406"/>
            <a:ext cx="7467600" cy="894225"/>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Nasal Cannula</a:t>
            </a:r>
            <a:endParaRPr lang="en-US" sz="3600" b="1" spc="-50" dirty="0">
              <a:solidFill>
                <a:schemeClr val="accent2">
                  <a:lumMod val="75000"/>
                </a:schemeClr>
              </a:solidFill>
              <a:latin typeface="+mn-lt"/>
              <a:ea typeface="+mj-ea"/>
              <a:cs typeface="+mj-cs"/>
              <a:sym typeface="Arial"/>
            </a:endParaRPr>
          </a:p>
        </p:txBody>
      </p:sp>
      <p:grpSp>
        <p:nvGrpSpPr>
          <p:cNvPr id="2" name="Group 1">
            <a:extLst>
              <a:ext uri="{FF2B5EF4-FFF2-40B4-BE49-F238E27FC236}">
                <a16:creationId xmlns:a16="http://schemas.microsoft.com/office/drawing/2014/main" id="{042921D6-0F42-49FF-B73D-35871769D9BF}"/>
              </a:ext>
            </a:extLst>
          </p:cNvPr>
          <p:cNvGrpSpPr/>
          <p:nvPr/>
        </p:nvGrpSpPr>
        <p:grpSpPr>
          <a:xfrm>
            <a:off x="838200" y="1981200"/>
            <a:ext cx="7467600" cy="3883206"/>
            <a:chOff x="971132" y="2057400"/>
            <a:chExt cx="7422129" cy="3669397"/>
          </a:xfrm>
        </p:grpSpPr>
        <p:sp>
          <p:nvSpPr>
            <p:cNvPr id="3" name="TextBox 2">
              <a:extLst>
                <a:ext uri="{FF2B5EF4-FFF2-40B4-BE49-F238E27FC236}">
                  <a16:creationId xmlns:a16="http://schemas.microsoft.com/office/drawing/2014/main" id="{F5DCFCEF-E68A-4D53-9FEB-A785706790A8}"/>
                </a:ext>
              </a:extLst>
            </p:cNvPr>
            <p:cNvSpPr txBox="1"/>
            <p:nvPr/>
          </p:nvSpPr>
          <p:spPr>
            <a:xfrm>
              <a:off x="971132" y="2057400"/>
              <a:ext cx="3612130" cy="3669397"/>
            </a:xfrm>
            <a:prstGeom prst="rect">
              <a:avLst/>
            </a:prstGeom>
            <a:noFill/>
          </p:spPr>
          <p:txBody>
            <a:bodyPr wrap="square" rtlCol="0">
              <a:spAutoFit/>
            </a:bodyPr>
            <a:lstStyle/>
            <a:p>
              <a:pPr marL="214313" indent="-214313" algn="just">
                <a:lnSpc>
                  <a:spcPct val="150000"/>
                </a:lnSpc>
                <a:buClr>
                  <a:schemeClr val="accent2"/>
                </a:buClr>
                <a:buFont typeface="Arial" panose="020B0604020202020204" pitchFamily="34" charset="0"/>
                <a:buChar char="•"/>
              </a:pPr>
              <a:r>
                <a:rPr lang="en-GB" sz="2000" b="1" u="sng" dirty="0">
                  <a:solidFill>
                    <a:schemeClr val="accent2"/>
                  </a:solidFill>
                  <a:latin typeface="+mn-lt"/>
                </a:rPr>
                <a:t>Advantages:</a:t>
              </a:r>
            </a:p>
            <a:p>
              <a:pPr marL="214313" indent="-214313" algn="just">
                <a:spcBef>
                  <a:spcPts val="600"/>
                </a:spcBef>
                <a:spcAft>
                  <a:spcPts val="600"/>
                </a:spcAft>
                <a:buClr>
                  <a:schemeClr val="accent2"/>
                </a:buClr>
                <a:buFont typeface="Courier New" panose="02070309020205020404" pitchFamily="49" charset="0"/>
                <a:buChar char="o"/>
              </a:pPr>
              <a:r>
                <a:rPr lang="en-GB" sz="2000" dirty="0">
                  <a:solidFill>
                    <a:schemeClr val="accent2"/>
                  </a:solidFill>
                  <a:latin typeface="+mn-lt"/>
                </a:rPr>
                <a:t>Ideal for patients on long-term oxygen therapy</a:t>
              </a:r>
            </a:p>
            <a:p>
              <a:pPr marL="214313" indent="-214313" algn="just">
                <a:spcBef>
                  <a:spcPts val="600"/>
                </a:spcBef>
                <a:spcAft>
                  <a:spcPts val="600"/>
                </a:spcAft>
                <a:buClr>
                  <a:schemeClr val="accent2"/>
                </a:buClr>
                <a:buFont typeface="Courier New" panose="02070309020205020404" pitchFamily="49" charset="0"/>
                <a:buChar char="o"/>
              </a:pPr>
              <a:r>
                <a:rPr lang="en-GB" sz="2000" dirty="0">
                  <a:solidFill>
                    <a:schemeClr val="accent2"/>
                  </a:solidFill>
                  <a:latin typeface="+mn-lt"/>
                </a:rPr>
                <a:t>Light weight and comfortable</a:t>
              </a:r>
            </a:p>
            <a:p>
              <a:pPr marL="214313" indent="-214313" algn="just">
                <a:spcBef>
                  <a:spcPts val="600"/>
                </a:spcBef>
                <a:spcAft>
                  <a:spcPts val="600"/>
                </a:spcAft>
                <a:buClr>
                  <a:schemeClr val="accent2"/>
                </a:buClr>
                <a:buFont typeface="Courier New" panose="02070309020205020404" pitchFamily="49" charset="0"/>
                <a:buChar char="o"/>
              </a:pPr>
              <a:r>
                <a:rPr lang="en-GB" sz="2000" dirty="0">
                  <a:solidFill>
                    <a:schemeClr val="accent2"/>
                  </a:solidFill>
                  <a:latin typeface="+mn-lt"/>
                </a:rPr>
                <a:t>The patient is able to speak, eat and drink</a:t>
              </a:r>
            </a:p>
            <a:p>
              <a:pPr marL="214313" indent="-214313" algn="just">
                <a:spcBef>
                  <a:spcPts val="600"/>
                </a:spcBef>
                <a:spcAft>
                  <a:spcPts val="600"/>
                </a:spcAft>
                <a:buClr>
                  <a:schemeClr val="accent2"/>
                </a:buClr>
                <a:buFont typeface="Courier New" panose="02070309020205020404" pitchFamily="49" charset="0"/>
                <a:buChar char="o"/>
              </a:pPr>
              <a:r>
                <a:rPr lang="en-GB" sz="2000" dirty="0">
                  <a:solidFill>
                    <a:schemeClr val="accent2"/>
                  </a:solidFill>
                  <a:latin typeface="+mn-lt"/>
                </a:rPr>
                <a:t>Humidification not required</a:t>
              </a:r>
            </a:p>
            <a:p>
              <a:pPr marL="214313" indent="-214313" algn="just">
                <a:spcBef>
                  <a:spcPts val="600"/>
                </a:spcBef>
                <a:spcAft>
                  <a:spcPts val="600"/>
                </a:spcAft>
                <a:buClr>
                  <a:schemeClr val="accent2"/>
                </a:buClr>
                <a:buFont typeface="Courier New" panose="02070309020205020404" pitchFamily="49" charset="0"/>
                <a:buChar char="o"/>
              </a:pPr>
              <a:r>
                <a:rPr lang="en-GB" sz="2000" dirty="0">
                  <a:solidFill>
                    <a:schemeClr val="accent2"/>
                  </a:solidFill>
                  <a:latin typeface="+mn-lt"/>
                </a:rPr>
                <a:t>Low cost (Rs. 70/-)</a:t>
              </a:r>
            </a:p>
            <a:p>
              <a:pPr marL="214313" indent="-214313" algn="just">
                <a:lnSpc>
                  <a:spcPct val="150000"/>
                </a:lnSpc>
                <a:buFont typeface="Courier New" panose="02070309020205020404" pitchFamily="49" charset="0"/>
                <a:buChar char="o"/>
              </a:pPr>
              <a:endParaRPr lang="en-GB" sz="2000" dirty="0">
                <a:solidFill>
                  <a:schemeClr val="accent2"/>
                </a:solidFill>
                <a:latin typeface="+mn-lt"/>
              </a:endParaRPr>
            </a:p>
          </p:txBody>
        </p:sp>
        <p:sp>
          <p:nvSpPr>
            <p:cNvPr id="5" name="TextBox 4">
              <a:extLst>
                <a:ext uri="{FF2B5EF4-FFF2-40B4-BE49-F238E27FC236}">
                  <a16:creationId xmlns:a16="http://schemas.microsoft.com/office/drawing/2014/main" id="{F58E7BFE-C244-4743-8AAE-F6B854C596CF}"/>
                </a:ext>
              </a:extLst>
            </p:cNvPr>
            <p:cNvSpPr txBox="1"/>
            <p:nvPr/>
          </p:nvSpPr>
          <p:spPr>
            <a:xfrm>
              <a:off x="4583261" y="2057400"/>
              <a:ext cx="3810000" cy="3431798"/>
            </a:xfrm>
            <a:prstGeom prst="rect">
              <a:avLst/>
            </a:prstGeom>
            <a:noFill/>
          </p:spPr>
          <p:txBody>
            <a:bodyPr wrap="square" rtlCol="0">
              <a:spAutoFit/>
            </a:bodyPr>
            <a:lstStyle/>
            <a:p>
              <a:pPr marL="214313" indent="-214313" algn="just">
                <a:lnSpc>
                  <a:spcPct val="150000"/>
                </a:lnSpc>
                <a:buClr>
                  <a:schemeClr val="accent2"/>
                </a:buClr>
                <a:buFont typeface="Arial" panose="020B0604020202020204" pitchFamily="34" charset="0"/>
                <a:buChar char="•"/>
              </a:pPr>
              <a:r>
                <a:rPr lang="en-GB" sz="2000" b="1" u="sng" dirty="0">
                  <a:solidFill>
                    <a:schemeClr val="accent2"/>
                  </a:solidFill>
                  <a:latin typeface="+mn-lt"/>
                </a:rPr>
                <a:t>Disadvantages</a:t>
              </a:r>
            </a:p>
            <a:p>
              <a:pPr marL="214313" indent="-214313" algn="just">
                <a:spcBef>
                  <a:spcPts val="600"/>
                </a:spcBef>
                <a:spcAft>
                  <a:spcPts val="600"/>
                </a:spcAft>
                <a:buClr>
                  <a:schemeClr val="accent2"/>
                </a:buClr>
                <a:buFont typeface="Courier New" panose="02070309020205020404" pitchFamily="49" charset="0"/>
                <a:buChar char="o"/>
              </a:pPr>
              <a:r>
                <a:rPr lang="en-GB" sz="2000" dirty="0">
                  <a:solidFill>
                    <a:schemeClr val="accent2"/>
                  </a:solidFill>
                  <a:latin typeface="+mn-lt"/>
                </a:rPr>
                <a:t>Can not provide high flow oxygen</a:t>
              </a:r>
            </a:p>
            <a:p>
              <a:pPr marL="214313" indent="-214313" algn="just">
                <a:spcBef>
                  <a:spcPts val="600"/>
                </a:spcBef>
                <a:spcAft>
                  <a:spcPts val="600"/>
                </a:spcAft>
                <a:buClr>
                  <a:schemeClr val="accent2"/>
                </a:buClr>
                <a:buFont typeface="Courier New" panose="02070309020205020404" pitchFamily="49" charset="0"/>
                <a:buChar char="o"/>
              </a:pPr>
              <a:r>
                <a:rPr lang="en-GB" sz="2000" dirty="0">
                  <a:solidFill>
                    <a:schemeClr val="accent2"/>
                  </a:solidFill>
                  <a:latin typeface="+mn-lt"/>
                </a:rPr>
                <a:t>Irritation and cannot be used in nasal obstruction</a:t>
              </a:r>
            </a:p>
            <a:p>
              <a:pPr marL="214313" indent="-214313" algn="just">
                <a:spcBef>
                  <a:spcPts val="600"/>
                </a:spcBef>
                <a:spcAft>
                  <a:spcPts val="600"/>
                </a:spcAft>
                <a:buClr>
                  <a:schemeClr val="accent2"/>
                </a:buClr>
                <a:buFont typeface="Courier New" panose="02070309020205020404" pitchFamily="49" charset="0"/>
                <a:buChar char="o"/>
              </a:pPr>
              <a:r>
                <a:rPr lang="en-GB" sz="2000" dirty="0">
                  <a:solidFill>
                    <a:schemeClr val="accent2"/>
                  </a:solidFill>
                  <a:latin typeface="+mn-lt"/>
                </a:rPr>
                <a:t>FiO2 varies with respiratory efforts</a:t>
              </a:r>
            </a:p>
            <a:p>
              <a:pPr marL="214313" indent="-214313" algn="just">
                <a:spcBef>
                  <a:spcPts val="600"/>
                </a:spcBef>
                <a:spcAft>
                  <a:spcPts val="600"/>
                </a:spcAft>
                <a:buClr>
                  <a:schemeClr val="accent2"/>
                </a:buClr>
                <a:buFont typeface="Courier New" panose="02070309020205020404" pitchFamily="49" charset="0"/>
                <a:buChar char="o"/>
              </a:pPr>
              <a:r>
                <a:rPr lang="en-GB" sz="2000" dirty="0">
                  <a:solidFill>
                    <a:schemeClr val="accent2"/>
                  </a:solidFill>
                  <a:latin typeface="+mn-lt"/>
                </a:rPr>
                <a:t>High flow rates are uncomfortable</a:t>
              </a:r>
              <a:endParaRPr lang="en-IN" sz="2000" dirty="0">
                <a:solidFill>
                  <a:schemeClr val="accent2"/>
                </a:solidFill>
                <a:latin typeface="+mn-lt"/>
              </a:endParaRPr>
            </a:p>
            <a:p>
              <a:pPr algn="just"/>
              <a:endParaRPr lang="en-IN" sz="2000" dirty="0">
                <a:latin typeface="+mn-lt"/>
              </a:endParaRPr>
            </a:p>
          </p:txBody>
        </p:sp>
      </p:grpSp>
    </p:spTree>
    <p:extLst>
      <p:ext uri="{BB962C8B-B14F-4D97-AF65-F5344CB8AC3E}">
        <p14:creationId xmlns:p14="http://schemas.microsoft.com/office/powerpoint/2010/main" val="156580973"/>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974100" y="708054"/>
            <a:ext cx="7543800" cy="1045278"/>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Nasal Catheter</a:t>
            </a:r>
            <a:endParaRPr lang="en-US" sz="3600" b="1" spc="-50" dirty="0">
              <a:solidFill>
                <a:schemeClr val="accent2">
                  <a:lumMod val="75000"/>
                </a:schemeClr>
              </a:solidFill>
              <a:latin typeface="+mn-lt"/>
              <a:ea typeface="+mj-ea"/>
              <a:cs typeface="+mj-cs"/>
              <a:sym typeface="Arial"/>
            </a:endParaRPr>
          </a:p>
        </p:txBody>
      </p:sp>
      <p:sp>
        <p:nvSpPr>
          <p:cNvPr id="2" name="TextBox 1">
            <a:extLst>
              <a:ext uri="{FF2B5EF4-FFF2-40B4-BE49-F238E27FC236}">
                <a16:creationId xmlns:a16="http://schemas.microsoft.com/office/drawing/2014/main" id="{06B064B8-4982-4313-934B-14789CECCF7D}"/>
              </a:ext>
            </a:extLst>
          </p:cNvPr>
          <p:cNvSpPr txBox="1"/>
          <p:nvPr/>
        </p:nvSpPr>
        <p:spPr>
          <a:xfrm>
            <a:off x="974100" y="1753431"/>
            <a:ext cx="7255500" cy="3160865"/>
          </a:xfrm>
          <a:prstGeom prst="rect">
            <a:avLst/>
          </a:prstGeom>
          <a:noFill/>
        </p:spPr>
        <p:txBody>
          <a:bodyPr wrap="square" rtlCol="0">
            <a:spAutoFit/>
          </a:bodyPr>
          <a:lstStyle/>
          <a:p>
            <a:pPr marL="214313" indent="-214313">
              <a:spcBef>
                <a:spcPts val="600"/>
              </a:spcBef>
              <a:spcAft>
                <a:spcPts val="600"/>
              </a:spcAft>
              <a:buFont typeface="Arial" panose="020B0604020202020204" pitchFamily="34" charset="0"/>
              <a:buChar char="•"/>
            </a:pPr>
            <a:r>
              <a:rPr lang="en-GB" sz="2000" b="1" dirty="0">
                <a:solidFill>
                  <a:schemeClr val="accent2"/>
                </a:solidFill>
                <a:latin typeface="+mn-lt"/>
              </a:rPr>
              <a:t>Single lumen catheter</a:t>
            </a:r>
            <a:r>
              <a:rPr lang="en-GB" sz="2000" dirty="0">
                <a:solidFill>
                  <a:schemeClr val="accent2"/>
                </a:solidFill>
                <a:latin typeface="+mn-lt"/>
              </a:rPr>
              <a:t>, which is lodged into the anterior naris by a foam collar, inserted to just above the uvula</a:t>
            </a:r>
          </a:p>
          <a:p>
            <a:pPr marL="214313" indent="-214313">
              <a:lnSpc>
                <a:spcPct val="200000"/>
              </a:lnSpc>
              <a:buFont typeface="Arial" panose="020B0604020202020204" pitchFamily="34" charset="0"/>
              <a:buChar char="•"/>
            </a:pPr>
            <a:r>
              <a:rPr lang="en-IN" sz="2000" dirty="0">
                <a:solidFill>
                  <a:schemeClr val="accent2"/>
                </a:solidFill>
                <a:latin typeface="+mn-lt"/>
              </a:rPr>
              <a:t>Oxygen flows of </a:t>
            </a:r>
            <a:r>
              <a:rPr lang="en-IN" sz="2000" b="1" dirty="0">
                <a:solidFill>
                  <a:schemeClr val="accent2"/>
                </a:solidFill>
                <a:latin typeface="+mn-lt"/>
              </a:rPr>
              <a:t>2-3 L/min</a:t>
            </a:r>
            <a:r>
              <a:rPr lang="en-IN" sz="2000" dirty="0">
                <a:solidFill>
                  <a:schemeClr val="accent2"/>
                </a:solidFill>
                <a:latin typeface="+mn-lt"/>
              </a:rPr>
              <a:t> can be used. FiO2 = </a:t>
            </a:r>
            <a:r>
              <a:rPr lang="en-IN" sz="2000" b="1" dirty="0">
                <a:solidFill>
                  <a:schemeClr val="accent2"/>
                </a:solidFill>
                <a:latin typeface="+mn-lt"/>
              </a:rPr>
              <a:t>35-40%</a:t>
            </a:r>
          </a:p>
          <a:p>
            <a:pPr marL="214313" indent="-214313">
              <a:lnSpc>
                <a:spcPct val="200000"/>
              </a:lnSpc>
              <a:buFont typeface="Arial" panose="020B0604020202020204" pitchFamily="34" charset="0"/>
              <a:buChar char="•"/>
            </a:pPr>
            <a:r>
              <a:rPr lang="en-IN" sz="2000" dirty="0">
                <a:solidFill>
                  <a:schemeClr val="accent2"/>
                </a:solidFill>
                <a:latin typeface="+mn-lt"/>
              </a:rPr>
              <a:t>Deep insertion can cause </a:t>
            </a:r>
            <a:r>
              <a:rPr lang="en-IN" sz="2000" b="1" dirty="0">
                <a:solidFill>
                  <a:schemeClr val="accent2"/>
                </a:solidFill>
                <a:latin typeface="+mn-lt"/>
              </a:rPr>
              <a:t>air swallowing and gastric distension</a:t>
            </a:r>
          </a:p>
          <a:p>
            <a:pPr marL="214313" indent="-214313">
              <a:lnSpc>
                <a:spcPct val="200000"/>
              </a:lnSpc>
              <a:buFont typeface="Arial" panose="020B0604020202020204" pitchFamily="34" charset="0"/>
              <a:buChar char="•"/>
            </a:pPr>
            <a:r>
              <a:rPr lang="en-IN" sz="2000" dirty="0">
                <a:solidFill>
                  <a:schemeClr val="accent2"/>
                </a:solidFill>
                <a:latin typeface="+mn-lt"/>
              </a:rPr>
              <a:t>Must be repositioned </a:t>
            </a:r>
            <a:r>
              <a:rPr lang="en-IN" sz="2000" b="1" dirty="0">
                <a:solidFill>
                  <a:schemeClr val="accent2"/>
                </a:solidFill>
                <a:latin typeface="+mn-lt"/>
              </a:rPr>
              <a:t>every 8 hours </a:t>
            </a:r>
            <a:r>
              <a:rPr lang="en-IN" sz="2000" dirty="0">
                <a:solidFill>
                  <a:schemeClr val="accent2"/>
                </a:solidFill>
                <a:latin typeface="+mn-lt"/>
              </a:rPr>
              <a:t>to prevent breakdown</a:t>
            </a:r>
          </a:p>
          <a:p>
            <a:pPr marL="214313" indent="-214313">
              <a:lnSpc>
                <a:spcPct val="200000"/>
              </a:lnSpc>
              <a:buFont typeface="Arial" panose="020B0604020202020204" pitchFamily="34" charset="0"/>
              <a:buChar char="•"/>
            </a:pPr>
            <a:r>
              <a:rPr lang="en-IN" sz="2000" dirty="0">
                <a:solidFill>
                  <a:schemeClr val="accent2"/>
                </a:solidFill>
                <a:latin typeface="+mn-lt"/>
              </a:rPr>
              <a:t>No advantages over nasal cannula</a:t>
            </a:r>
          </a:p>
        </p:txBody>
      </p:sp>
      <p:pic>
        <p:nvPicPr>
          <p:cNvPr id="10" name="Content Placeholder 3">
            <a:extLst>
              <a:ext uri="{FF2B5EF4-FFF2-40B4-BE49-F238E27FC236}">
                <a16:creationId xmlns:a16="http://schemas.microsoft.com/office/drawing/2014/main" id="{90197847-6E0B-40CA-BBBF-E8DB223DB34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132253" y="5051706"/>
            <a:ext cx="3374401" cy="1349094"/>
          </a:xfrm>
          <a:prstGeom prst="rect">
            <a:avLst/>
          </a:prstGeom>
        </p:spPr>
      </p:pic>
      <p:pic>
        <p:nvPicPr>
          <p:cNvPr id="11" name="Content Placeholder 4">
            <a:extLst>
              <a:ext uri="{FF2B5EF4-FFF2-40B4-BE49-F238E27FC236}">
                <a16:creationId xmlns:a16="http://schemas.microsoft.com/office/drawing/2014/main" id="{31BBE077-16B4-4B09-9A81-61AC0823FB6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291370" y="4183968"/>
            <a:ext cx="2057401" cy="2072882"/>
          </a:xfrm>
          <a:prstGeom prst="rect">
            <a:avLst/>
          </a:prstGeom>
        </p:spPr>
      </p:pic>
    </p:spTree>
    <p:extLst>
      <p:ext uri="{BB962C8B-B14F-4D97-AF65-F5344CB8AC3E}">
        <p14:creationId xmlns:p14="http://schemas.microsoft.com/office/powerpoint/2010/main" val="2567303112"/>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903284" y="888594"/>
            <a:ext cx="7337431" cy="838200"/>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sym typeface="Arial"/>
              </a:rPr>
              <a:t>Simple Face Mask</a:t>
            </a:r>
          </a:p>
        </p:txBody>
      </p:sp>
      <p:sp>
        <p:nvSpPr>
          <p:cNvPr id="3" name="TextBox 2">
            <a:extLst>
              <a:ext uri="{FF2B5EF4-FFF2-40B4-BE49-F238E27FC236}">
                <a16:creationId xmlns:a16="http://schemas.microsoft.com/office/drawing/2014/main" id="{27ECC9DD-4C9D-47B8-8B80-F98B26DC99B0}"/>
              </a:ext>
            </a:extLst>
          </p:cNvPr>
          <p:cNvSpPr txBox="1"/>
          <p:nvPr/>
        </p:nvSpPr>
        <p:spPr>
          <a:xfrm>
            <a:off x="903283" y="1831019"/>
            <a:ext cx="7337431" cy="4558299"/>
          </a:xfrm>
          <a:prstGeom prst="rect">
            <a:avLst/>
          </a:prstGeom>
          <a:noFill/>
        </p:spPr>
        <p:txBody>
          <a:bodyPr wrap="square" rtlCol="0">
            <a:spAutoFit/>
          </a:bodyPr>
          <a:lstStyle/>
          <a:p>
            <a:pPr marL="214313" indent="-214313" algn="just">
              <a:lnSpc>
                <a:spcPct val="150000"/>
              </a:lnSpc>
              <a:spcBef>
                <a:spcPts val="600"/>
              </a:spcBef>
              <a:spcAft>
                <a:spcPts val="600"/>
              </a:spcAft>
              <a:buFont typeface="Arial" panose="020B0604020202020204" pitchFamily="34" charset="0"/>
              <a:buChar char="•"/>
            </a:pPr>
            <a:r>
              <a:rPr lang="en-GB" dirty="0">
                <a:solidFill>
                  <a:schemeClr val="accent2"/>
                </a:solidFill>
                <a:latin typeface="+mn-lt"/>
              </a:rPr>
              <a:t>Transparent mask provided with </a:t>
            </a:r>
            <a:r>
              <a:rPr lang="en-GB" b="1" dirty="0">
                <a:solidFill>
                  <a:schemeClr val="accent2"/>
                </a:solidFill>
                <a:latin typeface="+mn-lt"/>
              </a:rPr>
              <a:t>side holes</a:t>
            </a:r>
          </a:p>
          <a:p>
            <a:pPr marL="214313" indent="-214313" algn="just">
              <a:lnSpc>
                <a:spcPct val="150000"/>
              </a:lnSpc>
              <a:spcBef>
                <a:spcPts val="600"/>
              </a:spcBef>
              <a:spcAft>
                <a:spcPts val="600"/>
              </a:spcAft>
              <a:buFont typeface="Arial" panose="020B0604020202020204" pitchFamily="34" charset="0"/>
              <a:buChar char="•"/>
            </a:pPr>
            <a:r>
              <a:rPr lang="en-GB" dirty="0">
                <a:solidFill>
                  <a:schemeClr val="accent2"/>
                </a:solidFill>
                <a:latin typeface="+mn-lt"/>
              </a:rPr>
              <a:t>Reservoir capacity </a:t>
            </a:r>
            <a:r>
              <a:rPr lang="en-GB" b="1" dirty="0">
                <a:solidFill>
                  <a:schemeClr val="accent2"/>
                </a:solidFill>
                <a:latin typeface="+mn-lt"/>
              </a:rPr>
              <a:t>100-250ml</a:t>
            </a:r>
          </a:p>
          <a:p>
            <a:pPr marL="214313" indent="-214313" algn="just">
              <a:lnSpc>
                <a:spcPct val="150000"/>
              </a:lnSpc>
              <a:spcBef>
                <a:spcPts val="600"/>
              </a:spcBef>
              <a:spcAft>
                <a:spcPts val="600"/>
              </a:spcAft>
              <a:buFont typeface="Arial" panose="020B0604020202020204" pitchFamily="34" charset="0"/>
              <a:buChar char="•"/>
            </a:pPr>
            <a:r>
              <a:rPr lang="en-GB" dirty="0">
                <a:solidFill>
                  <a:schemeClr val="accent2"/>
                </a:solidFill>
                <a:latin typeface="+mn-lt"/>
              </a:rPr>
              <a:t>Different oxygen flow rates result in a </a:t>
            </a:r>
            <a:r>
              <a:rPr lang="en-GB" b="1" dirty="0">
                <a:solidFill>
                  <a:schemeClr val="accent2"/>
                </a:solidFill>
                <a:latin typeface="+mn-lt"/>
              </a:rPr>
              <a:t>highly variable and unpredictable FiO2</a:t>
            </a:r>
          </a:p>
          <a:p>
            <a:pPr marL="214313" indent="-214313" algn="just">
              <a:lnSpc>
                <a:spcPct val="150000"/>
              </a:lnSpc>
              <a:spcBef>
                <a:spcPts val="600"/>
              </a:spcBef>
              <a:spcAft>
                <a:spcPts val="600"/>
              </a:spcAft>
              <a:buFont typeface="Arial" panose="020B0604020202020204" pitchFamily="34" charset="0"/>
              <a:buChar char="•"/>
            </a:pPr>
            <a:r>
              <a:rPr lang="en-GB" b="1" dirty="0">
                <a:solidFill>
                  <a:schemeClr val="accent2"/>
                </a:solidFill>
                <a:latin typeface="+mn-lt"/>
              </a:rPr>
              <a:t>Rebreathing of CO2 </a:t>
            </a:r>
            <a:r>
              <a:rPr lang="en-GB" dirty="0">
                <a:solidFill>
                  <a:schemeClr val="accent2"/>
                </a:solidFill>
                <a:latin typeface="+mn-lt"/>
              </a:rPr>
              <a:t>can occur with oxygen flow rates of less than 2L oxygen/min or if minute ventilation is very high</a:t>
            </a:r>
          </a:p>
          <a:p>
            <a:pPr marL="214313" indent="-214313" algn="just">
              <a:lnSpc>
                <a:spcPct val="150000"/>
              </a:lnSpc>
              <a:spcBef>
                <a:spcPts val="600"/>
              </a:spcBef>
              <a:spcAft>
                <a:spcPts val="600"/>
              </a:spcAft>
              <a:buFont typeface="Arial" panose="020B0604020202020204" pitchFamily="34" charset="0"/>
              <a:buChar char="•"/>
            </a:pPr>
            <a:r>
              <a:rPr lang="en-GB" b="1" dirty="0">
                <a:solidFill>
                  <a:schemeClr val="accent2"/>
                </a:solidFill>
                <a:latin typeface="+mn-lt"/>
              </a:rPr>
              <a:t>4 L/min</a:t>
            </a:r>
            <a:r>
              <a:rPr lang="en-GB" dirty="0">
                <a:solidFill>
                  <a:schemeClr val="accent2"/>
                </a:solidFill>
                <a:latin typeface="+mn-lt"/>
              </a:rPr>
              <a:t> of oxygen flow delivers an </a:t>
            </a:r>
            <a:r>
              <a:rPr lang="en-GB" b="1" dirty="0">
                <a:solidFill>
                  <a:schemeClr val="accent2"/>
                </a:solidFill>
                <a:latin typeface="+mn-lt"/>
              </a:rPr>
              <a:t>FiO2 of about 0.35-0.4 </a:t>
            </a:r>
            <a:r>
              <a:rPr lang="en-GB" dirty="0">
                <a:solidFill>
                  <a:schemeClr val="accent2"/>
                </a:solidFill>
                <a:latin typeface="+mn-lt"/>
              </a:rPr>
              <a:t>provided there is a normal respiratory pattern</a:t>
            </a:r>
          </a:p>
          <a:p>
            <a:pPr marL="214313" indent="-214313" algn="just">
              <a:lnSpc>
                <a:spcPct val="150000"/>
              </a:lnSpc>
              <a:spcBef>
                <a:spcPts val="600"/>
              </a:spcBef>
              <a:spcAft>
                <a:spcPts val="600"/>
              </a:spcAft>
              <a:buFont typeface="Arial" panose="020B0604020202020204" pitchFamily="34" charset="0"/>
              <a:buChar char="•"/>
            </a:pPr>
            <a:r>
              <a:rPr lang="en-GB" dirty="0">
                <a:solidFill>
                  <a:schemeClr val="accent2"/>
                </a:solidFill>
                <a:latin typeface="+mn-lt"/>
              </a:rPr>
              <a:t>Flow rates greater than 8L/min do not increase FiO2</a:t>
            </a:r>
            <a:endParaRPr lang="en-IN" dirty="0">
              <a:solidFill>
                <a:schemeClr val="accent2"/>
              </a:solidFill>
              <a:latin typeface="+mn-lt"/>
            </a:endParaRPr>
          </a:p>
        </p:txBody>
      </p:sp>
      <p:pic>
        <p:nvPicPr>
          <p:cNvPr id="13" name="Content Placeholder 7">
            <a:extLst>
              <a:ext uri="{FF2B5EF4-FFF2-40B4-BE49-F238E27FC236}">
                <a16:creationId xmlns:a16="http://schemas.microsoft.com/office/drawing/2014/main" id="{7E28CA52-39F7-409F-9879-917CACDBC00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629400" y="557548"/>
            <a:ext cx="2590800" cy="2442717"/>
          </a:xfrm>
          <a:prstGeom prst="rect">
            <a:avLst/>
          </a:prstGeom>
        </p:spPr>
      </p:pic>
    </p:spTree>
    <p:extLst>
      <p:ext uri="{BB962C8B-B14F-4D97-AF65-F5344CB8AC3E}">
        <p14:creationId xmlns:p14="http://schemas.microsoft.com/office/powerpoint/2010/main" val="378741925"/>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982717" y="609600"/>
            <a:ext cx="7086600" cy="1141634"/>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200" b="1" spc="-50" dirty="0">
                <a:solidFill>
                  <a:schemeClr val="accent2">
                    <a:lumMod val="75000"/>
                  </a:schemeClr>
                </a:solidFill>
                <a:latin typeface="+mn-lt"/>
                <a:ea typeface="+mj-ea"/>
                <a:cs typeface="+mj-cs"/>
                <a:sym typeface="Arial"/>
              </a:rPr>
              <a:t>Simple Face Mask</a:t>
            </a:r>
          </a:p>
        </p:txBody>
      </p:sp>
      <p:sp>
        <p:nvSpPr>
          <p:cNvPr id="2" name="TextBox 1">
            <a:extLst>
              <a:ext uri="{FF2B5EF4-FFF2-40B4-BE49-F238E27FC236}">
                <a16:creationId xmlns:a16="http://schemas.microsoft.com/office/drawing/2014/main" id="{391C6113-9E06-4352-B3E1-AAC26D467D61}"/>
              </a:ext>
            </a:extLst>
          </p:cNvPr>
          <p:cNvSpPr txBox="1"/>
          <p:nvPr/>
        </p:nvSpPr>
        <p:spPr>
          <a:xfrm>
            <a:off x="977031" y="1691014"/>
            <a:ext cx="7785970" cy="4520352"/>
          </a:xfrm>
          <a:prstGeom prst="rect">
            <a:avLst/>
          </a:prstGeom>
          <a:noFill/>
        </p:spPr>
        <p:txBody>
          <a:bodyPr wrap="square" numCol="2" rtlCol="0">
            <a:spAutoFit/>
          </a:bodyPr>
          <a:lstStyle/>
          <a:p>
            <a:pPr>
              <a:lnSpc>
                <a:spcPct val="150000"/>
              </a:lnSpc>
              <a:spcBef>
                <a:spcPts val="600"/>
              </a:spcBef>
              <a:spcAft>
                <a:spcPts val="600"/>
              </a:spcAft>
            </a:pPr>
            <a:r>
              <a:rPr lang="en-GB" b="1" u="sng" dirty="0">
                <a:solidFill>
                  <a:schemeClr val="accent2"/>
                </a:solidFill>
                <a:latin typeface="+mn-lt"/>
              </a:rPr>
              <a:t>Advantages:</a:t>
            </a:r>
          </a:p>
          <a:p>
            <a:pPr marL="285750" indent="-285750">
              <a:lnSpc>
                <a:spcPct val="150000"/>
              </a:lnSpc>
              <a:spcBef>
                <a:spcPts val="600"/>
              </a:spcBef>
              <a:spcAft>
                <a:spcPts val="0"/>
              </a:spcAft>
              <a:buFont typeface="Arial" panose="020B0604020202020204" pitchFamily="34" charset="0"/>
              <a:buChar char="•"/>
            </a:pPr>
            <a:r>
              <a:rPr lang="en-GB" dirty="0">
                <a:solidFill>
                  <a:schemeClr val="accent2"/>
                </a:solidFill>
                <a:latin typeface="+mn-lt"/>
              </a:rPr>
              <a:t>Less expensive (RS 80/-)</a:t>
            </a:r>
          </a:p>
          <a:p>
            <a:pPr marL="285750" indent="-285750">
              <a:lnSpc>
                <a:spcPct val="150000"/>
              </a:lnSpc>
              <a:spcBef>
                <a:spcPts val="600"/>
              </a:spcBef>
              <a:spcAft>
                <a:spcPts val="0"/>
              </a:spcAft>
              <a:buFont typeface="Arial" panose="020B0604020202020204" pitchFamily="34" charset="0"/>
              <a:buChar char="•"/>
            </a:pPr>
            <a:r>
              <a:rPr lang="en-GB" dirty="0">
                <a:solidFill>
                  <a:schemeClr val="accent2"/>
                </a:solidFill>
                <a:latin typeface="+mn-lt"/>
              </a:rPr>
              <a:t>Can be used in mouth breathers</a:t>
            </a:r>
          </a:p>
          <a:p>
            <a:pPr>
              <a:lnSpc>
                <a:spcPct val="150000"/>
              </a:lnSpc>
              <a:spcBef>
                <a:spcPts val="600"/>
              </a:spcBef>
              <a:spcAft>
                <a:spcPts val="0"/>
              </a:spcAft>
            </a:pPr>
            <a:endParaRPr lang="en-GB" b="1" u="sng" dirty="0">
              <a:solidFill>
                <a:schemeClr val="accent2"/>
              </a:solidFill>
              <a:latin typeface="+mn-lt"/>
            </a:endParaRPr>
          </a:p>
          <a:p>
            <a:pPr>
              <a:lnSpc>
                <a:spcPct val="150000"/>
              </a:lnSpc>
              <a:spcBef>
                <a:spcPts val="600"/>
              </a:spcBef>
              <a:spcAft>
                <a:spcPts val="0"/>
              </a:spcAft>
            </a:pPr>
            <a:endParaRPr lang="en-GB" b="1" u="sng" dirty="0">
              <a:solidFill>
                <a:schemeClr val="accent2"/>
              </a:solidFill>
              <a:latin typeface="+mn-lt"/>
            </a:endParaRPr>
          </a:p>
          <a:p>
            <a:pPr>
              <a:lnSpc>
                <a:spcPct val="150000"/>
              </a:lnSpc>
              <a:spcBef>
                <a:spcPts val="600"/>
              </a:spcBef>
              <a:spcAft>
                <a:spcPts val="0"/>
              </a:spcAft>
            </a:pPr>
            <a:endParaRPr lang="en-GB" b="1" u="sng" dirty="0">
              <a:solidFill>
                <a:schemeClr val="accent2"/>
              </a:solidFill>
              <a:latin typeface="+mn-lt"/>
            </a:endParaRPr>
          </a:p>
          <a:p>
            <a:pPr>
              <a:lnSpc>
                <a:spcPct val="150000"/>
              </a:lnSpc>
              <a:spcBef>
                <a:spcPts val="600"/>
              </a:spcBef>
              <a:spcAft>
                <a:spcPts val="0"/>
              </a:spcAft>
            </a:pPr>
            <a:endParaRPr lang="en-GB" b="1" u="sng" dirty="0">
              <a:solidFill>
                <a:schemeClr val="accent2"/>
              </a:solidFill>
              <a:latin typeface="+mn-lt"/>
            </a:endParaRPr>
          </a:p>
          <a:p>
            <a:pPr>
              <a:lnSpc>
                <a:spcPct val="150000"/>
              </a:lnSpc>
              <a:spcBef>
                <a:spcPts val="600"/>
              </a:spcBef>
              <a:spcAft>
                <a:spcPts val="0"/>
              </a:spcAft>
            </a:pPr>
            <a:endParaRPr lang="en-GB" b="1" u="sng" dirty="0">
              <a:solidFill>
                <a:schemeClr val="accent2"/>
              </a:solidFill>
              <a:latin typeface="+mn-lt"/>
            </a:endParaRPr>
          </a:p>
          <a:p>
            <a:pPr>
              <a:lnSpc>
                <a:spcPct val="150000"/>
              </a:lnSpc>
              <a:spcBef>
                <a:spcPts val="600"/>
              </a:spcBef>
              <a:spcAft>
                <a:spcPts val="0"/>
              </a:spcAft>
            </a:pPr>
            <a:endParaRPr lang="en-GB" b="1" u="sng" dirty="0">
              <a:solidFill>
                <a:schemeClr val="accent2"/>
              </a:solidFill>
              <a:latin typeface="+mn-lt"/>
            </a:endParaRPr>
          </a:p>
          <a:p>
            <a:pPr>
              <a:lnSpc>
                <a:spcPct val="150000"/>
              </a:lnSpc>
              <a:spcBef>
                <a:spcPts val="600"/>
              </a:spcBef>
              <a:spcAft>
                <a:spcPts val="0"/>
              </a:spcAft>
            </a:pPr>
            <a:r>
              <a:rPr lang="en-GB" b="1" u="sng" dirty="0">
                <a:solidFill>
                  <a:schemeClr val="accent2"/>
                </a:solidFill>
                <a:latin typeface="+mn-lt"/>
              </a:rPr>
              <a:t>Disadvantages:</a:t>
            </a:r>
          </a:p>
          <a:p>
            <a:pPr marL="285750" indent="-285750">
              <a:lnSpc>
                <a:spcPct val="150000"/>
              </a:lnSpc>
              <a:spcBef>
                <a:spcPts val="600"/>
              </a:spcBef>
              <a:spcAft>
                <a:spcPts val="0"/>
              </a:spcAft>
              <a:buFont typeface="Arial" panose="020B0604020202020204" pitchFamily="34" charset="0"/>
              <a:buChar char="•"/>
            </a:pPr>
            <a:r>
              <a:rPr lang="en-GB" dirty="0">
                <a:solidFill>
                  <a:schemeClr val="accent2"/>
                </a:solidFill>
                <a:latin typeface="+mn-lt"/>
              </a:rPr>
              <a:t>Uncomfortable</a:t>
            </a:r>
          </a:p>
          <a:p>
            <a:pPr marL="285750" indent="-285750">
              <a:lnSpc>
                <a:spcPct val="150000"/>
              </a:lnSpc>
              <a:spcBef>
                <a:spcPts val="600"/>
              </a:spcBef>
              <a:spcAft>
                <a:spcPts val="0"/>
              </a:spcAft>
              <a:buFont typeface="Arial" panose="020B0604020202020204" pitchFamily="34" charset="0"/>
              <a:buChar char="•"/>
            </a:pPr>
            <a:r>
              <a:rPr lang="en-GB" dirty="0">
                <a:solidFill>
                  <a:schemeClr val="accent2"/>
                </a:solidFill>
                <a:latin typeface="+mn-lt"/>
              </a:rPr>
              <a:t>Require tight seal</a:t>
            </a:r>
          </a:p>
          <a:p>
            <a:pPr marL="285750" indent="-285750">
              <a:lnSpc>
                <a:spcPct val="150000"/>
              </a:lnSpc>
              <a:spcBef>
                <a:spcPts val="600"/>
              </a:spcBef>
              <a:spcAft>
                <a:spcPts val="0"/>
              </a:spcAft>
              <a:buFont typeface="Arial" panose="020B0604020202020204" pitchFamily="34" charset="0"/>
              <a:buChar char="•"/>
            </a:pPr>
            <a:r>
              <a:rPr lang="en-GB" dirty="0">
                <a:solidFill>
                  <a:schemeClr val="accent2"/>
                </a:solidFill>
                <a:latin typeface="+mn-lt"/>
              </a:rPr>
              <a:t>Do not deliver highFiO2</a:t>
            </a:r>
          </a:p>
          <a:p>
            <a:pPr marL="285750" indent="-285750">
              <a:lnSpc>
                <a:spcPct val="150000"/>
              </a:lnSpc>
              <a:spcBef>
                <a:spcPts val="600"/>
              </a:spcBef>
              <a:spcAft>
                <a:spcPts val="0"/>
              </a:spcAft>
              <a:buFont typeface="Arial" panose="020B0604020202020204" pitchFamily="34" charset="0"/>
              <a:buChar char="•"/>
            </a:pPr>
            <a:r>
              <a:rPr lang="en-GB" dirty="0">
                <a:solidFill>
                  <a:schemeClr val="accent2"/>
                </a:solidFill>
                <a:latin typeface="+mn-lt"/>
              </a:rPr>
              <a:t>FiO2 varies with breathing efforts</a:t>
            </a:r>
          </a:p>
          <a:p>
            <a:pPr marL="285750" indent="-285750">
              <a:lnSpc>
                <a:spcPct val="150000"/>
              </a:lnSpc>
              <a:spcBef>
                <a:spcPts val="600"/>
              </a:spcBef>
              <a:spcAft>
                <a:spcPts val="0"/>
              </a:spcAft>
              <a:buFont typeface="Arial" panose="020B0604020202020204" pitchFamily="34" charset="0"/>
              <a:buChar char="•"/>
            </a:pPr>
            <a:r>
              <a:rPr lang="en-GB" dirty="0">
                <a:solidFill>
                  <a:schemeClr val="accent2"/>
                </a:solidFill>
                <a:latin typeface="+mn-lt"/>
              </a:rPr>
              <a:t>Interfere with eating, drinking, communication</a:t>
            </a:r>
          </a:p>
          <a:p>
            <a:pPr marL="285750" indent="-285750">
              <a:lnSpc>
                <a:spcPct val="150000"/>
              </a:lnSpc>
              <a:spcBef>
                <a:spcPts val="600"/>
              </a:spcBef>
              <a:spcAft>
                <a:spcPts val="0"/>
              </a:spcAft>
              <a:buFont typeface="Arial" panose="020B0604020202020204" pitchFamily="34" charset="0"/>
              <a:buChar char="•"/>
            </a:pPr>
            <a:r>
              <a:rPr lang="en-GB" dirty="0">
                <a:solidFill>
                  <a:schemeClr val="accent2"/>
                </a:solidFill>
                <a:latin typeface="+mn-lt"/>
              </a:rPr>
              <a:t>Difficult to keep in position for long</a:t>
            </a:r>
          </a:p>
          <a:p>
            <a:pPr marL="285750" indent="-285750">
              <a:lnSpc>
                <a:spcPct val="150000"/>
              </a:lnSpc>
              <a:spcBef>
                <a:spcPts val="600"/>
              </a:spcBef>
              <a:spcAft>
                <a:spcPts val="0"/>
              </a:spcAft>
              <a:buFont typeface="Arial" panose="020B0604020202020204" pitchFamily="34" charset="0"/>
              <a:buChar char="•"/>
            </a:pPr>
            <a:r>
              <a:rPr lang="en-GB" dirty="0">
                <a:solidFill>
                  <a:schemeClr val="accent2"/>
                </a:solidFill>
                <a:latin typeface="+mn-lt"/>
              </a:rPr>
              <a:t>Chances of rebreathing are high</a:t>
            </a:r>
            <a:endParaRPr lang="en-IN" dirty="0">
              <a:solidFill>
                <a:schemeClr val="accent2"/>
              </a:solidFill>
              <a:latin typeface="+mn-lt"/>
            </a:endParaRPr>
          </a:p>
        </p:txBody>
      </p:sp>
      <p:pic>
        <p:nvPicPr>
          <p:cNvPr id="8" name="Picture 7">
            <a:extLst>
              <a:ext uri="{FF2B5EF4-FFF2-40B4-BE49-F238E27FC236}">
                <a16:creationId xmlns:a16="http://schemas.microsoft.com/office/drawing/2014/main" id="{38C85C25-3F86-48AF-8436-139EA14BF23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614383" y="279748"/>
            <a:ext cx="2529617" cy="2016161"/>
          </a:xfrm>
          <a:prstGeom prst="rect">
            <a:avLst/>
          </a:prstGeom>
        </p:spPr>
      </p:pic>
    </p:spTree>
    <p:extLst>
      <p:ext uri="{BB962C8B-B14F-4D97-AF65-F5344CB8AC3E}">
        <p14:creationId xmlns:p14="http://schemas.microsoft.com/office/powerpoint/2010/main" val="1838093634"/>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914400" y="628587"/>
            <a:ext cx="7467600" cy="1092073"/>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Partial Rebreathing</a:t>
            </a:r>
            <a:r>
              <a:rPr lang="en-US" sz="3600" b="1" spc="-50" dirty="0">
                <a:solidFill>
                  <a:schemeClr val="accent2">
                    <a:lumMod val="75000"/>
                  </a:schemeClr>
                </a:solidFill>
                <a:latin typeface="+mn-lt"/>
                <a:ea typeface="+mj-ea"/>
                <a:cs typeface="+mj-cs"/>
                <a:sym typeface="Arial"/>
              </a:rPr>
              <a:t> Mask</a:t>
            </a:r>
          </a:p>
        </p:txBody>
      </p:sp>
      <p:sp>
        <p:nvSpPr>
          <p:cNvPr id="604" name="Google Shape;604;ge9eb37db0a_0_51"/>
          <p:cNvSpPr txBox="1">
            <a:spLocks noGrp="1"/>
          </p:cNvSpPr>
          <p:nvPr>
            <p:ph type="sldNum" idx="12"/>
          </p:nvPr>
        </p:nvSpPr>
        <p:spPr>
          <a:xfrm>
            <a:off x="571500" y="5702738"/>
            <a:ext cx="135900" cy="123525"/>
          </a:xfrm>
          <a:prstGeom prst="rect">
            <a:avLst/>
          </a:prstGeom>
          <a:noFill/>
          <a:ln>
            <a:noFill/>
          </a:ln>
        </p:spPr>
        <p:txBody>
          <a:bodyPr spcFirstLastPara="1" vert="horz" wrap="square" lIns="0" tIns="0" rIns="0" bIns="0" numCol="1" anchor="ctr" anchorCtr="0" compatLnSpc="1">
            <a:prstTxWarp prst="textNoShape">
              <a:avLst/>
            </a:prstTxWarp>
            <a:noAutofit/>
          </a:bodyPr>
          <a:lstStyle/>
          <a:p>
            <a:fld id="{00000000-1234-1234-1234-123412341234}" type="slidenum">
              <a:rPr lang="en-US">
                <a:latin typeface="+mn-lt"/>
              </a:rPr>
              <a:pPr/>
              <a:t>26</a:t>
            </a:fld>
            <a:endParaRPr>
              <a:latin typeface="+mn-lt"/>
            </a:endParaRPr>
          </a:p>
        </p:txBody>
      </p:sp>
      <p:sp>
        <p:nvSpPr>
          <p:cNvPr id="3" name="TextBox 2">
            <a:extLst>
              <a:ext uri="{FF2B5EF4-FFF2-40B4-BE49-F238E27FC236}">
                <a16:creationId xmlns:a16="http://schemas.microsoft.com/office/drawing/2014/main" id="{98D78F8A-A930-441A-AD43-3AE99221970E}"/>
              </a:ext>
            </a:extLst>
          </p:cNvPr>
          <p:cNvSpPr txBox="1"/>
          <p:nvPr/>
        </p:nvSpPr>
        <p:spPr>
          <a:xfrm>
            <a:off x="184969" y="1828800"/>
            <a:ext cx="2971497" cy="4585871"/>
          </a:xfrm>
          <a:prstGeom prst="rect">
            <a:avLst/>
          </a:prstGeom>
          <a:noFill/>
        </p:spPr>
        <p:txBody>
          <a:bodyPr wrap="square" rtlCol="0">
            <a:spAutoFit/>
          </a:bodyPr>
          <a:lstStyle/>
          <a:p>
            <a:pPr marL="214313" indent="-214313" algn="just">
              <a:spcBef>
                <a:spcPts val="600"/>
              </a:spcBef>
              <a:spcAft>
                <a:spcPts val="600"/>
              </a:spcAft>
              <a:buFont typeface="Arial" panose="020B0604020202020204" pitchFamily="34" charset="0"/>
              <a:buChar char="•"/>
            </a:pPr>
            <a:r>
              <a:rPr lang="en-GB" dirty="0">
                <a:solidFill>
                  <a:schemeClr val="accent2"/>
                </a:solidFill>
                <a:latin typeface="+mn-lt"/>
              </a:rPr>
              <a:t>Mask with reservoir bag of capacity </a:t>
            </a:r>
            <a:r>
              <a:rPr lang="en-GB" b="1" dirty="0">
                <a:solidFill>
                  <a:schemeClr val="accent2"/>
                </a:solidFill>
                <a:latin typeface="+mn-lt"/>
              </a:rPr>
              <a:t>1 litre</a:t>
            </a:r>
          </a:p>
          <a:p>
            <a:pPr marL="214313" indent="-214313" algn="just">
              <a:spcBef>
                <a:spcPts val="600"/>
              </a:spcBef>
              <a:spcAft>
                <a:spcPts val="600"/>
              </a:spcAft>
              <a:buFont typeface="Arial" panose="020B0604020202020204" pitchFamily="34" charset="0"/>
              <a:buChar char="•"/>
            </a:pPr>
            <a:r>
              <a:rPr lang="en-GB" dirty="0">
                <a:solidFill>
                  <a:schemeClr val="accent2"/>
                </a:solidFill>
                <a:latin typeface="+mn-lt"/>
              </a:rPr>
              <a:t>Oxygen flows </a:t>
            </a:r>
            <a:r>
              <a:rPr lang="en-GB" b="1" dirty="0">
                <a:solidFill>
                  <a:schemeClr val="accent2"/>
                </a:solidFill>
                <a:latin typeface="+mn-lt"/>
              </a:rPr>
              <a:t>directly </a:t>
            </a:r>
            <a:r>
              <a:rPr lang="en-GB" dirty="0">
                <a:solidFill>
                  <a:schemeClr val="accent2"/>
                </a:solidFill>
                <a:latin typeface="+mn-lt"/>
              </a:rPr>
              <a:t>into the reservoir bag, which fills during exhaustion</a:t>
            </a:r>
          </a:p>
          <a:p>
            <a:pPr marL="214313" indent="-214313" algn="just">
              <a:spcBef>
                <a:spcPts val="600"/>
              </a:spcBef>
              <a:spcAft>
                <a:spcPts val="600"/>
              </a:spcAft>
              <a:buFont typeface="Arial" panose="020B0604020202020204" pitchFamily="34" charset="0"/>
              <a:buChar char="•"/>
            </a:pPr>
            <a:r>
              <a:rPr lang="en-GB" dirty="0">
                <a:solidFill>
                  <a:schemeClr val="accent2"/>
                </a:solidFill>
                <a:latin typeface="+mn-lt"/>
              </a:rPr>
              <a:t>Deliver an FiO2 between </a:t>
            </a:r>
            <a:r>
              <a:rPr lang="en-GB" b="1" dirty="0">
                <a:solidFill>
                  <a:schemeClr val="accent2"/>
                </a:solidFill>
                <a:latin typeface="+mn-lt"/>
              </a:rPr>
              <a:t>0.6 and 0.8</a:t>
            </a:r>
          </a:p>
          <a:p>
            <a:pPr marL="214313" indent="-214313" algn="just">
              <a:spcBef>
                <a:spcPts val="600"/>
              </a:spcBef>
              <a:spcAft>
                <a:spcPts val="600"/>
              </a:spcAft>
              <a:buFont typeface="Arial" panose="020B0604020202020204" pitchFamily="34" charset="0"/>
              <a:buChar char="•"/>
            </a:pPr>
            <a:r>
              <a:rPr lang="en-GB" dirty="0">
                <a:solidFill>
                  <a:schemeClr val="accent2"/>
                </a:solidFill>
                <a:latin typeface="+mn-lt"/>
              </a:rPr>
              <a:t>A minimum of </a:t>
            </a:r>
            <a:r>
              <a:rPr lang="en-GB" b="1" dirty="0">
                <a:solidFill>
                  <a:schemeClr val="accent2"/>
                </a:solidFill>
                <a:latin typeface="+mn-lt"/>
              </a:rPr>
              <a:t>8L/min </a:t>
            </a:r>
            <a:r>
              <a:rPr lang="en-GB" dirty="0">
                <a:solidFill>
                  <a:schemeClr val="accent2"/>
                </a:solidFill>
                <a:latin typeface="+mn-lt"/>
              </a:rPr>
              <a:t>should enter the mask to remove exhaled CO2 and refill oxygen reservoir</a:t>
            </a:r>
          </a:p>
          <a:p>
            <a:pPr marL="214313" indent="-214313" algn="just">
              <a:spcBef>
                <a:spcPts val="600"/>
              </a:spcBef>
              <a:spcAft>
                <a:spcPts val="600"/>
              </a:spcAft>
              <a:buFont typeface="Arial" panose="020B0604020202020204" pitchFamily="34" charset="0"/>
              <a:buChar char="•"/>
            </a:pPr>
            <a:r>
              <a:rPr lang="en-GB" dirty="0">
                <a:solidFill>
                  <a:schemeClr val="accent2"/>
                </a:solidFill>
                <a:latin typeface="+mn-lt"/>
              </a:rPr>
              <a:t>Flow rate must be sufficient to keep bag </a:t>
            </a:r>
            <a:r>
              <a:rPr lang="en-GB" b="1" dirty="0">
                <a:solidFill>
                  <a:schemeClr val="accent2"/>
                </a:solidFill>
                <a:latin typeface="+mn-lt"/>
              </a:rPr>
              <a:t>1/3 to ½ inflated </a:t>
            </a:r>
            <a:r>
              <a:rPr lang="en-GB" dirty="0">
                <a:solidFill>
                  <a:schemeClr val="accent2"/>
                </a:solidFill>
                <a:latin typeface="+mn-lt"/>
              </a:rPr>
              <a:t>at all times</a:t>
            </a:r>
          </a:p>
        </p:txBody>
      </p:sp>
      <p:pic>
        <p:nvPicPr>
          <p:cNvPr id="12" name="Content Placeholder 3">
            <a:extLst>
              <a:ext uri="{FF2B5EF4-FFF2-40B4-BE49-F238E27FC236}">
                <a16:creationId xmlns:a16="http://schemas.microsoft.com/office/drawing/2014/main" id="{8C349DDF-A1FB-4E9A-A4FB-4D2DF031F863}"/>
              </a:ext>
            </a:extLst>
          </p:cNvPr>
          <p:cNvPicPr>
            <a:picLocks noChangeAspect="1"/>
          </p:cNvPicPr>
          <p:nvPr/>
        </p:nvPicPr>
        <p:blipFill>
          <a:blip r:embed="rId3"/>
          <a:stretch>
            <a:fillRect/>
          </a:stretch>
        </p:blipFill>
        <p:spPr>
          <a:xfrm>
            <a:off x="3111777" y="2622012"/>
            <a:ext cx="2875667" cy="2026188"/>
          </a:xfrm>
          <a:prstGeom prst="rect">
            <a:avLst/>
          </a:prstGeom>
        </p:spPr>
      </p:pic>
      <p:sp>
        <p:nvSpPr>
          <p:cNvPr id="2" name="TextBox 1">
            <a:extLst>
              <a:ext uri="{FF2B5EF4-FFF2-40B4-BE49-F238E27FC236}">
                <a16:creationId xmlns:a16="http://schemas.microsoft.com/office/drawing/2014/main" id="{89796952-238C-456F-97DF-18976F31BD2A}"/>
              </a:ext>
            </a:extLst>
          </p:cNvPr>
          <p:cNvSpPr txBox="1"/>
          <p:nvPr/>
        </p:nvSpPr>
        <p:spPr>
          <a:xfrm>
            <a:off x="6063644" y="1824789"/>
            <a:ext cx="2850608" cy="4539704"/>
          </a:xfrm>
          <a:prstGeom prst="rect">
            <a:avLst/>
          </a:prstGeom>
          <a:noFill/>
        </p:spPr>
        <p:txBody>
          <a:bodyPr wrap="square" rtlCol="0">
            <a:spAutoFit/>
          </a:bodyPr>
          <a:lstStyle/>
          <a:p>
            <a:pPr algn="just">
              <a:spcBef>
                <a:spcPts val="600"/>
              </a:spcBef>
              <a:spcAft>
                <a:spcPts val="600"/>
              </a:spcAft>
            </a:pPr>
            <a:r>
              <a:rPr lang="en-GB" b="1" u="sng" dirty="0">
                <a:solidFill>
                  <a:schemeClr val="accent2"/>
                </a:solidFill>
                <a:latin typeface="+mn-lt"/>
              </a:rPr>
              <a:t>Advantages:</a:t>
            </a:r>
          </a:p>
          <a:p>
            <a:pPr marL="214313" indent="-214313" algn="just">
              <a:spcBef>
                <a:spcPts val="600"/>
              </a:spcBef>
              <a:spcAft>
                <a:spcPts val="600"/>
              </a:spcAft>
              <a:buFont typeface="Courier New" panose="02070309020205020404" pitchFamily="49" charset="0"/>
              <a:buChar char="o"/>
            </a:pPr>
            <a:r>
              <a:rPr lang="en-GB" dirty="0">
                <a:solidFill>
                  <a:schemeClr val="accent2"/>
                </a:solidFill>
                <a:latin typeface="+mn-lt"/>
              </a:rPr>
              <a:t>Inspired gas not mixed with room air</a:t>
            </a:r>
          </a:p>
          <a:p>
            <a:pPr marL="214313" indent="-214313" algn="just">
              <a:spcBef>
                <a:spcPts val="600"/>
              </a:spcBef>
              <a:spcAft>
                <a:spcPts val="600"/>
              </a:spcAft>
              <a:buFont typeface="Courier New" panose="02070309020205020404" pitchFamily="49" charset="0"/>
              <a:buChar char="o"/>
            </a:pPr>
            <a:r>
              <a:rPr lang="en-GB" dirty="0">
                <a:solidFill>
                  <a:schemeClr val="accent2"/>
                </a:solidFill>
                <a:latin typeface="+mn-lt"/>
              </a:rPr>
              <a:t>Patient can breathe room air through exhalation ports if oxygen supply gets interrupted</a:t>
            </a:r>
          </a:p>
          <a:p>
            <a:pPr algn="just">
              <a:spcBef>
                <a:spcPts val="600"/>
              </a:spcBef>
              <a:spcAft>
                <a:spcPts val="600"/>
              </a:spcAft>
            </a:pPr>
            <a:r>
              <a:rPr lang="en-GB" b="1" u="sng" dirty="0">
                <a:solidFill>
                  <a:schemeClr val="accent2"/>
                </a:solidFill>
                <a:latin typeface="+mn-lt"/>
              </a:rPr>
              <a:t>Disadvantages:</a:t>
            </a:r>
          </a:p>
          <a:p>
            <a:pPr marL="214313" indent="-214313" algn="just">
              <a:spcBef>
                <a:spcPts val="600"/>
              </a:spcBef>
              <a:spcAft>
                <a:spcPts val="600"/>
              </a:spcAft>
              <a:buFont typeface="Courier New" panose="02070309020205020404" pitchFamily="49" charset="0"/>
              <a:buChar char="o"/>
            </a:pPr>
            <a:r>
              <a:rPr lang="en-GB" dirty="0">
                <a:solidFill>
                  <a:schemeClr val="accent2"/>
                </a:solidFill>
                <a:latin typeface="+mn-lt"/>
              </a:rPr>
              <a:t>More oxygen flow does not increase FiO2</a:t>
            </a:r>
          </a:p>
          <a:p>
            <a:pPr marL="214313" indent="-214313" algn="just">
              <a:spcBef>
                <a:spcPts val="600"/>
              </a:spcBef>
              <a:spcAft>
                <a:spcPts val="600"/>
              </a:spcAft>
              <a:buFont typeface="Courier New" panose="02070309020205020404" pitchFamily="49" charset="0"/>
              <a:buChar char="o"/>
            </a:pPr>
            <a:r>
              <a:rPr lang="en-GB" dirty="0">
                <a:solidFill>
                  <a:schemeClr val="accent2"/>
                </a:solidFill>
                <a:latin typeface="+mn-lt"/>
              </a:rPr>
              <a:t>Interfere with eating and drinking</a:t>
            </a:r>
            <a:endParaRPr lang="en-IN" dirty="0">
              <a:solidFill>
                <a:schemeClr val="accent2"/>
              </a:solidFill>
              <a:latin typeface="+mn-lt"/>
            </a:endParaRPr>
          </a:p>
          <a:p>
            <a:endParaRPr lang="en-IN" dirty="0">
              <a:latin typeface="+mn-lt"/>
            </a:endParaRPr>
          </a:p>
        </p:txBody>
      </p:sp>
    </p:spTree>
    <p:extLst>
      <p:ext uri="{BB962C8B-B14F-4D97-AF65-F5344CB8AC3E}">
        <p14:creationId xmlns:p14="http://schemas.microsoft.com/office/powerpoint/2010/main" val="205204337"/>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876300" y="826856"/>
            <a:ext cx="7391400" cy="865310"/>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Non-Rebreathing</a:t>
            </a:r>
            <a:r>
              <a:rPr lang="en-US" sz="3600" b="1" spc="-50" dirty="0">
                <a:solidFill>
                  <a:schemeClr val="accent2">
                    <a:lumMod val="75000"/>
                  </a:schemeClr>
                </a:solidFill>
                <a:latin typeface="+mn-lt"/>
                <a:ea typeface="+mj-ea"/>
                <a:cs typeface="+mj-cs"/>
                <a:sym typeface="Arial"/>
              </a:rPr>
              <a:t> Mask</a:t>
            </a:r>
          </a:p>
        </p:txBody>
      </p:sp>
      <p:sp>
        <p:nvSpPr>
          <p:cNvPr id="2" name="TextBox 1">
            <a:extLst>
              <a:ext uri="{FF2B5EF4-FFF2-40B4-BE49-F238E27FC236}">
                <a16:creationId xmlns:a16="http://schemas.microsoft.com/office/drawing/2014/main" id="{DC91B997-70D9-416E-B0E5-693BAB7C7CCA}"/>
              </a:ext>
            </a:extLst>
          </p:cNvPr>
          <p:cNvSpPr txBox="1"/>
          <p:nvPr/>
        </p:nvSpPr>
        <p:spPr>
          <a:xfrm>
            <a:off x="876300" y="1876803"/>
            <a:ext cx="4632898" cy="3737946"/>
          </a:xfrm>
          <a:prstGeom prst="rect">
            <a:avLst/>
          </a:prstGeom>
          <a:noFill/>
        </p:spPr>
        <p:txBody>
          <a:bodyPr wrap="square" rtlCol="0">
            <a:spAutoFit/>
          </a:bodyPr>
          <a:lstStyle/>
          <a:p>
            <a:pPr marL="214313" indent="-214313">
              <a:lnSpc>
                <a:spcPct val="150000"/>
              </a:lnSpc>
              <a:buFont typeface="Arial" panose="020B0604020202020204" pitchFamily="34" charset="0"/>
              <a:buChar char="•"/>
            </a:pPr>
            <a:r>
              <a:rPr lang="en-GB" sz="2000" dirty="0">
                <a:solidFill>
                  <a:schemeClr val="accent2"/>
                </a:solidFill>
                <a:latin typeface="+mn-lt"/>
              </a:rPr>
              <a:t>Provided with </a:t>
            </a:r>
            <a:r>
              <a:rPr lang="en-GB" sz="2000" b="1" dirty="0">
                <a:solidFill>
                  <a:schemeClr val="accent2"/>
                </a:solidFill>
                <a:latin typeface="+mn-lt"/>
              </a:rPr>
              <a:t>one way valves </a:t>
            </a:r>
            <a:r>
              <a:rPr lang="en-GB" sz="2000" dirty="0">
                <a:solidFill>
                  <a:schemeClr val="accent2"/>
                </a:solidFill>
                <a:latin typeface="+mn-lt"/>
              </a:rPr>
              <a:t>between mask and bag, exhalation ports</a:t>
            </a:r>
          </a:p>
          <a:p>
            <a:pPr marL="214313" indent="-214313">
              <a:lnSpc>
                <a:spcPct val="150000"/>
              </a:lnSpc>
              <a:buFont typeface="Arial" panose="020B0604020202020204" pitchFamily="34" charset="0"/>
              <a:buChar char="•"/>
            </a:pPr>
            <a:r>
              <a:rPr lang="en-GB" sz="2000" b="1" dirty="0">
                <a:solidFill>
                  <a:schemeClr val="accent2"/>
                </a:solidFill>
                <a:latin typeface="+mn-lt"/>
              </a:rPr>
              <a:t>FiO2 of 95% </a:t>
            </a:r>
            <a:r>
              <a:rPr lang="en-GB" sz="2000" dirty="0">
                <a:solidFill>
                  <a:schemeClr val="accent2"/>
                </a:solidFill>
                <a:latin typeface="+mn-lt"/>
              </a:rPr>
              <a:t>can be achieved with an oxygen flow rates of </a:t>
            </a:r>
            <a:r>
              <a:rPr lang="en-GB" sz="2000" b="1" dirty="0">
                <a:solidFill>
                  <a:schemeClr val="accent2"/>
                </a:solidFill>
                <a:latin typeface="+mn-lt"/>
              </a:rPr>
              <a:t>10 to 15 L/min</a:t>
            </a:r>
          </a:p>
          <a:p>
            <a:pPr marL="214313" indent="-214313">
              <a:lnSpc>
                <a:spcPct val="150000"/>
              </a:lnSpc>
              <a:buFont typeface="Arial" panose="020B0604020202020204" pitchFamily="34" charset="0"/>
              <a:buChar char="•"/>
            </a:pPr>
            <a:r>
              <a:rPr lang="en-GB" sz="2000" b="1" dirty="0">
                <a:solidFill>
                  <a:schemeClr val="accent2"/>
                </a:solidFill>
                <a:latin typeface="+mn-lt"/>
              </a:rPr>
              <a:t>Higher oxygen </a:t>
            </a:r>
            <a:r>
              <a:rPr lang="en-GB" sz="2000" dirty="0">
                <a:solidFill>
                  <a:schemeClr val="accent2"/>
                </a:solidFill>
                <a:latin typeface="+mn-lt"/>
              </a:rPr>
              <a:t>supply rates are required</a:t>
            </a:r>
          </a:p>
          <a:p>
            <a:pPr marL="214313" indent="-214313">
              <a:lnSpc>
                <a:spcPct val="150000"/>
              </a:lnSpc>
              <a:buFont typeface="Arial" panose="020B0604020202020204" pitchFamily="34" charset="0"/>
              <a:buChar char="•"/>
            </a:pPr>
            <a:r>
              <a:rPr lang="en-GB" sz="2000" dirty="0">
                <a:solidFill>
                  <a:schemeClr val="accent2"/>
                </a:solidFill>
                <a:latin typeface="+mn-lt"/>
              </a:rPr>
              <a:t>Desirable in cases where rebreathing of </a:t>
            </a:r>
            <a:r>
              <a:rPr lang="en-GB" sz="2000" b="1" dirty="0">
                <a:solidFill>
                  <a:schemeClr val="accent2"/>
                </a:solidFill>
                <a:latin typeface="+mn-lt"/>
              </a:rPr>
              <a:t>CO2 would be detrimental,</a:t>
            </a:r>
            <a:r>
              <a:rPr lang="en-GB" sz="2000" dirty="0">
                <a:solidFill>
                  <a:schemeClr val="accent2"/>
                </a:solidFill>
                <a:latin typeface="+mn-lt"/>
              </a:rPr>
              <a:t> for example after head injury</a:t>
            </a:r>
          </a:p>
        </p:txBody>
      </p:sp>
      <p:pic>
        <p:nvPicPr>
          <p:cNvPr id="10" name="Content Placeholder 3">
            <a:extLst>
              <a:ext uri="{FF2B5EF4-FFF2-40B4-BE49-F238E27FC236}">
                <a16:creationId xmlns:a16="http://schemas.microsoft.com/office/drawing/2014/main" id="{191E829A-042C-40F7-B0D7-B984EB62CFC4}"/>
              </a:ext>
            </a:extLst>
          </p:cNvPr>
          <p:cNvPicPr>
            <a:picLocks noChangeAspect="1"/>
          </p:cNvPicPr>
          <p:nvPr/>
        </p:nvPicPr>
        <p:blipFill>
          <a:blip r:embed="rId3"/>
          <a:stretch>
            <a:fillRect/>
          </a:stretch>
        </p:blipFill>
        <p:spPr>
          <a:xfrm>
            <a:off x="5701703" y="2751587"/>
            <a:ext cx="3236735" cy="2074229"/>
          </a:xfrm>
          <a:prstGeom prst="rect">
            <a:avLst/>
          </a:prstGeom>
        </p:spPr>
      </p:pic>
    </p:spTree>
    <p:extLst>
      <p:ext uri="{BB962C8B-B14F-4D97-AF65-F5344CB8AC3E}">
        <p14:creationId xmlns:p14="http://schemas.microsoft.com/office/powerpoint/2010/main" val="3518196364"/>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901554" y="911491"/>
            <a:ext cx="7480443" cy="795099"/>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Non-Rebreathing</a:t>
            </a:r>
            <a:r>
              <a:rPr lang="en-US" sz="3600" b="1" spc="-50" dirty="0">
                <a:solidFill>
                  <a:schemeClr val="accent2">
                    <a:lumMod val="75000"/>
                  </a:schemeClr>
                </a:solidFill>
                <a:latin typeface="+mn-lt"/>
                <a:ea typeface="+mj-ea"/>
                <a:cs typeface="+mj-cs"/>
                <a:sym typeface="Arial"/>
              </a:rPr>
              <a:t> Mask</a:t>
            </a:r>
          </a:p>
        </p:txBody>
      </p:sp>
      <p:grpSp>
        <p:nvGrpSpPr>
          <p:cNvPr id="4" name="Group 3">
            <a:extLst>
              <a:ext uri="{FF2B5EF4-FFF2-40B4-BE49-F238E27FC236}">
                <a16:creationId xmlns:a16="http://schemas.microsoft.com/office/drawing/2014/main" id="{FFFFF026-A336-4B4E-B931-B880EEDC32BA}"/>
              </a:ext>
            </a:extLst>
          </p:cNvPr>
          <p:cNvGrpSpPr/>
          <p:nvPr/>
        </p:nvGrpSpPr>
        <p:grpSpPr>
          <a:xfrm>
            <a:off x="776614" y="1828799"/>
            <a:ext cx="7529187" cy="4243337"/>
            <a:chOff x="673241" y="2057400"/>
            <a:chExt cx="8013558" cy="3314948"/>
          </a:xfrm>
        </p:grpSpPr>
        <p:sp>
          <p:nvSpPr>
            <p:cNvPr id="2" name="TextBox 1">
              <a:extLst>
                <a:ext uri="{FF2B5EF4-FFF2-40B4-BE49-F238E27FC236}">
                  <a16:creationId xmlns:a16="http://schemas.microsoft.com/office/drawing/2014/main" id="{DC91B997-70D9-416E-B0E5-693BAB7C7CCA}"/>
                </a:ext>
              </a:extLst>
            </p:cNvPr>
            <p:cNvSpPr txBox="1"/>
            <p:nvPr/>
          </p:nvSpPr>
          <p:spPr>
            <a:xfrm>
              <a:off x="673241" y="2057400"/>
              <a:ext cx="3607087" cy="2559472"/>
            </a:xfrm>
            <a:prstGeom prst="rect">
              <a:avLst/>
            </a:prstGeom>
            <a:noFill/>
          </p:spPr>
          <p:txBody>
            <a:bodyPr wrap="square" rtlCol="0">
              <a:spAutoFit/>
            </a:bodyPr>
            <a:lstStyle/>
            <a:p>
              <a:pPr algn="just">
                <a:lnSpc>
                  <a:spcPct val="150000"/>
                </a:lnSpc>
              </a:pPr>
              <a:r>
                <a:rPr lang="en-GB" sz="2000" b="1" u="sng" dirty="0">
                  <a:solidFill>
                    <a:schemeClr val="accent2"/>
                  </a:solidFill>
                  <a:latin typeface="+mn-lt"/>
                </a:rPr>
                <a:t>Advantages:</a:t>
              </a:r>
            </a:p>
            <a:p>
              <a:pPr marL="342900" indent="-342900" algn="just">
                <a:lnSpc>
                  <a:spcPct val="150000"/>
                </a:lnSpc>
                <a:buFont typeface="Arial" panose="020B0604020202020204" pitchFamily="34" charset="0"/>
                <a:buChar char="•"/>
              </a:pPr>
              <a:r>
                <a:rPr lang="en-GB" sz="2000" dirty="0">
                  <a:solidFill>
                    <a:schemeClr val="accent2"/>
                  </a:solidFill>
                  <a:latin typeface="+mn-lt"/>
                </a:rPr>
                <a:t>Highest possible FiO2 without intubation</a:t>
              </a:r>
            </a:p>
            <a:p>
              <a:pPr marL="342900" indent="-342900" algn="just">
                <a:lnSpc>
                  <a:spcPct val="150000"/>
                </a:lnSpc>
                <a:buFont typeface="Arial" panose="020B0604020202020204" pitchFamily="34" charset="0"/>
                <a:buChar char="•"/>
              </a:pPr>
              <a:r>
                <a:rPr lang="en-GB" sz="2000" dirty="0">
                  <a:solidFill>
                    <a:schemeClr val="accent2"/>
                  </a:solidFill>
                  <a:latin typeface="+mn-lt"/>
                </a:rPr>
                <a:t>Suitable for spontaneously breathing patients with severe hypoxia</a:t>
              </a:r>
            </a:p>
            <a:p>
              <a:pPr marL="214313" indent="-214313" algn="just">
                <a:lnSpc>
                  <a:spcPct val="150000"/>
                </a:lnSpc>
                <a:buFont typeface="Courier New" panose="02070309020205020404" pitchFamily="49" charset="0"/>
                <a:buChar char="o"/>
              </a:pPr>
              <a:endParaRPr lang="en-GB" sz="2000" dirty="0">
                <a:solidFill>
                  <a:schemeClr val="bg2"/>
                </a:solidFill>
                <a:latin typeface="+mn-lt"/>
              </a:endParaRPr>
            </a:p>
          </p:txBody>
        </p:sp>
        <p:sp>
          <p:nvSpPr>
            <p:cNvPr id="3" name="TextBox 2">
              <a:extLst>
                <a:ext uri="{FF2B5EF4-FFF2-40B4-BE49-F238E27FC236}">
                  <a16:creationId xmlns:a16="http://schemas.microsoft.com/office/drawing/2014/main" id="{36D0F8AC-22E0-41CF-98BA-6D7604B2D844}"/>
                </a:ext>
              </a:extLst>
            </p:cNvPr>
            <p:cNvSpPr txBox="1"/>
            <p:nvPr/>
          </p:nvSpPr>
          <p:spPr>
            <a:xfrm>
              <a:off x="4635353" y="2091559"/>
              <a:ext cx="4051446" cy="3280789"/>
            </a:xfrm>
            <a:prstGeom prst="rect">
              <a:avLst/>
            </a:prstGeom>
            <a:noFill/>
          </p:spPr>
          <p:txBody>
            <a:bodyPr wrap="square" rtlCol="0">
              <a:spAutoFit/>
            </a:bodyPr>
            <a:lstStyle/>
            <a:p>
              <a:pPr algn="just">
                <a:lnSpc>
                  <a:spcPct val="150000"/>
                </a:lnSpc>
              </a:pPr>
              <a:r>
                <a:rPr lang="en-GB" sz="2000" b="1" u="sng" dirty="0">
                  <a:solidFill>
                    <a:schemeClr val="accent2"/>
                  </a:solidFill>
                  <a:latin typeface="+mn-lt"/>
                </a:rPr>
                <a:t>Disadvantages:</a:t>
              </a:r>
            </a:p>
            <a:p>
              <a:pPr marL="342900" indent="-342900" algn="just">
                <a:lnSpc>
                  <a:spcPct val="150000"/>
                </a:lnSpc>
                <a:buFont typeface="Arial" panose="020B0604020202020204" pitchFamily="34" charset="0"/>
                <a:buChar char="•"/>
              </a:pPr>
              <a:r>
                <a:rPr lang="en-GB" sz="2000" dirty="0">
                  <a:solidFill>
                    <a:schemeClr val="accent2"/>
                  </a:solidFill>
                  <a:latin typeface="+mn-lt"/>
                </a:rPr>
                <a:t>Expensive</a:t>
              </a:r>
            </a:p>
            <a:p>
              <a:pPr marL="342900" indent="-342900" algn="just">
                <a:lnSpc>
                  <a:spcPct val="150000"/>
                </a:lnSpc>
                <a:buFont typeface="Arial" panose="020B0604020202020204" pitchFamily="34" charset="0"/>
                <a:buChar char="•"/>
              </a:pPr>
              <a:r>
                <a:rPr lang="en-GB" sz="2000" dirty="0">
                  <a:solidFill>
                    <a:schemeClr val="accent2"/>
                  </a:solidFill>
                  <a:latin typeface="+mn-lt"/>
                </a:rPr>
                <a:t>Require tight seal, Uncomfortable</a:t>
              </a:r>
            </a:p>
            <a:p>
              <a:pPr marL="342900" indent="-342900" algn="just">
                <a:lnSpc>
                  <a:spcPct val="150000"/>
                </a:lnSpc>
                <a:buFont typeface="Arial" panose="020B0604020202020204" pitchFamily="34" charset="0"/>
                <a:buChar char="•"/>
              </a:pPr>
              <a:r>
                <a:rPr lang="en-GB" sz="2000" dirty="0">
                  <a:solidFill>
                    <a:schemeClr val="accent2"/>
                  </a:solidFill>
                  <a:latin typeface="+mn-lt"/>
                </a:rPr>
                <a:t>Interfere with eating and drinking</a:t>
              </a:r>
            </a:p>
            <a:p>
              <a:pPr marL="342900" indent="-342900" algn="just">
                <a:lnSpc>
                  <a:spcPct val="150000"/>
                </a:lnSpc>
                <a:buFont typeface="Arial" panose="020B0604020202020204" pitchFamily="34" charset="0"/>
                <a:buChar char="•"/>
              </a:pPr>
              <a:r>
                <a:rPr lang="en-GB" sz="2000" dirty="0">
                  <a:solidFill>
                    <a:schemeClr val="accent2"/>
                  </a:solidFill>
                  <a:latin typeface="+mn-lt"/>
                </a:rPr>
                <a:t>Not suitable for long term use</a:t>
              </a:r>
            </a:p>
            <a:p>
              <a:pPr marL="342900" indent="-342900" algn="just">
                <a:lnSpc>
                  <a:spcPct val="150000"/>
                </a:lnSpc>
                <a:buFont typeface="Arial" panose="020B0604020202020204" pitchFamily="34" charset="0"/>
                <a:buChar char="•"/>
              </a:pPr>
              <a:r>
                <a:rPr lang="en-GB" sz="2000" dirty="0">
                  <a:solidFill>
                    <a:schemeClr val="accent2"/>
                  </a:solidFill>
                  <a:latin typeface="+mn-lt"/>
                </a:rPr>
                <a:t>Malfunction can cause CO2 build-up, suffocation</a:t>
              </a:r>
              <a:endParaRPr lang="en-IN" sz="2000" dirty="0">
                <a:solidFill>
                  <a:schemeClr val="accent2"/>
                </a:solidFill>
                <a:latin typeface="+mn-lt"/>
              </a:endParaRPr>
            </a:p>
          </p:txBody>
        </p:sp>
      </p:grpSp>
      <p:cxnSp>
        <p:nvCxnSpPr>
          <p:cNvPr id="5" name="Straight Connector 4">
            <a:extLst>
              <a:ext uri="{FF2B5EF4-FFF2-40B4-BE49-F238E27FC236}">
                <a16:creationId xmlns:a16="http://schemas.microsoft.com/office/drawing/2014/main" id="{EFBAAB87-ECC6-4442-8B5F-4AE8C179A866}"/>
              </a:ext>
            </a:extLst>
          </p:cNvPr>
          <p:cNvCxnSpPr>
            <a:cxnSpLocks/>
          </p:cNvCxnSpPr>
          <p:nvPr/>
        </p:nvCxnSpPr>
        <p:spPr>
          <a:xfrm>
            <a:off x="4343400" y="2034851"/>
            <a:ext cx="0" cy="4037285"/>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724613026"/>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882868" y="736948"/>
            <a:ext cx="7543800" cy="990600"/>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sym typeface="Arial"/>
              </a:rPr>
              <a:t>High Flow Devices</a:t>
            </a:r>
          </a:p>
        </p:txBody>
      </p:sp>
      <p:sp>
        <p:nvSpPr>
          <p:cNvPr id="2" name="TextBox 1">
            <a:extLst>
              <a:ext uri="{FF2B5EF4-FFF2-40B4-BE49-F238E27FC236}">
                <a16:creationId xmlns:a16="http://schemas.microsoft.com/office/drawing/2014/main" id="{DC91B997-70D9-416E-B0E5-693BAB7C7CCA}"/>
              </a:ext>
            </a:extLst>
          </p:cNvPr>
          <p:cNvSpPr txBox="1"/>
          <p:nvPr/>
        </p:nvSpPr>
        <p:spPr>
          <a:xfrm>
            <a:off x="882868" y="1828800"/>
            <a:ext cx="7543801" cy="4446730"/>
          </a:xfrm>
          <a:prstGeom prst="rect">
            <a:avLst/>
          </a:prstGeom>
          <a:noFill/>
        </p:spPr>
        <p:txBody>
          <a:bodyPr wrap="square" rtlCol="0">
            <a:spAutoFit/>
          </a:bodyPr>
          <a:lstStyle/>
          <a:p>
            <a:pPr marL="214313" indent="-214313">
              <a:lnSpc>
                <a:spcPct val="200000"/>
              </a:lnSpc>
              <a:buFont typeface="Arial" panose="020B0604020202020204" pitchFamily="34" charset="0"/>
              <a:buChar char="•"/>
            </a:pPr>
            <a:r>
              <a:rPr lang="en-US" dirty="0">
                <a:solidFill>
                  <a:schemeClr val="accent2"/>
                </a:solidFill>
                <a:latin typeface="+mn-lt"/>
                <a:ea typeface="Times New Roman" panose="02020603050405020304" pitchFamily="18" charset="0"/>
              </a:rPr>
              <a:t>Air Entrainment Mask (Venturi)</a:t>
            </a:r>
          </a:p>
          <a:p>
            <a:pPr marL="214313" indent="-214313">
              <a:lnSpc>
                <a:spcPct val="200000"/>
              </a:lnSpc>
              <a:buFont typeface="Arial" panose="020B0604020202020204" pitchFamily="34" charset="0"/>
              <a:buChar char="•"/>
            </a:pPr>
            <a:r>
              <a:rPr lang="en-US" dirty="0">
                <a:solidFill>
                  <a:schemeClr val="accent2"/>
                </a:solidFill>
                <a:latin typeface="+mn-lt"/>
                <a:ea typeface="Times New Roman" panose="02020603050405020304" pitchFamily="18" charset="0"/>
              </a:rPr>
              <a:t>High Flow Nasal Oxygen Therapy/ High Flow Nasal Cannula</a:t>
            </a:r>
          </a:p>
          <a:p>
            <a:pPr marL="214313" indent="-214313">
              <a:lnSpc>
                <a:spcPct val="200000"/>
              </a:lnSpc>
              <a:buFont typeface="Arial" panose="020B0604020202020204" pitchFamily="34" charset="0"/>
              <a:buChar char="•"/>
            </a:pPr>
            <a:r>
              <a:rPr lang="en-US" dirty="0">
                <a:solidFill>
                  <a:schemeClr val="accent2"/>
                </a:solidFill>
                <a:latin typeface="+mn-lt"/>
                <a:ea typeface="Times New Roman" panose="02020603050405020304" pitchFamily="18" charset="0"/>
              </a:rPr>
              <a:t>NIV (Non-invasive ventilation) Masks</a:t>
            </a:r>
          </a:p>
          <a:p>
            <a:pPr marL="214313" indent="-214313">
              <a:lnSpc>
                <a:spcPct val="200000"/>
              </a:lnSpc>
              <a:buFont typeface="Arial" panose="020B0604020202020204" pitchFamily="34" charset="0"/>
              <a:buChar char="•"/>
            </a:pPr>
            <a:r>
              <a:rPr lang="en-US" dirty="0">
                <a:solidFill>
                  <a:schemeClr val="accent2"/>
                </a:solidFill>
                <a:latin typeface="+mn-lt"/>
                <a:ea typeface="Times New Roman" panose="02020603050405020304" pitchFamily="18" charset="0"/>
              </a:rPr>
              <a:t>HAFOE (High air flow with oxygen enrichment mask) systems</a:t>
            </a:r>
          </a:p>
          <a:p>
            <a:pPr marL="214313" indent="-214313">
              <a:lnSpc>
                <a:spcPct val="200000"/>
              </a:lnSpc>
              <a:buFont typeface="Arial" panose="020B0604020202020204" pitchFamily="34" charset="0"/>
              <a:buChar char="•"/>
            </a:pPr>
            <a:r>
              <a:rPr lang="en-US" dirty="0">
                <a:solidFill>
                  <a:schemeClr val="accent2"/>
                </a:solidFill>
                <a:latin typeface="+mn-lt"/>
                <a:ea typeface="Times New Roman" panose="02020603050405020304" pitchFamily="18" charset="0"/>
              </a:rPr>
              <a:t>Anesthesia circuits</a:t>
            </a:r>
          </a:p>
          <a:p>
            <a:pPr marL="214313" indent="-214313">
              <a:lnSpc>
                <a:spcPct val="200000"/>
              </a:lnSpc>
              <a:buFont typeface="Arial" panose="020B0604020202020204" pitchFamily="34" charset="0"/>
              <a:buChar char="•"/>
            </a:pPr>
            <a:r>
              <a:rPr lang="en-US" dirty="0">
                <a:solidFill>
                  <a:schemeClr val="accent2"/>
                </a:solidFill>
                <a:latin typeface="+mn-lt"/>
                <a:ea typeface="Times New Roman" panose="02020603050405020304" pitchFamily="18" charset="0"/>
              </a:rPr>
              <a:t>Ventilators</a:t>
            </a:r>
          </a:p>
          <a:p>
            <a:pPr marL="214313" indent="-214313">
              <a:lnSpc>
                <a:spcPct val="200000"/>
              </a:lnSpc>
              <a:buFontTx/>
              <a:buChar char="-"/>
            </a:pPr>
            <a:r>
              <a:rPr lang="en-US" dirty="0">
                <a:solidFill>
                  <a:schemeClr val="accent2"/>
                </a:solidFill>
                <a:latin typeface="+mn-lt"/>
              </a:rPr>
              <a:t>Non-invasive</a:t>
            </a:r>
          </a:p>
          <a:p>
            <a:pPr marL="214313" indent="-214313">
              <a:lnSpc>
                <a:spcPct val="200000"/>
              </a:lnSpc>
              <a:buFontTx/>
              <a:buChar char="-"/>
            </a:pPr>
            <a:r>
              <a:rPr lang="en-US" dirty="0">
                <a:solidFill>
                  <a:schemeClr val="accent2"/>
                </a:solidFill>
                <a:latin typeface="+mn-lt"/>
              </a:rPr>
              <a:t>Invasive</a:t>
            </a:r>
            <a:endParaRPr lang="en-IN" dirty="0">
              <a:solidFill>
                <a:schemeClr val="accent2"/>
              </a:solidFill>
              <a:latin typeface="+mn-lt"/>
            </a:endParaRPr>
          </a:p>
        </p:txBody>
      </p:sp>
    </p:spTree>
    <p:extLst>
      <p:ext uri="{BB962C8B-B14F-4D97-AF65-F5344CB8AC3E}">
        <p14:creationId xmlns:p14="http://schemas.microsoft.com/office/powerpoint/2010/main" val="22983292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16DA04-3815-40FE-9766-7E6069846286}"/>
              </a:ext>
            </a:extLst>
          </p:cNvPr>
          <p:cNvSpPr>
            <a:spLocks noGrp="1"/>
          </p:cNvSpPr>
          <p:nvPr>
            <p:ph type="title" idx="4294967295"/>
          </p:nvPr>
        </p:nvSpPr>
        <p:spPr>
          <a:xfrm>
            <a:off x="914400" y="990600"/>
            <a:ext cx="7486651" cy="674608"/>
          </a:xfrm>
        </p:spPr>
        <p:txBody>
          <a:bodyPr>
            <a:normAutofit/>
          </a:bodyPr>
          <a:lstStyle/>
          <a:p>
            <a:pPr algn="ctr" eaLnBrk="1" fontAlgn="auto" hangingPunct="1">
              <a:spcAft>
                <a:spcPts val="0"/>
              </a:spcAft>
              <a:defRPr/>
            </a:pPr>
            <a:r>
              <a:rPr lang="en-US" b="1" dirty="0">
                <a:solidFill>
                  <a:schemeClr val="accent2">
                    <a:lumMod val="75000"/>
                  </a:schemeClr>
                </a:solidFill>
                <a:latin typeface="+mn-lt"/>
              </a:rPr>
              <a:t>Training Schedule</a:t>
            </a:r>
          </a:p>
        </p:txBody>
      </p:sp>
      <p:sp>
        <p:nvSpPr>
          <p:cNvPr id="55" name="Footer Placeholder 3">
            <a:extLst>
              <a:ext uri="{FF2B5EF4-FFF2-40B4-BE49-F238E27FC236}">
                <a16:creationId xmlns:a16="http://schemas.microsoft.com/office/drawing/2014/main" id="{635886F3-1C1D-4333-89DE-A32E30015C13}"/>
              </a:ext>
            </a:extLst>
          </p:cNvPr>
          <p:cNvSpPr txBox="1">
            <a:spLocks/>
          </p:cNvSpPr>
          <p:nvPr/>
        </p:nvSpPr>
        <p:spPr>
          <a:xfrm>
            <a:off x="6431757" y="5701904"/>
            <a:ext cx="2712244" cy="273844"/>
          </a:xfrm>
          <a:prstGeom prst="rect">
            <a:avLst/>
          </a:prstGeom>
        </p:spPr>
        <p:txBody>
          <a:bodyPr vert="horz" lIns="68580" tIns="34290" rIns="68580" bIns="34290" rtlCol="0" anchor="ctr"/>
          <a:lstStyle>
            <a:defPPr>
              <a:defRPr lang="en-US"/>
            </a:defPPr>
            <a:lvl1pPr marL="0" algn="ctr" defTabSz="457200" rtl="0" eaLnBrk="1" latinLnBrk="0" hangingPunct="1">
              <a:defRPr sz="900" kern="1200" cap="all" baseline="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sz="525">
                <a:latin typeface="Gill Sans MT" panose="020B0502020104020203" pitchFamily="34" charset="0"/>
              </a:rPr>
              <a:t>Reaching Impact, Saturation, and Epidemic Control (RISE)</a:t>
            </a:r>
            <a:endParaRPr lang="en-US" sz="525" dirty="0">
              <a:latin typeface="Gill Sans MT" panose="020B0502020104020203" pitchFamily="34" charset="0"/>
            </a:endParaRPr>
          </a:p>
        </p:txBody>
      </p:sp>
      <p:graphicFrame>
        <p:nvGraphicFramePr>
          <p:cNvPr id="5" name="Table 2">
            <a:extLst>
              <a:ext uri="{FF2B5EF4-FFF2-40B4-BE49-F238E27FC236}">
                <a16:creationId xmlns:a16="http://schemas.microsoft.com/office/drawing/2014/main" id="{88665299-4B7C-4758-88A8-93E8A0FB3FF5}"/>
              </a:ext>
            </a:extLst>
          </p:cNvPr>
          <p:cNvGraphicFramePr>
            <a:graphicFrameLocks noGrp="1"/>
          </p:cNvGraphicFramePr>
          <p:nvPr>
            <p:extLst>
              <p:ext uri="{D42A27DB-BD31-4B8C-83A1-F6EECF244321}">
                <p14:modId xmlns:p14="http://schemas.microsoft.com/office/powerpoint/2010/main" val="1102339227"/>
              </p:ext>
            </p:extLst>
          </p:nvPr>
        </p:nvGraphicFramePr>
        <p:xfrm>
          <a:off x="951979" y="1851660"/>
          <a:ext cx="7449072" cy="3234820"/>
        </p:xfrm>
        <a:graphic>
          <a:graphicData uri="http://schemas.openxmlformats.org/drawingml/2006/table">
            <a:tbl>
              <a:tblPr firstRow="1" bandRow="1">
                <a:tableStyleId>{72833802-FEF1-4C79-8D5D-14CF1EAF98D9}</a:tableStyleId>
              </a:tblPr>
              <a:tblGrid>
                <a:gridCol w="572219">
                  <a:extLst>
                    <a:ext uri="{9D8B030D-6E8A-4147-A177-3AD203B41FA5}">
                      <a16:colId xmlns:a16="http://schemas.microsoft.com/office/drawing/2014/main" val="3247291208"/>
                    </a:ext>
                  </a:extLst>
                </a:gridCol>
                <a:gridCol w="3566154">
                  <a:extLst>
                    <a:ext uri="{9D8B030D-6E8A-4147-A177-3AD203B41FA5}">
                      <a16:colId xmlns:a16="http://schemas.microsoft.com/office/drawing/2014/main" val="663397003"/>
                    </a:ext>
                  </a:extLst>
                </a:gridCol>
                <a:gridCol w="2483024">
                  <a:extLst>
                    <a:ext uri="{9D8B030D-6E8A-4147-A177-3AD203B41FA5}">
                      <a16:colId xmlns:a16="http://schemas.microsoft.com/office/drawing/2014/main" val="3721491465"/>
                    </a:ext>
                  </a:extLst>
                </a:gridCol>
                <a:gridCol w="827675">
                  <a:extLst>
                    <a:ext uri="{9D8B030D-6E8A-4147-A177-3AD203B41FA5}">
                      <a16:colId xmlns:a16="http://schemas.microsoft.com/office/drawing/2014/main" val="4242103958"/>
                    </a:ext>
                  </a:extLst>
                </a:gridCol>
              </a:tblGrid>
              <a:tr h="241829">
                <a:tc>
                  <a:txBody>
                    <a:bodyPr/>
                    <a:lstStyle/>
                    <a:p>
                      <a:pPr algn="ctr"/>
                      <a:r>
                        <a:rPr lang="en-US" sz="1400" dirty="0"/>
                        <a:t>S. No.</a:t>
                      </a:r>
                    </a:p>
                  </a:txBody>
                  <a:tcPr marL="68580" marR="68580" marT="34290" marB="34290"/>
                </a:tc>
                <a:tc>
                  <a:txBody>
                    <a:bodyPr/>
                    <a:lstStyle/>
                    <a:p>
                      <a:pPr algn="ctr"/>
                      <a:r>
                        <a:rPr lang="en-US" sz="1400" dirty="0"/>
                        <a:t>Sessions</a:t>
                      </a:r>
                    </a:p>
                  </a:txBody>
                  <a:tcPr marL="68580" marR="68580" marT="34290" marB="34290"/>
                </a:tc>
                <a:tc>
                  <a:txBody>
                    <a:bodyPr/>
                    <a:lstStyle/>
                    <a:p>
                      <a:pPr algn="ctr"/>
                      <a:r>
                        <a:rPr lang="en-US" sz="1400" dirty="0"/>
                        <a:t>Methods</a:t>
                      </a:r>
                    </a:p>
                  </a:txBody>
                  <a:tcPr marL="68580" marR="68580" marT="34290" marB="34290"/>
                </a:tc>
                <a:tc>
                  <a:txBody>
                    <a:bodyPr/>
                    <a:lstStyle/>
                    <a:p>
                      <a:pPr algn="ctr"/>
                      <a:r>
                        <a:rPr lang="en-US" sz="1400" dirty="0"/>
                        <a:t>Duration</a:t>
                      </a:r>
                    </a:p>
                  </a:txBody>
                  <a:tcPr marL="68580" marR="68580" marT="34290" marB="34290"/>
                </a:tc>
                <a:extLst>
                  <a:ext uri="{0D108BD9-81ED-4DB2-BD59-A6C34878D82A}">
                    <a16:rowId xmlns:a16="http://schemas.microsoft.com/office/drawing/2014/main" val="701846142"/>
                  </a:ext>
                </a:extLst>
              </a:tr>
              <a:tr h="241829">
                <a:tc>
                  <a:txBody>
                    <a:bodyPr/>
                    <a:lstStyle/>
                    <a:p>
                      <a:endParaRPr lang="en-US" sz="1200" dirty="0"/>
                    </a:p>
                  </a:txBody>
                  <a:tcPr marL="68580" marR="68580" marT="34290" marB="34290"/>
                </a:tc>
                <a:tc>
                  <a:txBody>
                    <a:bodyPr/>
                    <a:lstStyle/>
                    <a:p>
                      <a:r>
                        <a:rPr lang="en-US" sz="1200" b="1" dirty="0"/>
                        <a:t>Tea and registration of participants</a:t>
                      </a:r>
                    </a:p>
                  </a:txBody>
                  <a:tcPr marL="68580" marR="68580" marT="34290" marB="34290"/>
                </a:tc>
                <a:tc>
                  <a:txBody>
                    <a:bodyPr/>
                    <a:lstStyle/>
                    <a:p>
                      <a:pPr algn="ctr"/>
                      <a:endParaRPr lang="en-US" sz="1200" dirty="0"/>
                    </a:p>
                  </a:txBody>
                  <a:tcPr marL="68580" marR="68580" marT="34290" marB="34290"/>
                </a:tc>
                <a:tc>
                  <a:txBody>
                    <a:bodyPr/>
                    <a:lstStyle/>
                    <a:p>
                      <a:pPr algn="ctr"/>
                      <a:endParaRPr lang="en-US" sz="1200" dirty="0"/>
                    </a:p>
                  </a:txBody>
                  <a:tcPr marL="68580" marR="68580" marT="34290" marB="34290"/>
                </a:tc>
                <a:extLst>
                  <a:ext uri="{0D108BD9-81ED-4DB2-BD59-A6C34878D82A}">
                    <a16:rowId xmlns:a16="http://schemas.microsoft.com/office/drawing/2014/main" val="2609954470"/>
                  </a:ext>
                </a:extLst>
              </a:tr>
              <a:tr h="241829">
                <a:tc>
                  <a:txBody>
                    <a:bodyPr/>
                    <a:lstStyle/>
                    <a:p>
                      <a:r>
                        <a:rPr lang="en-US" sz="1200" dirty="0"/>
                        <a:t>1</a:t>
                      </a:r>
                    </a:p>
                  </a:txBody>
                  <a:tcPr marL="68580" marR="68580" marT="34290" marB="34290"/>
                </a:tc>
                <a:tc>
                  <a:txBody>
                    <a:bodyPr/>
                    <a:lstStyle/>
                    <a:p>
                      <a:r>
                        <a:rPr lang="en-US" sz="1200" dirty="0"/>
                        <a:t>Session I: Introduction and pre-test</a:t>
                      </a:r>
                    </a:p>
                  </a:txBody>
                  <a:tcPr marL="68580" marR="68580" marT="34290" marB="34290"/>
                </a:tc>
                <a:tc>
                  <a:txBody>
                    <a:bodyPr/>
                    <a:lstStyle/>
                    <a:p>
                      <a:pPr algn="l"/>
                      <a:r>
                        <a:rPr lang="en-US" sz="1200" dirty="0"/>
                        <a:t>Group activity</a:t>
                      </a:r>
                    </a:p>
                  </a:txBody>
                  <a:tcPr marL="68580" marR="68580" marT="34290" marB="34290"/>
                </a:tc>
                <a:tc>
                  <a:txBody>
                    <a:bodyPr/>
                    <a:lstStyle/>
                    <a:p>
                      <a:pPr algn="ctr"/>
                      <a:r>
                        <a:rPr lang="en-US" sz="1200" dirty="0"/>
                        <a:t>30 mins</a:t>
                      </a:r>
                    </a:p>
                  </a:txBody>
                  <a:tcPr marL="68580" marR="68580" marT="34290" marB="34290"/>
                </a:tc>
                <a:extLst>
                  <a:ext uri="{0D108BD9-81ED-4DB2-BD59-A6C34878D82A}">
                    <a16:rowId xmlns:a16="http://schemas.microsoft.com/office/drawing/2014/main" val="2172353213"/>
                  </a:ext>
                </a:extLst>
              </a:tr>
              <a:tr h="413450">
                <a:tc>
                  <a:txBody>
                    <a:bodyPr/>
                    <a:lstStyle/>
                    <a:p>
                      <a:r>
                        <a:rPr lang="en-US" sz="1200" dirty="0"/>
                        <a:t>2</a:t>
                      </a:r>
                    </a:p>
                  </a:txBody>
                  <a:tcPr marL="68580" marR="68580" marT="34290" marB="34290"/>
                </a:tc>
                <a:tc>
                  <a:txBody>
                    <a:bodyPr/>
                    <a:lstStyle/>
                    <a:p>
                      <a:r>
                        <a:rPr lang="en-US" sz="1200" dirty="0"/>
                        <a:t>Session II: Oxygen Therapy</a:t>
                      </a:r>
                    </a:p>
                  </a:txBody>
                  <a:tcPr marL="68580" marR="68580" marT="34290" marB="34290"/>
                </a:tc>
                <a:tc>
                  <a:txBody>
                    <a:bodyPr/>
                    <a:lstStyle/>
                    <a:p>
                      <a:pPr algn="l"/>
                      <a:r>
                        <a:rPr lang="en-US" sz="1200" dirty="0"/>
                        <a:t>Presentation, and discussion</a:t>
                      </a: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60 mins</a:t>
                      </a:r>
                    </a:p>
                  </a:txBody>
                  <a:tcPr marL="68580" marR="68580" marT="34290" marB="34290"/>
                </a:tc>
                <a:extLst>
                  <a:ext uri="{0D108BD9-81ED-4DB2-BD59-A6C34878D82A}">
                    <a16:rowId xmlns:a16="http://schemas.microsoft.com/office/drawing/2014/main" val="3917642401"/>
                  </a:ext>
                </a:extLst>
              </a:tr>
              <a:tr h="413450">
                <a:tc>
                  <a:txBody>
                    <a:bodyPr/>
                    <a:lstStyle/>
                    <a:p>
                      <a:r>
                        <a:rPr lang="en-US" sz="1200" dirty="0"/>
                        <a:t>3</a:t>
                      </a:r>
                    </a:p>
                  </a:txBody>
                  <a:tcPr marL="68580" marR="68580" marT="34290" marB="34290"/>
                </a:tc>
                <a:tc>
                  <a:txBody>
                    <a:bodyPr/>
                    <a:lstStyle/>
                    <a:p>
                      <a:r>
                        <a:rPr lang="en-US" sz="1200" dirty="0"/>
                        <a:t>Session III: Oxygen delivery devices</a:t>
                      </a:r>
                    </a:p>
                  </a:txBody>
                  <a:tcPr marL="68580" marR="68580" marT="34290" marB="3429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and discussion</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marL="68580" marR="68580" marT="34290" marB="34290"/>
                </a:tc>
                <a:tc>
                  <a:txBody>
                    <a:bodyPr/>
                    <a:lstStyle/>
                    <a:p>
                      <a:pPr algn="ctr"/>
                      <a:r>
                        <a:rPr lang="en-US" sz="1200" dirty="0"/>
                        <a:t>60 mins</a:t>
                      </a:r>
                    </a:p>
                  </a:txBody>
                  <a:tcPr marL="68580" marR="68580" marT="34290" marB="34290"/>
                </a:tc>
                <a:extLst>
                  <a:ext uri="{0D108BD9-81ED-4DB2-BD59-A6C34878D82A}">
                    <a16:rowId xmlns:a16="http://schemas.microsoft.com/office/drawing/2014/main" val="193607126"/>
                  </a:ext>
                </a:extLst>
              </a:tr>
              <a:tr h="241829">
                <a:tc>
                  <a:txBody>
                    <a:bodyPr/>
                    <a:lstStyle/>
                    <a:p>
                      <a:r>
                        <a:rPr lang="en-US" sz="1200" dirty="0"/>
                        <a:t>4</a:t>
                      </a:r>
                    </a:p>
                  </a:txBody>
                  <a:tcPr marL="68580" marR="68580" marT="34290" marB="34290"/>
                </a:tc>
                <a:tc>
                  <a:txBody>
                    <a:bodyPr/>
                    <a:lstStyle/>
                    <a:p>
                      <a:r>
                        <a:rPr lang="en-US" sz="1200" dirty="0"/>
                        <a:t>Session IV: Oxygen inventory management and oxygen audit</a:t>
                      </a:r>
                    </a:p>
                  </a:txBody>
                  <a:tcPr marL="68580" marR="68580" marT="34290" marB="3429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resentation, and discussion</a:t>
                      </a:r>
                    </a:p>
                  </a:txBody>
                  <a:tcPr marL="68580" marR="68580" marT="34290" marB="34290"/>
                </a:tc>
                <a:tc>
                  <a:txBody>
                    <a:bodyPr/>
                    <a:lstStyle/>
                    <a:p>
                      <a:pPr algn="ctr"/>
                      <a:r>
                        <a:rPr lang="en-US" sz="1200" dirty="0"/>
                        <a:t>90 mins</a:t>
                      </a:r>
                    </a:p>
                  </a:txBody>
                  <a:tcPr marL="68580" marR="68580" marT="34290" marB="34290"/>
                </a:tc>
                <a:extLst>
                  <a:ext uri="{0D108BD9-81ED-4DB2-BD59-A6C34878D82A}">
                    <a16:rowId xmlns:a16="http://schemas.microsoft.com/office/drawing/2014/main" val="743387537"/>
                  </a:ext>
                </a:extLst>
              </a:tr>
              <a:tr h="241829">
                <a:tc>
                  <a:txBody>
                    <a:bodyPr/>
                    <a:lstStyle/>
                    <a:p>
                      <a:r>
                        <a:rPr lang="en-US" sz="1200" dirty="0"/>
                        <a:t>5</a:t>
                      </a:r>
                    </a:p>
                  </a:txBody>
                  <a:tcPr marL="68580" marR="68580" marT="34290" marB="34290"/>
                </a:tc>
                <a:tc>
                  <a:txBody>
                    <a:bodyPr/>
                    <a:lstStyle/>
                    <a:p>
                      <a:r>
                        <a:rPr lang="en-US" sz="1200" dirty="0"/>
                        <a:t>Session V: Medical gas handling and safety</a:t>
                      </a:r>
                    </a:p>
                  </a:txBody>
                  <a:tcPr marL="68580" marR="68580" marT="34290" marB="3429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and discussion</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marL="68580" marR="68580" marT="34290" marB="34290"/>
                </a:tc>
                <a:tc>
                  <a:txBody>
                    <a:bodyPr/>
                    <a:lstStyle/>
                    <a:p>
                      <a:pPr algn="ctr"/>
                      <a:r>
                        <a:rPr lang="en-US" sz="1200" dirty="0"/>
                        <a:t>45 mins</a:t>
                      </a:r>
                    </a:p>
                  </a:txBody>
                  <a:tcPr marL="68580" marR="68580" marT="34290" marB="34290"/>
                </a:tc>
                <a:extLst>
                  <a:ext uri="{0D108BD9-81ED-4DB2-BD59-A6C34878D82A}">
                    <a16:rowId xmlns:a16="http://schemas.microsoft.com/office/drawing/2014/main" val="778911379"/>
                  </a:ext>
                </a:extLst>
              </a:tr>
              <a:tr h="241829">
                <a:tc>
                  <a:txBody>
                    <a:bodyPr/>
                    <a:lstStyle/>
                    <a:p>
                      <a:r>
                        <a:rPr lang="en-US" sz="1200" dirty="0"/>
                        <a:t>6</a:t>
                      </a:r>
                    </a:p>
                  </a:txBody>
                  <a:tcPr marL="68580" marR="68580" marT="34290" marB="34290"/>
                </a:tc>
                <a:tc>
                  <a:txBody>
                    <a:bodyPr/>
                    <a:lstStyle/>
                    <a:p>
                      <a:r>
                        <a:rPr lang="en-US" sz="1200" dirty="0"/>
                        <a:t>Session VI: Respiratory care market and supplier landscape</a:t>
                      </a:r>
                    </a:p>
                  </a:txBody>
                  <a:tcPr marL="68580" marR="68580" marT="34290" marB="34290"/>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resentation, and discussion</a:t>
                      </a:r>
                    </a:p>
                  </a:txBody>
                  <a:tcPr marL="68580" marR="68580" marT="34290" marB="34290"/>
                </a:tc>
                <a:tc>
                  <a:txBody>
                    <a:bodyPr/>
                    <a:lstStyle/>
                    <a:p>
                      <a:pPr algn="ctr"/>
                      <a:r>
                        <a:rPr lang="en-US" sz="1200" dirty="0"/>
                        <a:t>60 mins</a:t>
                      </a:r>
                    </a:p>
                  </a:txBody>
                  <a:tcPr marL="68580" marR="68580" marT="34290" marB="34290"/>
                </a:tc>
                <a:extLst>
                  <a:ext uri="{0D108BD9-81ED-4DB2-BD59-A6C34878D82A}">
                    <a16:rowId xmlns:a16="http://schemas.microsoft.com/office/drawing/2014/main" val="112887360"/>
                  </a:ext>
                </a:extLst>
              </a:tr>
              <a:tr h="241829">
                <a:tc>
                  <a:txBody>
                    <a:bodyPr/>
                    <a:lstStyle/>
                    <a:p>
                      <a:r>
                        <a:rPr lang="en-US" sz="1200" dirty="0"/>
                        <a:t>7</a:t>
                      </a:r>
                    </a:p>
                  </a:txBody>
                  <a:tcPr marL="68580" marR="68580" marT="34290" marB="34290"/>
                </a:tc>
                <a:tc>
                  <a:txBody>
                    <a:bodyPr/>
                    <a:lstStyle/>
                    <a:p>
                      <a:r>
                        <a:rPr lang="en-US" sz="1200" dirty="0"/>
                        <a:t>Session X: Post- training assessment</a:t>
                      </a:r>
                    </a:p>
                  </a:txBody>
                  <a:tcPr marL="68580" marR="68580" marT="34290" marB="34290"/>
                </a:tc>
                <a:tc>
                  <a:txBody>
                    <a:bodyPr/>
                    <a:lstStyle/>
                    <a:p>
                      <a:pPr algn="l"/>
                      <a:r>
                        <a:rPr lang="en-US" sz="1200" dirty="0"/>
                        <a:t>Group work and Self-assessment</a:t>
                      </a:r>
                    </a:p>
                  </a:txBody>
                  <a:tcPr marL="68580" marR="68580" marT="34290" marB="34290"/>
                </a:tc>
                <a:tc>
                  <a:txBody>
                    <a:bodyPr/>
                    <a:lstStyle/>
                    <a:p>
                      <a:pPr algn="ctr"/>
                      <a:r>
                        <a:rPr lang="en-US" sz="1200" dirty="0"/>
                        <a:t>45 mins</a:t>
                      </a:r>
                    </a:p>
                  </a:txBody>
                  <a:tcPr marL="68580" marR="68580" marT="34290" marB="34290"/>
                </a:tc>
                <a:extLst>
                  <a:ext uri="{0D108BD9-81ED-4DB2-BD59-A6C34878D82A}">
                    <a16:rowId xmlns:a16="http://schemas.microsoft.com/office/drawing/2014/main" val="2092083502"/>
                  </a:ext>
                </a:extLst>
              </a:tr>
              <a:tr h="241829">
                <a:tc>
                  <a:txBody>
                    <a:bodyPr/>
                    <a:lstStyle/>
                    <a:p>
                      <a:endParaRPr lang="en-US" sz="1200" dirty="0"/>
                    </a:p>
                  </a:txBody>
                  <a:tcPr marL="68580" marR="68580" marT="34290" marB="34290"/>
                </a:tc>
                <a:tc>
                  <a:txBody>
                    <a:bodyPr/>
                    <a:lstStyle/>
                    <a:p>
                      <a:r>
                        <a:rPr lang="en-US" sz="1200" b="1" dirty="0"/>
                        <a:t>End of training</a:t>
                      </a:r>
                    </a:p>
                  </a:txBody>
                  <a:tcPr marL="68580" marR="68580" marT="34290" marB="34290"/>
                </a:tc>
                <a:tc>
                  <a:txBody>
                    <a:bodyPr/>
                    <a:lstStyle/>
                    <a:p>
                      <a:pPr algn="ctr"/>
                      <a:endParaRPr lang="en-US" sz="1200" dirty="0"/>
                    </a:p>
                  </a:txBody>
                  <a:tcPr marL="68580" marR="68580" marT="34290" marB="34290"/>
                </a:tc>
                <a:tc>
                  <a:txBody>
                    <a:bodyPr/>
                    <a:lstStyle/>
                    <a:p>
                      <a:pPr algn="ctr"/>
                      <a:endParaRPr lang="en-US" sz="1200" dirty="0"/>
                    </a:p>
                  </a:txBody>
                  <a:tcPr marL="68580" marR="68580" marT="34290" marB="34290"/>
                </a:tc>
                <a:extLst>
                  <a:ext uri="{0D108BD9-81ED-4DB2-BD59-A6C34878D82A}">
                    <a16:rowId xmlns:a16="http://schemas.microsoft.com/office/drawing/2014/main" val="2587524777"/>
                  </a:ext>
                </a:extLst>
              </a:tr>
            </a:tbl>
          </a:graphicData>
        </a:graphic>
      </p:graphicFrame>
    </p:spTree>
    <p:extLst>
      <p:ext uri="{BB962C8B-B14F-4D97-AF65-F5344CB8AC3E}">
        <p14:creationId xmlns:p14="http://schemas.microsoft.com/office/powerpoint/2010/main" val="2442475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838200" y="660365"/>
            <a:ext cx="7467599" cy="1038280"/>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Venturi Mask</a:t>
            </a:r>
            <a:endParaRPr lang="en-US" sz="3600" b="1" spc="-50" dirty="0">
              <a:solidFill>
                <a:schemeClr val="accent2">
                  <a:lumMod val="75000"/>
                </a:schemeClr>
              </a:solidFill>
              <a:latin typeface="+mn-lt"/>
              <a:ea typeface="+mj-ea"/>
              <a:cs typeface="+mj-cs"/>
              <a:sym typeface="Arial"/>
            </a:endParaRPr>
          </a:p>
        </p:txBody>
      </p:sp>
      <p:sp>
        <p:nvSpPr>
          <p:cNvPr id="3" name="TextBox 2">
            <a:extLst>
              <a:ext uri="{FF2B5EF4-FFF2-40B4-BE49-F238E27FC236}">
                <a16:creationId xmlns:a16="http://schemas.microsoft.com/office/drawing/2014/main" id="{A98C3720-2E7B-467E-BFCD-105705412255}"/>
              </a:ext>
            </a:extLst>
          </p:cNvPr>
          <p:cNvSpPr txBox="1"/>
          <p:nvPr/>
        </p:nvSpPr>
        <p:spPr>
          <a:xfrm>
            <a:off x="838200" y="1752600"/>
            <a:ext cx="7467599" cy="2971800"/>
          </a:xfrm>
          <a:prstGeom prst="rect">
            <a:avLst/>
          </a:prstGeom>
          <a:noFill/>
        </p:spPr>
        <p:txBody>
          <a:bodyPr wrap="square" rtlCol="0">
            <a:spAutoFit/>
          </a:bodyPr>
          <a:lstStyle/>
          <a:p>
            <a:pPr marL="214313" indent="-214313" algn="just">
              <a:spcBef>
                <a:spcPts val="600"/>
              </a:spcBef>
              <a:spcAft>
                <a:spcPts val="600"/>
              </a:spcAft>
              <a:buFont typeface="Arial" panose="020B0604020202020204" pitchFamily="34" charset="0"/>
              <a:buChar char="•"/>
            </a:pPr>
            <a:r>
              <a:rPr lang="en-GB" dirty="0">
                <a:solidFill>
                  <a:schemeClr val="accent2"/>
                </a:solidFill>
                <a:latin typeface="+mn-lt"/>
              </a:rPr>
              <a:t>Based on </a:t>
            </a:r>
            <a:r>
              <a:rPr lang="en-GB" b="1" dirty="0">
                <a:solidFill>
                  <a:schemeClr val="accent2"/>
                </a:solidFill>
                <a:latin typeface="+mn-lt"/>
              </a:rPr>
              <a:t>Venturi modification of Bernoulli principle</a:t>
            </a:r>
          </a:p>
          <a:p>
            <a:pPr marL="214313" indent="-214313" algn="just">
              <a:spcBef>
                <a:spcPts val="600"/>
              </a:spcBef>
              <a:spcAft>
                <a:spcPts val="600"/>
              </a:spcAft>
              <a:buFont typeface="Arial" panose="020B0604020202020204" pitchFamily="34" charset="0"/>
              <a:buChar char="•"/>
            </a:pPr>
            <a:r>
              <a:rPr lang="en-GB" dirty="0">
                <a:solidFill>
                  <a:schemeClr val="accent2"/>
                </a:solidFill>
                <a:latin typeface="+mn-lt"/>
              </a:rPr>
              <a:t>Gas flow is </a:t>
            </a:r>
            <a:r>
              <a:rPr lang="en-GB" b="1" dirty="0">
                <a:solidFill>
                  <a:schemeClr val="accent2"/>
                </a:solidFill>
                <a:latin typeface="+mn-lt"/>
              </a:rPr>
              <a:t>sufficient</a:t>
            </a:r>
            <a:r>
              <a:rPr lang="en-GB" dirty="0">
                <a:solidFill>
                  <a:schemeClr val="accent2"/>
                </a:solidFill>
                <a:latin typeface="+mn-lt"/>
              </a:rPr>
              <a:t> to meet the demands of patient</a:t>
            </a:r>
          </a:p>
          <a:p>
            <a:pPr marL="214313" indent="-214313" algn="just">
              <a:spcBef>
                <a:spcPts val="600"/>
              </a:spcBef>
              <a:spcAft>
                <a:spcPts val="600"/>
              </a:spcAft>
              <a:buFont typeface="Arial" panose="020B0604020202020204" pitchFamily="34" charset="0"/>
              <a:buChar char="•"/>
            </a:pPr>
            <a:r>
              <a:rPr lang="en-GB" dirty="0">
                <a:solidFill>
                  <a:schemeClr val="accent2"/>
                </a:solidFill>
                <a:latin typeface="+mn-lt"/>
              </a:rPr>
              <a:t>The plastic body of the mask with </a:t>
            </a:r>
            <a:r>
              <a:rPr lang="en-GB" b="1" dirty="0">
                <a:solidFill>
                  <a:schemeClr val="accent2"/>
                </a:solidFill>
                <a:latin typeface="+mn-lt"/>
              </a:rPr>
              <a:t>holes on both sides</a:t>
            </a:r>
          </a:p>
          <a:p>
            <a:pPr marL="214313" indent="-214313" algn="just">
              <a:spcBef>
                <a:spcPts val="600"/>
              </a:spcBef>
              <a:spcAft>
                <a:spcPts val="600"/>
              </a:spcAft>
              <a:buFont typeface="Arial" panose="020B0604020202020204" pitchFamily="34" charset="0"/>
              <a:buChar char="•"/>
            </a:pPr>
            <a:r>
              <a:rPr lang="en-IN" dirty="0">
                <a:solidFill>
                  <a:schemeClr val="accent2"/>
                </a:solidFill>
                <a:latin typeface="+mn-lt"/>
              </a:rPr>
              <a:t>The </a:t>
            </a:r>
            <a:r>
              <a:rPr lang="en-IN" b="1" dirty="0">
                <a:solidFill>
                  <a:schemeClr val="accent2"/>
                </a:solidFill>
                <a:latin typeface="+mn-lt"/>
              </a:rPr>
              <a:t>proximal end </a:t>
            </a:r>
            <a:r>
              <a:rPr lang="en-IN" dirty="0">
                <a:solidFill>
                  <a:schemeClr val="accent2"/>
                </a:solidFill>
                <a:latin typeface="+mn-lt"/>
              </a:rPr>
              <a:t>of the mask consists of a venturi device. The </a:t>
            </a:r>
            <a:r>
              <a:rPr lang="en-IN" b="1" dirty="0">
                <a:solidFill>
                  <a:schemeClr val="accent2"/>
                </a:solidFill>
                <a:latin typeface="+mn-lt"/>
              </a:rPr>
              <a:t>Venturi devices </a:t>
            </a:r>
            <a:r>
              <a:rPr lang="en-IN" dirty="0">
                <a:solidFill>
                  <a:schemeClr val="accent2"/>
                </a:solidFill>
                <a:latin typeface="+mn-lt"/>
              </a:rPr>
              <a:t>are color-coded and marked with the recommended oxygen flow rate to provide the desired oxygen concentration.</a:t>
            </a:r>
          </a:p>
          <a:p>
            <a:pPr marL="214313" indent="-214313" algn="just">
              <a:spcBef>
                <a:spcPts val="600"/>
              </a:spcBef>
              <a:spcAft>
                <a:spcPts val="600"/>
              </a:spcAft>
              <a:buFont typeface="Arial" panose="020B0604020202020204" pitchFamily="34" charset="0"/>
              <a:buChar char="•"/>
            </a:pPr>
            <a:r>
              <a:rPr lang="en-IN" dirty="0">
                <a:solidFill>
                  <a:schemeClr val="accent2"/>
                </a:solidFill>
                <a:latin typeface="+mn-lt"/>
              </a:rPr>
              <a:t>Alternatively, a </a:t>
            </a:r>
            <a:r>
              <a:rPr lang="en-IN" b="1" dirty="0">
                <a:solidFill>
                  <a:schemeClr val="accent2"/>
                </a:solidFill>
                <a:latin typeface="+mn-lt"/>
              </a:rPr>
              <a:t>calibrated adjustable venturi device</a:t>
            </a:r>
            <a:r>
              <a:rPr lang="en-IN" dirty="0">
                <a:solidFill>
                  <a:schemeClr val="accent2"/>
                </a:solidFill>
                <a:latin typeface="+mn-lt"/>
              </a:rPr>
              <a:t> can be used to deliver the desired FiO2</a:t>
            </a:r>
          </a:p>
        </p:txBody>
      </p:sp>
      <p:pic>
        <p:nvPicPr>
          <p:cNvPr id="9" name="Content Placeholder 3">
            <a:extLst>
              <a:ext uri="{FF2B5EF4-FFF2-40B4-BE49-F238E27FC236}">
                <a16:creationId xmlns:a16="http://schemas.microsoft.com/office/drawing/2014/main" id="{205EAC8E-5A40-49F5-8B1D-57C835E52EB6}"/>
              </a:ext>
            </a:extLst>
          </p:cNvPr>
          <p:cNvPicPr>
            <a:picLocks noChangeAspect="1"/>
          </p:cNvPicPr>
          <p:nvPr/>
        </p:nvPicPr>
        <p:blipFill rotWithShape="1">
          <a:blip r:embed="rId3"/>
          <a:srcRect t="57668" b="-12216"/>
          <a:stretch/>
        </p:blipFill>
        <p:spPr>
          <a:xfrm>
            <a:off x="4668648" y="4844362"/>
            <a:ext cx="3982848" cy="1234816"/>
          </a:xfrm>
          <a:prstGeom prst="rect">
            <a:avLst/>
          </a:prstGeom>
        </p:spPr>
      </p:pic>
      <p:pic>
        <p:nvPicPr>
          <p:cNvPr id="6" name="Content Placeholder 3">
            <a:extLst>
              <a:ext uri="{FF2B5EF4-FFF2-40B4-BE49-F238E27FC236}">
                <a16:creationId xmlns:a16="http://schemas.microsoft.com/office/drawing/2014/main" id="{AB1F6349-2AF6-4593-86EF-FD5B4548D18F}"/>
              </a:ext>
            </a:extLst>
          </p:cNvPr>
          <p:cNvPicPr>
            <a:picLocks noChangeAspect="1"/>
          </p:cNvPicPr>
          <p:nvPr/>
        </p:nvPicPr>
        <p:blipFill rotWithShape="1">
          <a:blip r:embed="rId3"/>
          <a:srcRect b="45452"/>
          <a:stretch/>
        </p:blipFill>
        <p:spPr>
          <a:xfrm>
            <a:off x="685800" y="4848537"/>
            <a:ext cx="3982848" cy="1234816"/>
          </a:xfrm>
          <a:prstGeom prst="rect">
            <a:avLst/>
          </a:prstGeom>
        </p:spPr>
      </p:pic>
    </p:spTree>
    <p:extLst>
      <p:ext uri="{BB962C8B-B14F-4D97-AF65-F5344CB8AC3E}">
        <p14:creationId xmlns:p14="http://schemas.microsoft.com/office/powerpoint/2010/main" val="292017388"/>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DB0FC0-0A20-468D-A75A-C1F1A96B18F6}"/>
              </a:ext>
            </a:extLst>
          </p:cNvPr>
          <p:cNvSpPr>
            <a:spLocks noGrp="1"/>
          </p:cNvSpPr>
          <p:nvPr>
            <p:ph type="sldNum" idx="12"/>
          </p:nvPr>
        </p:nvSpPr>
        <p:spPr/>
        <p:txBody>
          <a:bodyPr/>
          <a:lstStyle/>
          <a:p>
            <a:fld id="{00000000-1234-1234-1234-123412341234}" type="slidenum">
              <a:rPr lang="en-US" smtClean="0"/>
              <a:pPr/>
              <a:t>31</a:t>
            </a:fld>
            <a:endParaRPr lang="en-US"/>
          </a:p>
        </p:txBody>
      </p:sp>
      <p:sp>
        <p:nvSpPr>
          <p:cNvPr id="3" name="Google Shape;602;ge9eb37db0a_0_51">
            <a:extLst>
              <a:ext uri="{FF2B5EF4-FFF2-40B4-BE49-F238E27FC236}">
                <a16:creationId xmlns:a16="http://schemas.microsoft.com/office/drawing/2014/main" id="{E6BB0DD0-EA08-4B21-9523-DFFF653455D9}"/>
              </a:ext>
            </a:extLst>
          </p:cNvPr>
          <p:cNvSpPr txBox="1"/>
          <p:nvPr/>
        </p:nvSpPr>
        <p:spPr>
          <a:xfrm>
            <a:off x="990601" y="304800"/>
            <a:ext cx="7325880" cy="1375756"/>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Jet Venturi Mask Or </a:t>
            </a:r>
          </a:p>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Entrainment Mask (AEM)</a:t>
            </a:r>
            <a:endParaRPr lang="en-US" sz="3600" b="1" spc="-50" dirty="0">
              <a:solidFill>
                <a:schemeClr val="accent2">
                  <a:lumMod val="75000"/>
                </a:schemeClr>
              </a:solidFill>
              <a:latin typeface="+mn-lt"/>
              <a:ea typeface="+mj-ea"/>
              <a:cs typeface="+mj-cs"/>
              <a:sym typeface="Arial"/>
            </a:endParaRPr>
          </a:p>
        </p:txBody>
      </p:sp>
      <p:grpSp>
        <p:nvGrpSpPr>
          <p:cNvPr id="9" name="Group 8">
            <a:extLst>
              <a:ext uri="{FF2B5EF4-FFF2-40B4-BE49-F238E27FC236}">
                <a16:creationId xmlns:a16="http://schemas.microsoft.com/office/drawing/2014/main" id="{BA744C45-EB9C-4B61-9DD2-918CD6F775CC}"/>
              </a:ext>
            </a:extLst>
          </p:cNvPr>
          <p:cNvGrpSpPr/>
          <p:nvPr/>
        </p:nvGrpSpPr>
        <p:grpSpPr>
          <a:xfrm>
            <a:off x="833330" y="2438400"/>
            <a:ext cx="7483150" cy="2997946"/>
            <a:chOff x="1005375" y="1930027"/>
            <a:chExt cx="7483150" cy="2997946"/>
          </a:xfrm>
        </p:grpSpPr>
        <p:pic>
          <p:nvPicPr>
            <p:cNvPr id="7" name="Content Placeholder 3">
              <a:extLst>
                <a:ext uri="{FF2B5EF4-FFF2-40B4-BE49-F238E27FC236}">
                  <a16:creationId xmlns:a16="http://schemas.microsoft.com/office/drawing/2014/main" id="{874FAA6D-A8B0-449C-A790-F6A5D5C0B4E5}"/>
                </a:ext>
              </a:extLst>
            </p:cNvPr>
            <p:cNvPicPr>
              <a:picLocks noChangeAspect="1"/>
            </p:cNvPicPr>
            <p:nvPr/>
          </p:nvPicPr>
          <p:blipFill>
            <a:blip r:embed="rId3"/>
            <a:stretch>
              <a:fillRect/>
            </a:stretch>
          </p:blipFill>
          <p:spPr>
            <a:xfrm>
              <a:off x="1005375" y="2069522"/>
              <a:ext cx="3795225" cy="2846419"/>
            </a:xfrm>
            <a:prstGeom prst="rect">
              <a:avLst/>
            </a:prstGeom>
          </p:spPr>
        </p:pic>
        <p:pic>
          <p:nvPicPr>
            <p:cNvPr id="8" name="Content Placeholder 4">
              <a:extLst>
                <a:ext uri="{FF2B5EF4-FFF2-40B4-BE49-F238E27FC236}">
                  <a16:creationId xmlns:a16="http://schemas.microsoft.com/office/drawing/2014/main" id="{A115D0A3-A433-492B-B205-F81CEE17340C}"/>
                </a:ext>
              </a:extLst>
            </p:cNvPr>
            <p:cNvPicPr>
              <a:picLocks noChangeAspect="1"/>
            </p:cNvPicPr>
            <p:nvPr/>
          </p:nvPicPr>
          <p:blipFill>
            <a:blip r:embed="rId4"/>
            <a:stretch>
              <a:fillRect/>
            </a:stretch>
          </p:blipFill>
          <p:spPr>
            <a:xfrm>
              <a:off x="4800600" y="1930027"/>
              <a:ext cx="3687925" cy="2997946"/>
            </a:xfrm>
            <a:prstGeom prst="rect">
              <a:avLst/>
            </a:prstGeom>
          </p:spPr>
        </p:pic>
      </p:grpSp>
    </p:spTree>
    <p:extLst>
      <p:ext uri="{BB962C8B-B14F-4D97-AF65-F5344CB8AC3E}">
        <p14:creationId xmlns:p14="http://schemas.microsoft.com/office/powerpoint/2010/main" val="3854907931"/>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914400" y="418336"/>
            <a:ext cx="7391400" cy="1309212"/>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Venturi Mask</a:t>
            </a:r>
            <a:endParaRPr lang="en-US" sz="3600" b="1" spc="-50" dirty="0">
              <a:solidFill>
                <a:schemeClr val="accent2">
                  <a:lumMod val="75000"/>
                </a:schemeClr>
              </a:solidFill>
              <a:latin typeface="+mn-lt"/>
              <a:ea typeface="+mj-ea"/>
              <a:cs typeface="+mj-cs"/>
              <a:sym typeface="Arial"/>
            </a:endParaRPr>
          </a:p>
        </p:txBody>
      </p:sp>
      <p:sp>
        <p:nvSpPr>
          <p:cNvPr id="3" name="TextBox 2">
            <a:extLst>
              <a:ext uri="{FF2B5EF4-FFF2-40B4-BE49-F238E27FC236}">
                <a16:creationId xmlns:a16="http://schemas.microsoft.com/office/drawing/2014/main" id="{C9CFECC9-14F7-453B-92A6-B49E7CF55381}"/>
              </a:ext>
            </a:extLst>
          </p:cNvPr>
          <p:cNvSpPr txBox="1"/>
          <p:nvPr/>
        </p:nvSpPr>
        <p:spPr>
          <a:xfrm>
            <a:off x="914400" y="1981200"/>
            <a:ext cx="4648200" cy="4062651"/>
          </a:xfrm>
          <a:prstGeom prst="rect">
            <a:avLst/>
          </a:prstGeom>
          <a:noFill/>
        </p:spPr>
        <p:txBody>
          <a:bodyPr wrap="square" rtlCol="0">
            <a:spAutoFit/>
          </a:bodyPr>
          <a:lstStyle/>
          <a:p>
            <a:pPr marL="214313" indent="-214313" algn="just">
              <a:spcBef>
                <a:spcPts val="600"/>
              </a:spcBef>
              <a:buFont typeface="Arial" panose="020B0604020202020204" pitchFamily="34" charset="0"/>
              <a:buChar char="•"/>
            </a:pPr>
            <a:r>
              <a:rPr lang="en-GB" sz="1400" dirty="0">
                <a:solidFill>
                  <a:schemeClr val="accent2"/>
                </a:solidFill>
                <a:latin typeface="+mn-lt"/>
              </a:rPr>
              <a:t>Delivers </a:t>
            </a:r>
            <a:r>
              <a:rPr lang="en-GB" sz="1400" b="1" dirty="0">
                <a:solidFill>
                  <a:schemeClr val="accent2"/>
                </a:solidFill>
                <a:latin typeface="+mn-lt"/>
              </a:rPr>
              <a:t>fixed concentration </a:t>
            </a:r>
            <a:r>
              <a:rPr lang="en-GB" sz="1400" dirty="0">
                <a:solidFill>
                  <a:schemeClr val="accent2"/>
                </a:solidFill>
                <a:latin typeface="+mn-lt"/>
              </a:rPr>
              <a:t>of oxygen</a:t>
            </a:r>
          </a:p>
          <a:p>
            <a:pPr marL="214313" indent="-214313" algn="just">
              <a:spcBef>
                <a:spcPts val="600"/>
              </a:spcBef>
              <a:buFont typeface="Arial" panose="020B0604020202020204" pitchFamily="34" charset="0"/>
              <a:buChar char="•"/>
            </a:pPr>
            <a:r>
              <a:rPr lang="en-GB" sz="1400" dirty="0">
                <a:solidFill>
                  <a:schemeClr val="accent2"/>
                </a:solidFill>
                <a:latin typeface="+mn-lt"/>
              </a:rPr>
              <a:t>The </a:t>
            </a:r>
            <a:r>
              <a:rPr lang="en-GB" sz="1400" b="1" dirty="0">
                <a:solidFill>
                  <a:schemeClr val="accent2"/>
                </a:solidFill>
                <a:latin typeface="+mn-lt"/>
              </a:rPr>
              <a:t>size of the constriction </a:t>
            </a:r>
            <a:r>
              <a:rPr lang="en-GB" sz="1400" dirty="0">
                <a:solidFill>
                  <a:schemeClr val="accent2"/>
                </a:solidFill>
                <a:latin typeface="+mn-lt"/>
              </a:rPr>
              <a:t>determines the final concentration of oxygen for a given gas flow</a:t>
            </a:r>
          </a:p>
          <a:p>
            <a:pPr marL="214313" indent="-214313" algn="just">
              <a:spcBef>
                <a:spcPts val="600"/>
              </a:spcBef>
              <a:buFont typeface="Arial" panose="020B0604020202020204" pitchFamily="34" charset="0"/>
              <a:buChar char="•"/>
            </a:pPr>
            <a:r>
              <a:rPr lang="en-GB" sz="1400" dirty="0">
                <a:solidFill>
                  <a:schemeClr val="accent2"/>
                </a:solidFill>
                <a:latin typeface="+mn-lt"/>
              </a:rPr>
              <a:t>As forward flow of inspired gas increases, the lateral pressure adjacent and perpendicular to the vector of flow decreases, resulting in </a:t>
            </a:r>
            <a:r>
              <a:rPr lang="en-GB" sz="1400" b="1" dirty="0">
                <a:solidFill>
                  <a:schemeClr val="accent2"/>
                </a:solidFill>
                <a:latin typeface="+mn-lt"/>
              </a:rPr>
              <a:t>entrainment of gas.</a:t>
            </a:r>
          </a:p>
          <a:p>
            <a:pPr marL="214313" indent="-214313" algn="just">
              <a:spcBef>
                <a:spcPts val="600"/>
              </a:spcBef>
              <a:buFont typeface="Arial" panose="020B0604020202020204" pitchFamily="34" charset="0"/>
              <a:buChar char="•"/>
            </a:pPr>
            <a:r>
              <a:rPr lang="en-GB" sz="1400" dirty="0">
                <a:solidFill>
                  <a:schemeClr val="accent2"/>
                </a:solidFill>
                <a:latin typeface="+mn-lt"/>
              </a:rPr>
              <a:t>The smaller the orifice is, the greater the negative pressure generated, so the </a:t>
            </a:r>
            <a:r>
              <a:rPr lang="en-GB" sz="1400" b="1" dirty="0">
                <a:solidFill>
                  <a:schemeClr val="accent2"/>
                </a:solidFill>
                <a:latin typeface="+mn-lt"/>
              </a:rPr>
              <a:t>more ambient air</a:t>
            </a:r>
            <a:r>
              <a:rPr lang="en-GB" sz="1400" dirty="0">
                <a:solidFill>
                  <a:schemeClr val="accent2"/>
                </a:solidFill>
                <a:latin typeface="+mn-lt"/>
              </a:rPr>
              <a:t> entrained, the </a:t>
            </a:r>
            <a:r>
              <a:rPr lang="en-GB" sz="1400" b="1" dirty="0">
                <a:solidFill>
                  <a:schemeClr val="accent2"/>
                </a:solidFill>
                <a:latin typeface="+mn-lt"/>
              </a:rPr>
              <a:t>lower the FiO2</a:t>
            </a:r>
          </a:p>
          <a:p>
            <a:pPr marL="214313" indent="-214313" algn="just">
              <a:spcBef>
                <a:spcPts val="600"/>
              </a:spcBef>
              <a:buFont typeface="Arial" panose="020B0604020202020204" pitchFamily="34" charset="0"/>
              <a:buChar char="•"/>
            </a:pPr>
            <a:r>
              <a:rPr lang="en-GB" sz="1400" dirty="0">
                <a:solidFill>
                  <a:schemeClr val="accent2"/>
                </a:solidFill>
                <a:latin typeface="+mn-lt"/>
              </a:rPr>
              <a:t>FiO2 can be </a:t>
            </a:r>
            <a:r>
              <a:rPr lang="en-GB" sz="1400" b="1" dirty="0">
                <a:solidFill>
                  <a:schemeClr val="accent2"/>
                </a:solidFill>
                <a:latin typeface="+mn-lt"/>
              </a:rPr>
              <a:t>0.24, 0.28,</a:t>
            </a:r>
            <a:r>
              <a:rPr lang="en-IN" sz="1400" b="1" dirty="0">
                <a:solidFill>
                  <a:schemeClr val="accent2"/>
                </a:solidFill>
                <a:latin typeface="+mn-lt"/>
              </a:rPr>
              <a:t> 0.31, 0.35, 0.4, 0.6</a:t>
            </a:r>
          </a:p>
          <a:p>
            <a:pPr marL="214313" indent="-214313" algn="just">
              <a:spcBef>
                <a:spcPts val="600"/>
              </a:spcBef>
              <a:buFont typeface="Arial" panose="020B0604020202020204" pitchFamily="34" charset="0"/>
              <a:buChar char="•"/>
            </a:pPr>
            <a:r>
              <a:rPr lang="en-IN" sz="1400" dirty="0">
                <a:solidFill>
                  <a:schemeClr val="accent2"/>
                </a:solidFill>
                <a:latin typeface="+mn-lt"/>
              </a:rPr>
              <a:t>Because of the high fresh gas flow rate, the exhaled gases are </a:t>
            </a:r>
            <a:r>
              <a:rPr lang="en-IN" sz="1400" b="1" dirty="0">
                <a:solidFill>
                  <a:schemeClr val="accent2"/>
                </a:solidFill>
                <a:latin typeface="+mn-lt"/>
              </a:rPr>
              <a:t>rapidly flushed</a:t>
            </a:r>
            <a:r>
              <a:rPr lang="en-IN" sz="1400" dirty="0">
                <a:solidFill>
                  <a:schemeClr val="accent2"/>
                </a:solidFill>
                <a:latin typeface="+mn-lt"/>
              </a:rPr>
              <a:t> from the mask, via its holes. </a:t>
            </a:r>
          </a:p>
          <a:p>
            <a:pPr marL="214313" indent="-214313" algn="just">
              <a:spcBef>
                <a:spcPts val="600"/>
              </a:spcBef>
              <a:buFont typeface="Arial" panose="020B0604020202020204" pitchFamily="34" charset="0"/>
              <a:buChar char="•"/>
            </a:pPr>
            <a:r>
              <a:rPr lang="en-IN" sz="1400" dirty="0">
                <a:solidFill>
                  <a:schemeClr val="accent2"/>
                </a:solidFill>
                <a:latin typeface="+mn-lt"/>
              </a:rPr>
              <a:t>These masks are recommended when a </a:t>
            </a:r>
            <a:r>
              <a:rPr lang="en-IN" sz="1400" b="1" dirty="0">
                <a:solidFill>
                  <a:schemeClr val="accent2"/>
                </a:solidFill>
                <a:latin typeface="+mn-lt"/>
              </a:rPr>
              <a:t>fixed oxygen concentration is desired</a:t>
            </a:r>
            <a:r>
              <a:rPr lang="en-IN" sz="1400" dirty="0">
                <a:solidFill>
                  <a:schemeClr val="accent2"/>
                </a:solidFill>
                <a:latin typeface="+mn-lt"/>
              </a:rPr>
              <a:t> in patients whose ventilation is dependent on the hypoxic drive. </a:t>
            </a:r>
          </a:p>
          <a:p>
            <a:pPr marL="214313" indent="-214313">
              <a:buFont typeface="Arial" panose="020B0604020202020204" pitchFamily="34" charset="0"/>
              <a:buChar char="•"/>
            </a:pPr>
            <a:endParaRPr lang="en-GB" sz="1600" dirty="0">
              <a:latin typeface="+mn-lt"/>
            </a:endParaRPr>
          </a:p>
        </p:txBody>
      </p:sp>
      <p:pic>
        <p:nvPicPr>
          <p:cNvPr id="7" name="Content Placeholder 3">
            <a:extLst>
              <a:ext uri="{FF2B5EF4-FFF2-40B4-BE49-F238E27FC236}">
                <a16:creationId xmlns:a16="http://schemas.microsoft.com/office/drawing/2014/main" id="{E563F126-B85B-436A-9254-F504F15749B9}"/>
              </a:ext>
            </a:extLst>
          </p:cNvPr>
          <p:cNvPicPr>
            <a:picLocks noChangeAspect="1"/>
          </p:cNvPicPr>
          <p:nvPr/>
        </p:nvPicPr>
        <p:blipFill rotWithShape="1">
          <a:blip r:embed="rId3"/>
          <a:srcRect r="50030" b="62297"/>
          <a:stretch/>
        </p:blipFill>
        <p:spPr>
          <a:xfrm>
            <a:off x="5715000" y="1932983"/>
            <a:ext cx="2743200" cy="1530729"/>
          </a:xfrm>
          <a:prstGeom prst="rect">
            <a:avLst/>
          </a:prstGeom>
        </p:spPr>
      </p:pic>
      <p:pic>
        <p:nvPicPr>
          <p:cNvPr id="8" name="Content Placeholder 3">
            <a:extLst>
              <a:ext uri="{FF2B5EF4-FFF2-40B4-BE49-F238E27FC236}">
                <a16:creationId xmlns:a16="http://schemas.microsoft.com/office/drawing/2014/main" id="{8165B5F6-68F9-49C0-8211-2F621A01331B}"/>
              </a:ext>
            </a:extLst>
          </p:cNvPr>
          <p:cNvPicPr>
            <a:picLocks noChangeAspect="1"/>
          </p:cNvPicPr>
          <p:nvPr/>
        </p:nvPicPr>
        <p:blipFill rotWithShape="1">
          <a:blip r:embed="rId3"/>
          <a:srcRect t="37660"/>
          <a:stretch/>
        </p:blipFill>
        <p:spPr>
          <a:xfrm>
            <a:off x="5410200" y="4912910"/>
            <a:ext cx="3352800" cy="1442172"/>
          </a:xfrm>
          <a:prstGeom prst="rect">
            <a:avLst/>
          </a:prstGeom>
        </p:spPr>
      </p:pic>
      <p:pic>
        <p:nvPicPr>
          <p:cNvPr id="9" name="Content Placeholder 3">
            <a:extLst>
              <a:ext uri="{FF2B5EF4-FFF2-40B4-BE49-F238E27FC236}">
                <a16:creationId xmlns:a16="http://schemas.microsoft.com/office/drawing/2014/main" id="{0E771556-C368-405C-A370-ABC4E49D21BA}"/>
              </a:ext>
            </a:extLst>
          </p:cNvPr>
          <p:cNvPicPr>
            <a:picLocks noChangeAspect="1"/>
          </p:cNvPicPr>
          <p:nvPr/>
        </p:nvPicPr>
        <p:blipFill rotWithShape="1">
          <a:blip r:embed="rId3"/>
          <a:srcRect l="48163" t="326" r="1867" b="61971"/>
          <a:stretch/>
        </p:blipFill>
        <p:spPr>
          <a:xfrm>
            <a:off x="5715000" y="3382182"/>
            <a:ext cx="2743200" cy="1530728"/>
          </a:xfrm>
          <a:prstGeom prst="rect">
            <a:avLst/>
          </a:prstGeom>
        </p:spPr>
      </p:pic>
    </p:spTree>
    <p:extLst>
      <p:ext uri="{BB962C8B-B14F-4D97-AF65-F5344CB8AC3E}">
        <p14:creationId xmlns:p14="http://schemas.microsoft.com/office/powerpoint/2010/main" val="2689446371"/>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602;ge9eb37db0a_0_51">
            <a:extLst>
              <a:ext uri="{FF2B5EF4-FFF2-40B4-BE49-F238E27FC236}">
                <a16:creationId xmlns:a16="http://schemas.microsoft.com/office/drawing/2014/main" id="{7BF5EE0C-7E5B-4FA1-9E16-BE0A71FF0569}"/>
              </a:ext>
            </a:extLst>
          </p:cNvPr>
          <p:cNvSpPr txBox="1"/>
          <p:nvPr/>
        </p:nvSpPr>
        <p:spPr>
          <a:xfrm>
            <a:off x="914400" y="584548"/>
            <a:ext cx="7467600" cy="1143000"/>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Calibri" panose="020F0502020204030204" pitchFamily="34" charset="0"/>
                <a:ea typeface="+mj-ea"/>
                <a:cs typeface="+mj-cs"/>
              </a:rPr>
              <a:t>Venturi Mask Combinations</a:t>
            </a:r>
            <a:endParaRPr lang="en-US" sz="3600" b="1" spc="-50" dirty="0">
              <a:solidFill>
                <a:schemeClr val="accent2">
                  <a:lumMod val="75000"/>
                </a:schemeClr>
              </a:solidFill>
              <a:latin typeface="Calibri" panose="020F0502020204030204" pitchFamily="34" charset="0"/>
              <a:ea typeface="+mj-ea"/>
              <a:cs typeface="+mj-cs"/>
              <a:sym typeface="Arial"/>
            </a:endParaRPr>
          </a:p>
        </p:txBody>
      </p:sp>
      <p:pic>
        <p:nvPicPr>
          <p:cNvPr id="7" name="Content Placeholder 3">
            <a:extLst>
              <a:ext uri="{FF2B5EF4-FFF2-40B4-BE49-F238E27FC236}">
                <a16:creationId xmlns:a16="http://schemas.microsoft.com/office/drawing/2014/main" id="{CAE9D0B6-7D9C-4E52-A390-A4A0073DAA6B}"/>
              </a:ext>
            </a:extLst>
          </p:cNvPr>
          <p:cNvPicPr>
            <a:picLocks noChangeAspect="1"/>
          </p:cNvPicPr>
          <p:nvPr/>
        </p:nvPicPr>
        <p:blipFill>
          <a:blip r:embed="rId2"/>
          <a:stretch>
            <a:fillRect/>
          </a:stretch>
        </p:blipFill>
        <p:spPr>
          <a:xfrm>
            <a:off x="5025292" y="2133599"/>
            <a:ext cx="3545025" cy="3161055"/>
          </a:xfrm>
          <a:prstGeom prst="rect">
            <a:avLst/>
          </a:prstGeom>
        </p:spPr>
      </p:pic>
      <p:sp>
        <p:nvSpPr>
          <p:cNvPr id="3" name="TextBox 2">
            <a:extLst>
              <a:ext uri="{FF2B5EF4-FFF2-40B4-BE49-F238E27FC236}">
                <a16:creationId xmlns:a16="http://schemas.microsoft.com/office/drawing/2014/main" id="{468128C3-176F-421A-8F0F-ED2035B366D0}"/>
              </a:ext>
            </a:extLst>
          </p:cNvPr>
          <p:cNvSpPr txBox="1"/>
          <p:nvPr/>
        </p:nvSpPr>
        <p:spPr>
          <a:xfrm>
            <a:off x="0" y="6019800"/>
            <a:ext cx="4436703" cy="261610"/>
          </a:xfrm>
          <a:prstGeom prst="rect">
            <a:avLst/>
          </a:prstGeom>
          <a:noFill/>
        </p:spPr>
        <p:txBody>
          <a:bodyPr wrap="square" rtlCol="0">
            <a:spAutoFit/>
          </a:bodyPr>
          <a:lstStyle/>
          <a:p>
            <a:r>
              <a:rPr lang="en-IN" sz="1100" dirty="0">
                <a:latin typeface="Calibri" panose="020F0502020204030204" pitchFamily="34" charset="0"/>
              </a:rPr>
              <a:t>Image reference: https://www.youtube.com/watch?v=W2mbRyTt_7k</a:t>
            </a:r>
          </a:p>
        </p:txBody>
      </p:sp>
      <p:pic>
        <p:nvPicPr>
          <p:cNvPr id="10" name="Picture 9">
            <a:extLst>
              <a:ext uri="{FF2B5EF4-FFF2-40B4-BE49-F238E27FC236}">
                <a16:creationId xmlns:a16="http://schemas.microsoft.com/office/drawing/2014/main" id="{F2D2FE5B-F162-448D-84DF-3247B7F4FADF}"/>
              </a:ext>
            </a:extLst>
          </p:cNvPr>
          <p:cNvPicPr>
            <a:picLocks noChangeAspect="1"/>
          </p:cNvPicPr>
          <p:nvPr/>
        </p:nvPicPr>
        <p:blipFill rotWithShape="1">
          <a:blip r:embed="rId3">
            <a:clrChange>
              <a:clrFrom>
                <a:srgbClr val="28D65B"/>
              </a:clrFrom>
              <a:clrTo>
                <a:srgbClr val="28D65B">
                  <a:alpha val="0"/>
                </a:srgbClr>
              </a:clrTo>
            </a:clrChange>
          </a:blip>
          <a:srcRect l="5588" r="5330"/>
          <a:stretch/>
        </p:blipFill>
        <p:spPr>
          <a:xfrm>
            <a:off x="865551" y="2286000"/>
            <a:ext cx="4159741" cy="2626641"/>
          </a:xfrm>
          <a:prstGeom prst="rect">
            <a:avLst/>
          </a:prstGeom>
          <a:ln>
            <a:noFill/>
          </a:ln>
        </p:spPr>
      </p:pic>
    </p:spTree>
    <p:extLst>
      <p:ext uri="{BB962C8B-B14F-4D97-AF65-F5344CB8AC3E}">
        <p14:creationId xmlns:p14="http://schemas.microsoft.com/office/powerpoint/2010/main" val="497309314"/>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861848" y="872358"/>
            <a:ext cx="7443948" cy="879455"/>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Venturi Mask</a:t>
            </a:r>
            <a:endParaRPr lang="en-US" sz="3600" b="1" spc="-50" dirty="0">
              <a:solidFill>
                <a:schemeClr val="accent2">
                  <a:lumMod val="75000"/>
                </a:schemeClr>
              </a:solidFill>
              <a:latin typeface="+mn-lt"/>
              <a:ea typeface="+mj-ea"/>
              <a:cs typeface="+mj-cs"/>
              <a:sym typeface="Arial"/>
            </a:endParaRPr>
          </a:p>
        </p:txBody>
      </p:sp>
      <p:grpSp>
        <p:nvGrpSpPr>
          <p:cNvPr id="4" name="Group 3">
            <a:extLst>
              <a:ext uri="{FF2B5EF4-FFF2-40B4-BE49-F238E27FC236}">
                <a16:creationId xmlns:a16="http://schemas.microsoft.com/office/drawing/2014/main" id="{DF27EF6C-D898-4FA8-8325-C077FA29ADD9}"/>
              </a:ext>
            </a:extLst>
          </p:cNvPr>
          <p:cNvGrpSpPr/>
          <p:nvPr/>
        </p:nvGrpSpPr>
        <p:grpSpPr>
          <a:xfrm>
            <a:off x="914402" y="1752599"/>
            <a:ext cx="7778966" cy="4247317"/>
            <a:chOff x="1108939" y="1752600"/>
            <a:chExt cx="7310445" cy="4107477"/>
          </a:xfrm>
        </p:grpSpPr>
        <p:sp>
          <p:nvSpPr>
            <p:cNvPr id="3" name="TextBox 2">
              <a:extLst>
                <a:ext uri="{FF2B5EF4-FFF2-40B4-BE49-F238E27FC236}">
                  <a16:creationId xmlns:a16="http://schemas.microsoft.com/office/drawing/2014/main" id="{C9CFECC9-14F7-453B-92A6-B49E7CF55381}"/>
                </a:ext>
              </a:extLst>
            </p:cNvPr>
            <p:cNvSpPr txBox="1"/>
            <p:nvPr/>
          </p:nvSpPr>
          <p:spPr>
            <a:xfrm>
              <a:off x="1108939" y="1752600"/>
              <a:ext cx="3437303" cy="4107477"/>
            </a:xfrm>
            <a:prstGeom prst="rect">
              <a:avLst/>
            </a:prstGeom>
            <a:noFill/>
          </p:spPr>
          <p:txBody>
            <a:bodyPr wrap="square" rtlCol="0">
              <a:spAutoFit/>
            </a:bodyPr>
            <a:lstStyle/>
            <a:p>
              <a:pPr algn="just">
                <a:spcBef>
                  <a:spcPts val="600"/>
                </a:spcBef>
                <a:spcAft>
                  <a:spcPts val="600"/>
                </a:spcAft>
              </a:pPr>
              <a:r>
                <a:rPr lang="en-IN" sz="2000" b="1" u="sng" dirty="0">
                  <a:solidFill>
                    <a:schemeClr val="accent2"/>
                  </a:solidFill>
                  <a:latin typeface="+mn-lt"/>
                </a:rPr>
                <a:t>Advantages:</a:t>
              </a:r>
            </a:p>
            <a:p>
              <a:pPr marL="342900" indent="-342900" algn="just">
                <a:spcBef>
                  <a:spcPts val="600"/>
                </a:spcBef>
                <a:spcAft>
                  <a:spcPts val="600"/>
                </a:spcAft>
                <a:buFont typeface="Arial" panose="020B0604020202020204" pitchFamily="34" charset="0"/>
                <a:buChar char="•"/>
              </a:pPr>
              <a:r>
                <a:rPr lang="en-IN" sz="2000" dirty="0">
                  <a:solidFill>
                    <a:schemeClr val="accent2"/>
                  </a:solidFill>
                  <a:latin typeface="+mn-lt"/>
                </a:rPr>
                <a:t>Fine control of FiO2 at fixed flow</a:t>
              </a:r>
            </a:p>
            <a:p>
              <a:pPr marL="342900" indent="-342900" algn="just">
                <a:spcBef>
                  <a:spcPts val="600"/>
                </a:spcBef>
                <a:spcAft>
                  <a:spcPts val="600"/>
                </a:spcAft>
                <a:buFont typeface="Arial" panose="020B0604020202020204" pitchFamily="34" charset="0"/>
                <a:buChar char="•"/>
              </a:pPr>
              <a:r>
                <a:rPr lang="en-IN" sz="2000" dirty="0">
                  <a:solidFill>
                    <a:schemeClr val="accent2"/>
                  </a:solidFill>
                  <a:latin typeface="+mn-lt"/>
                </a:rPr>
                <a:t>Fixed, reliable, and precise FiO2</a:t>
              </a:r>
            </a:p>
            <a:p>
              <a:pPr marL="342900" indent="-342900" algn="just">
                <a:spcBef>
                  <a:spcPts val="600"/>
                </a:spcBef>
                <a:spcAft>
                  <a:spcPts val="600"/>
                </a:spcAft>
                <a:buFont typeface="Arial" panose="020B0604020202020204" pitchFamily="34" charset="0"/>
                <a:buChar char="•"/>
              </a:pPr>
              <a:r>
                <a:rPr lang="en-IN" sz="2000" dirty="0">
                  <a:solidFill>
                    <a:schemeClr val="accent2"/>
                  </a:solidFill>
                  <a:latin typeface="+mn-lt"/>
                </a:rPr>
                <a:t>High flow comes from the air, saving the oxygen cost</a:t>
              </a:r>
            </a:p>
            <a:p>
              <a:pPr marL="342900" indent="-342900" algn="just">
                <a:spcBef>
                  <a:spcPts val="600"/>
                </a:spcBef>
                <a:spcAft>
                  <a:spcPts val="600"/>
                </a:spcAft>
                <a:buFont typeface="Arial" panose="020B0604020202020204" pitchFamily="34" charset="0"/>
                <a:buChar char="•"/>
              </a:pPr>
              <a:r>
                <a:rPr lang="en-IN" sz="2000" dirty="0">
                  <a:solidFill>
                    <a:schemeClr val="accent2"/>
                  </a:solidFill>
                  <a:latin typeface="+mn-lt"/>
                </a:rPr>
                <a:t>Can be used for low FiO2 also</a:t>
              </a:r>
            </a:p>
            <a:p>
              <a:pPr marL="342900" indent="-342900" algn="just">
                <a:spcBef>
                  <a:spcPts val="600"/>
                </a:spcBef>
                <a:spcAft>
                  <a:spcPts val="600"/>
                </a:spcAft>
                <a:buFont typeface="Arial" panose="020B0604020202020204" pitchFamily="34" charset="0"/>
                <a:buChar char="•"/>
              </a:pPr>
              <a:r>
                <a:rPr lang="en-IN" sz="2000" dirty="0">
                  <a:solidFill>
                    <a:schemeClr val="accent2"/>
                  </a:solidFill>
                  <a:latin typeface="+mn-lt"/>
                </a:rPr>
                <a:t>Helps in deciding whether the oxygen requirement is increasing or decreasing</a:t>
              </a:r>
            </a:p>
          </p:txBody>
        </p:sp>
        <p:sp>
          <p:nvSpPr>
            <p:cNvPr id="2" name="TextBox 1">
              <a:extLst>
                <a:ext uri="{FF2B5EF4-FFF2-40B4-BE49-F238E27FC236}">
                  <a16:creationId xmlns:a16="http://schemas.microsoft.com/office/drawing/2014/main" id="{B821D934-0D5A-4E8D-A737-2E8C95C978DB}"/>
                </a:ext>
              </a:extLst>
            </p:cNvPr>
            <p:cNvSpPr txBox="1"/>
            <p:nvPr/>
          </p:nvSpPr>
          <p:spPr>
            <a:xfrm>
              <a:off x="5089494" y="1873985"/>
              <a:ext cx="3329890" cy="2939266"/>
            </a:xfrm>
            <a:prstGeom prst="rect">
              <a:avLst/>
            </a:prstGeom>
            <a:noFill/>
          </p:spPr>
          <p:txBody>
            <a:bodyPr wrap="square" rtlCol="0">
              <a:spAutoFit/>
            </a:bodyPr>
            <a:lstStyle/>
            <a:p>
              <a:pPr algn="just">
                <a:spcBef>
                  <a:spcPts val="600"/>
                </a:spcBef>
                <a:spcAft>
                  <a:spcPts val="600"/>
                </a:spcAft>
              </a:pPr>
              <a:r>
                <a:rPr lang="en-IN" sz="2000" b="1" u="sng" dirty="0">
                  <a:solidFill>
                    <a:schemeClr val="accent2"/>
                  </a:solidFill>
                  <a:latin typeface="+mn-lt"/>
                </a:rPr>
                <a:t>Disadvantages:</a:t>
              </a:r>
            </a:p>
            <a:p>
              <a:pPr marL="342900" indent="-342900" algn="just">
                <a:spcBef>
                  <a:spcPts val="600"/>
                </a:spcBef>
                <a:spcAft>
                  <a:spcPts val="600"/>
                </a:spcAft>
                <a:buFont typeface="Arial" panose="020B0604020202020204" pitchFamily="34" charset="0"/>
                <a:buChar char="•"/>
              </a:pPr>
              <a:r>
                <a:rPr lang="en-IN" sz="2000" dirty="0">
                  <a:solidFill>
                    <a:schemeClr val="accent2"/>
                  </a:solidFill>
                  <a:latin typeface="+mn-lt"/>
                </a:rPr>
                <a:t>Uncomfortable</a:t>
              </a:r>
            </a:p>
            <a:p>
              <a:pPr marL="342900" indent="-342900" algn="just">
                <a:spcBef>
                  <a:spcPts val="600"/>
                </a:spcBef>
                <a:spcAft>
                  <a:spcPts val="600"/>
                </a:spcAft>
                <a:buFont typeface="Arial" panose="020B0604020202020204" pitchFamily="34" charset="0"/>
                <a:buChar char="•"/>
              </a:pPr>
              <a:r>
                <a:rPr lang="en-IN" sz="2000" dirty="0">
                  <a:solidFill>
                    <a:schemeClr val="accent2"/>
                  </a:solidFill>
                  <a:latin typeface="+mn-lt"/>
                </a:rPr>
                <a:t>Expensive (400-600)</a:t>
              </a:r>
            </a:p>
            <a:p>
              <a:pPr marL="342900" indent="-342900" algn="just">
                <a:spcBef>
                  <a:spcPts val="600"/>
                </a:spcBef>
                <a:spcAft>
                  <a:spcPts val="600"/>
                </a:spcAft>
                <a:buFont typeface="Arial" panose="020B0604020202020204" pitchFamily="34" charset="0"/>
                <a:buChar char="•"/>
              </a:pPr>
              <a:r>
                <a:rPr lang="en-IN" sz="2000" dirty="0">
                  <a:solidFill>
                    <a:schemeClr val="accent2"/>
                  </a:solidFill>
                  <a:latin typeface="+mn-lt"/>
                </a:rPr>
                <a:t>Cannot deliver high FiO2</a:t>
              </a:r>
            </a:p>
            <a:p>
              <a:pPr marL="342900" indent="-342900" algn="just">
                <a:spcBef>
                  <a:spcPts val="600"/>
                </a:spcBef>
                <a:spcAft>
                  <a:spcPts val="600"/>
                </a:spcAft>
                <a:buFont typeface="Arial" panose="020B0604020202020204" pitchFamily="34" charset="0"/>
                <a:buChar char="•"/>
              </a:pPr>
              <a:r>
                <a:rPr lang="en-IN" sz="2000" dirty="0">
                  <a:solidFill>
                    <a:schemeClr val="accent2"/>
                  </a:solidFill>
                  <a:latin typeface="+mn-lt"/>
                </a:rPr>
                <a:t>Interfere with eating and drinking </a:t>
              </a:r>
            </a:p>
            <a:p>
              <a:endParaRPr lang="en-IN" sz="2000" dirty="0">
                <a:latin typeface="+mn-lt"/>
              </a:endParaRPr>
            </a:p>
          </p:txBody>
        </p:sp>
      </p:grpSp>
      <p:cxnSp>
        <p:nvCxnSpPr>
          <p:cNvPr id="7" name="Straight Connector 6">
            <a:extLst>
              <a:ext uri="{FF2B5EF4-FFF2-40B4-BE49-F238E27FC236}">
                <a16:creationId xmlns:a16="http://schemas.microsoft.com/office/drawing/2014/main" id="{77CF61E4-AF66-4D0E-AF52-BB10420AD888}"/>
              </a:ext>
            </a:extLst>
          </p:cNvPr>
          <p:cNvCxnSpPr>
            <a:cxnSpLocks/>
          </p:cNvCxnSpPr>
          <p:nvPr/>
        </p:nvCxnSpPr>
        <p:spPr>
          <a:xfrm>
            <a:off x="4847573" y="2054268"/>
            <a:ext cx="29227" cy="4194132"/>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617606207"/>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838200" y="1066800"/>
            <a:ext cx="7467600" cy="685800"/>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sym typeface="Arial"/>
              </a:rPr>
              <a:t>High Flow Nasal Cannula</a:t>
            </a:r>
          </a:p>
        </p:txBody>
      </p:sp>
      <p:sp>
        <p:nvSpPr>
          <p:cNvPr id="3" name="TextBox 2">
            <a:extLst>
              <a:ext uri="{FF2B5EF4-FFF2-40B4-BE49-F238E27FC236}">
                <a16:creationId xmlns:a16="http://schemas.microsoft.com/office/drawing/2014/main" id="{C9CFECC9-14F7-453B-92A6-B49E7CF55381}"/>
              </a:ext>
            </a:extLst>
          </p:cNvPr>
          <p:cNvSpPr txBox="1"/>
          <p:nvPr/>
        </p:nvSpPr>
        <p:spPr>
          <a:xfrm>
            <a:off x="795689" y="1828800"/>
            <a:ext cx="4716219" cy="4701543"/>
          </a:xfrm>
          <a:prstGeom prst="rect">
            <a:avLst/>
          </a:prstGeom>
          <a:noFill/>
        </p:spPr>
        <p:txBody>
          <a:bodyPr wrap="square" rtlCol="0">
            <a:spAutoFit/>
          </a:bodyPr>
          <a:lstStyle/>
          <a:p>
            <a:pPr marL="214313" indent="-214313" algn="just">
              <a:lnSpc>
                <a:spcPct val="150000"/>
              </a:lnSpc>
              <a:spcBef>
                <a:spcPts val="600"/>
              </a:spcBef>
              <a:spcAft>
                <a:spcPts val="600"/>
              </a:spcAft>
              <a:buFont typeface="Arial" panose="020B0604020202020204" pitchFamily="34" charset="0"/>
              <a:buChar char="•"/>
            </a:pPr>
            <a:r>
              <a:rPr lang="en-GB" dirty="0">
                <a:solidFill>
                  <a:schemeClr val="accent2"/>
                </a:solidFill>
                <a:latin typeface="+mn-lt"/>
              </a:rPr>
              <a:t>Delivers </a:t>
            </a:r>
            <a:r>
              <a:rPr lang="en-GB" b="1" dirty="0">
                <a:solidFill>
                  <a:schemeClr val="accent2"/>
                </a:solidFill>
                <a:latin typeface="+mn-lt"/>
              </a:rPr>
              <a:t>heated and humidified oxygen </a:t>
            </a:r>
            <a:r>
              <a:rPr lang="en-GB" dirty="0">
                <a:solidFill>
                  <a:schemeClr val="accent2"/>
                </a:solidFill>
                <a:latin typeface="+mn-lt"/>
              </a:rPr>
              <a:t>via special devices (</a:t>
            </a:r>
            <a:r>
              <a:rPr lang="en-GB" dirty="0" err="1">
                <a:solidFill>
                  <a:schemeClr val="accent2"/>
                </a:solidFill>
                <a:latin typeface="+mn-lt"/>
              </a:rPr>
              <a:t>eg</a:t>
            </a:r>
            <a:r>
              <a:rPr lang="en-GB" dirty="0">
                <a:solidFill>
                  <a:schemeClr val="accent2"/>
                </a:solidFill>
                <a:latin typeface="+mn-lt"/>
              </a:rPr>
              <a:t>, </a:t>
            </a:r>
            <a:r>
              <a:rPr lang="en-GB" dirty="0" err="1">
                <a:solidFill>
                  <a:schemeClr val="accent2"/>
                </a:solidFill>
                <a:latin typeface="+mn-lt"/>
              </a:rPr>
              <a:t>Vapotherm</a:t>
            </a:r>
            <a:r>
              <a:rPr lang="en-GB" dirty="0">
                <a:solidFill>
                  <a:schemeClr val="accent2"/>
                </a:solidFill>
                <a:latin typeface="+mn-lt"/>
              </a:rPr>
              <a:t>)</a:t>
            </a:r>
          </a:p>
          <a:p>
            <a:pPr marL="214313" indent="-214313" algn="just">
              <a:lnSpc>
                <a:spcPct val="150000"/>
              </a:lnSpc>
              <a:spcBef>
                <a:spcPts val="600"/>
              </a:spcBef>
              <a:spcAft>
                <a:spcPts val="600"/>
              </a:spcAft>
              <a:buFont typeface="Arial" panose="020B0604020202020204" pitchFamily="34" charset="0"/>
              <a:buChar char="•"/>
            </a:pPr>
            <a:r>
              <a:rPr lang="en-GB" dirty="0">
                <a:solidFill>
                  <a:schemeClr val="accent2"/>
                </a:solidFill>
                <a:latin typeface="+mn-lt"/>
              </a:rPr>
              <a:t>Rates up to </a:t>
            </a:r>
            <a:r>
              <a:rPr lang="en-GB" b="1" dirty="0">
                <a:solidFill>
                  <a:schemeClr val="accent2"/>
                </a:solidFill>
                <a:latin typeface="+mn-lt"/>
              </a:rPr>
              <a:t>8 L/min in infants </a:t>
            </a:r>
            <a:r>
              <a:rPr lang="en-GB" dirty="0">
                <a:solidFill>
                  <a:schemeClr val="accent2"/>
                </a:solidFill>
                <a:latin typeface="+mn-lt"/>
              </a:rPr>
              <a:t>and up to </a:t>
            </a:r>
            <a:r>
              <a:rPr lang="en-GB" b="1" dirty="0">
                <a:solidFill>
                  <a:schemeClr val="accent2"/>
                </a:solidFill>
                <a:latin typeface="+mn-lt"/>
              </a:rPr>
              <a:t>40 L/min in children and adults</a:t>
            </a:r>
          </a:p>
          <a:p>
            <a:pPr marL="214313" indent="-214313" algn="just">
              <a:lnSpc>
                <a:spcPct val="150000"/>
              </a:lnSpc>
              <a:spcBef>
                <a:spcPts val="600"/>
              </a:spcBef>
              <a:spcAft>
                <a:spcPts val="600"/>
              </a:spcAft>
              <a:buFont typeface="Arial" panose="020B0604020202020204" pitchFamily="34" charset="0"/>
              <a:buChar char="•"/>
            </a:pPr>
            <a:r>
              <a:rPr lang="en-GB" dirty="0">
                <a:solidFill>
                  <a:schemeClr val="accent2"/>
                </a:solidFill>
                <a:latin typeface="+mn-lt"/>
              </a:rPr>
              <a:t>FiO2 remains relatively </a:t>
            </a:r>
            <a:r>
              <a:rPr lang="en-GB" b="1" dirty="0">
                <a:solidFill>
                  <a:schemeClr val="accent2"/>
                </a:solidFill>
                <a:latin typeface="+mn-lt"/>
              </a:rPr>
              <a:t>constant</a:t>
            </a:r>
          </a:p>
          <a:p>
            <a:pPr marL="214313" indent="-214313" algn="just">
              <a:lnSpc>
                <a:spcPct val="150000"/>
              </a:lnSpc>
              <a:spcBef>
                <a:spcPts val="600"/>
              </a:spcBef>
              <a:spcAft>
                <a:spcPts val="600"/>
              </a:spcAft>
              <a:buFont typeface="Arial" panose="020B0604020202020204" pitchFamily="34" charset="0"/>
              <a:buChar char="•"/>
            </a:pPr>
            <a:r>
              <a:rPr lang="en-GB" dirty="0">
                <a:solidFill>
                  <a:schemeClr val="accent2"/>
                </a:solidFill>
                <a:latin typeface="+mn-lt"/>
              </a:rPr>
              <a:t>Because gas is generally warmed to </a:t>
            </a:r>
            <a:r>
              <a:rPr lang="en-GB" b="1" dirty="0">
                <a:solidFill>
                  <a:schemeClr val="accent2"/>
                </a:solidFill>
                <a:latin typeface="+mn-lt"/>
              </a:rPr>
              <a:t>37°C </a:t>
            </a:r>
            <a:r>
              <a:rPr lang="en-GB" dirty="0">
                <a:solidFill>
                  <a:schemeClr val="accent2"/>
                </a:solidFill>
                <a:latin typeface="+mn-lt"/>
              </a:rPr>
              <a:t>and completely humidified, </a:t>
            </a:r>
            <a:r>
              <a:rPr lang="en-GB" b="1" dirty="0">
                <a:solidFill>
                  <a:schemeClr val="accent2"/>
                </a:solidFill>
                <a:latin typeface="+mn-lt"/>
              </a:rPr>
              <a:t>mucociliary functions </a:t>
            </a:r>
            <a:r>
              <a:rPr lang="en-GB" dirty="0">
                <a:solidFill>
                  <a:schemeClr val="accent2"/>
                </a:solidFill>
                <a:latin typeface="+mn-lt"/>
              </a:rPr>
              <a:t>remain good and little discomfort is reported</a:t>
            </a:r>
          </a:p>
          <a:p>
            <a:pPr marL="214313" indent="-214313" algn="just">
              <a:lnSpc>
                <a:spcPct val="150000"/>
              </a:lnSpc>
              <a:buFont typeface="Arial" panose="020B0604020202020204" pitchFamily="34" charset="0"/>
              <a:buChar char="•"/>
            </a:pPr>
            <a:endParaRPr lang="en-GB" sz="1400" dirty="0">
              <a:solidFill>
                <a:schemeClr val="accent2"/>
              </a:solidFill>
              <a:latin typeface="+mn-lt"/>
            </a:endParaRPr>
          </a:p>
        </p:txBody>
      </p:sp>
      <p:pic>
        <p:nvPicPr>
          <p:cNvPr id="8" name="Content Placeholder 3">
            <a:extLst>
              <a:ext uri="{FF2B5EF4-FFF2-40B4-BE49-F238E27FC236}">
                <a16:creationId xmlns:a16="http://schemas.microsoft.com/office/drawing/2014/main" id="{8EA0FF70-07F5-40C6-BDB9-5CCDCE624247}"/>
              </a:ext>
            </a:extLst>
          </p:cNvPr>
          <p:cNvPicPr>
            <a:picLocks noChangeAspect="1"/>
          </p:cNvPicPr>
          <p:nvPr/>
        </p:nvPicPr>
        <p:blipFill>
          <a:blip r:embed="rId3"/>
          <a:stretch>
            <a:fillRect/>
          </a:stretch>
        </p:blipFill>
        <p:spPr>
          <a:xfrm>
            <a:off x="5511908" y="3048000"/>
            <a:ext cx="3080553" cy="2057400"/>
          </a:xfrm>
          <a:prstGeom prst="rect">
            <a:avLst/>
          </a:prstGeom>
        </p:spPr>
      </p:pic>
    </p:spTree>
    <p:extLst>
      <p:ext uri="{BB962C8B-B14F-4D97-AF65-F5344CB8AC3E}">
        <p14:creationId xmlns:p14="http://schemas.microsoft.com/office/powerpoint/2010/main" val="286846235"/>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849712" y="999107"/>
            <a:ext cx="7444575" cy="753493"/>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sym typeface="Arial"/>
              </a:rPr>
              <a:t>High Flow Nasal Cannula</a:t>
            </a:r>
          </a:p>
        </p:txBody>
      </p:sp>
      <p:sp>
        <p:nvSpPr>
          <p:cNvPr id="3" name="TextBox 2">
            <a:extLst>
              <a:ext uri="{FF2B5EF4-FFF2-40B4-BE49-F238E27FC236}">
                <a16:creationId xmlns:a16="http://schemas.microsoft.com/office/drawing/2014/main" id="{C9CFECC9-14F7-453B-92A6-B49E7CF55381}"/>
              </a:ext>
            </a:extLst>
          </p:cNvPr>
          <p:cNvSpPr txBox="1"/>
          <p:nvPr/>
        </p:nvSpPr>
        <p:spPr>
          <a:xfrm>
            <a:off x="849712" y="1754688"/>
            <a:ext cx="4056050" cy="4512133"/>
          </a:xfrm>
          <a:prstGeom prst="rect">
            <a:avLst/>
          </a:prstGeom>
          <a:noFill/>
        </p:spPr>
        <p:txBody>
          <a:bodyPr wrap="square" rtlCol="0">
            <a:spAutoFit/>
          </a:bodyPr>
          <a:lstStyle/>
          <a:p>
            <a:pPr marL="214313" indent="-214313" algn="just">
              <a:lnSpc>
                <a:spcPct val="150000"/>
              </a:lnSpc>
              <a:spcBef>
                <a:spcPts val="0"/>
              </a:spcBef>
              <a:spcAft>
                <a:spcPts val="600"/>
              </a:spcAft>
              <a:buFont typeface="Arial" panose="020B0604020202020204" pitchFamily="34" charset="0"/>
              <a:buChar char="•"/>
            </a:pPr>
            <a:r>
              <a:rPr lang="en-GB" dirty="0">
                <a:solidFill>
                  <a:schemeClr val="accent2"/>
                </a:solidFill>
                <a:latin typeface="+mn-lt"/>
              </a:rPr>
              <a:t>When </a:t>
            </a:r>
            <a:r>
              <a:rPr lang="en-GB" b="1" dirty="0">
                <a:solidFill>
                  <a:schemeClr val="accent2"/>
                </a:solidFill>
                <a:latin typeface="+mn-lt"/>
              </a:rPr>
              <a:t>high oxygen concentration</a:t>
            </a:r>
            <a:r>
              <a:rPr lang="en-GB" dirty="0">
                <a:solidFill>
                  <a:schemeClr val="accent2"/>
                </a:solidFill>
                <a:latin typeface="+mn-lt"/>
              </a:rPr>
              <a:t>/ flow is required </a:t>
            </a:r>
          </a:p>
          <a:p>
            <a:pPr marL="214313" indent="-214313" algn="just">
              <a:lnSpc>
                <a:spcPct val="150000"/>
              </a:lnSpc>
              <a:spcBef>
                <a:spcPts val="0"/>
              </a:spcBef>
              <a:spcAft>
                <a:spcPts val="600"/>
              </a:spcAft>
              <a:buFont typeface="Arial" panose="020B0604020202020204" pitchFamily="34" charset="0"/>
              <a:buChar char="•"/>
            </a:pPr>
            <a:r>
              <a:rPr lang="en-GB" b="1" dirty="0">
                <a:solidFill>
                  <a:schemeClr val="accent2"/>
                </a:solidFill>
                <a:latin typeface="+mn-lt"/>
              </a:rPr>
              <a:t>Inlet </a:t>
            </a:r>
            <a:r>
              <a:rPr lang="en-GB" dirty="0">
                <a:solidFill>
                  <a:schemeClr val="accent2"/>
                </a:solidFill>
                <a:latin typeface="+mn-lt"/>
              </a:rPr>
              <a:t>– separate </a:t>
            </a:r>
            <a:r>
              <a:rPr lang="en-GB" b="1" dirty="0">
                <a:solidFill>
                  <a:schemeClr val="accent2"/>
                </a:solidFill>
                <a:latin typeface="+mn-lt"/>
              </a:rPr>
              <a:t>pressurised air</a:t>
            </a:r>
            <a:r>
              <a:rPr lang="en-GB" dirty="0">
                <a:solidFill>
                  <a:schemeClr val="accent2"/>
                </a:solidFill>
                <a:latin typeface="+mn-lt"/>
              </a:rPr>
              <a:t>, oxygen source</a:t>
            </a:r>
          </a:p>
          <a:p>
            <a:pPr marL="214313" indent="-214313" algn="just">
              <a:lnSpc>
                <a:spcPct val="150000"/>
              </a:lnSpc>
              <a:spcBef>
                <a:spcPts val="0"/>
              </a:spcBef>
              <a:spcAft>
                <a:spcPts val="600"/>
              </a:spcAft>
              <a:buFont typeface="Arial" panose="020B0604020202020204" pitchFamily="34" charset="0"/>
              <a:buChar char="•"/>
            </a:pPr>
            <a:r>
              <a:rPr lang="en-GB" dirty="0">
                <a:solidFill>
                  <a:schemeClr val="accent2"/>
                </a:solidFill>
                <a:latin typeface="+mn-lt"/>
              </a:rPr>
              <a:t>Gases are mixed inside either manually or with blender</a:t>
            </a:r>
          </a:p>
          <a:p>
            <a:pPr marL="214313" indent="-214313" algn="just">
              <a:lnSpc>
                <a:spcPct val="150000"/>
              </a:lnSpc>
              <a:spcBef>
                <a:spcPts val="0"/>
              </a:spcBef>
              <a:spcAft>
                <a:spcPts val="600"/>
              </a:spcAft>
              <a:buFont typeface="Arial" panose="020B0604020202020204" pitchFamily="34" charset="0"/>
              <a:buChar char="•"/>
            </a:pPr>
            <a:r>
              <a:rPr lang="en-GB" b="1" dirty="0">
                <a:solidFill>
                  <a:schemeClr val="accent2"/>
                </a:solidFill>
                <a:latin typeface="+mn-lt"/>
              </a:rPr>
              <a:t>Output</a:t>
            </a:r>
            <a:r>
              <a:rPr lang="en-GB" dirty="0">
                <a:solidFill>
                  <a:schemeClr val="accent2"/>
                </a:solidFill>
                <a:latin typeface="+mn-lt"/>
              </a:rPr>
              <a:t> – mixture of air and oxygen with </a:t>
            </a:r>
            <a:r>
              <a:rPr lang="en-GB" b="1" dirty="0">
                <a:solidFill>
                  <a:schemeClr val="accent2"/>
                </a:solidFill>
                <a:latin typeface="+mn-lt"/>
              </a:rPr>
              <a:t>precise FiO2 and flow</a:t>
            </a:r>
          </a:p>
          <a:p>
            <a:pPr marL="214313" indent="-214313" algn="just">
              <a:lnSpc>
                <a:spcPct val="150000"/>
              </a:lnSpc>
              <a:spcBef>
                <a:spcPts val="0"/>
              </a:spcBef>
              <a:spcAft>
                <a:spcPts val="600"/>
              </a:spcAft>
              <a:buFont typeface="Arial" panose="020B0604020202020204" pitchFamily="34" charset="0"/>
              <a:buChar char="•"/>
            </a:pPr>
            <a:r>
              <a:rPr lang="en-GB" dirty="0">
                <a:solidFill>
                  <a:schemeClr val="accent2"/>
                </a:solidFill>
                <a:latin typeface="+mn-lt"/>
              </a:rPr>
              <a:t>Ideal for spontaneously breathing patients </a:t>
            </a:r>
            <a:r>
              <a:rPr lang="en-GB" b="1" dirty="0">
                <a:solidFill>
                  <a:schemeClr val="accent2"/>
                </a:solidFill>
                <a:latin typeface="+mn-lt"/>
              </a:rPr>
              <a:t>requiring high FiO2</a:t>
            </a:r>
          </a:p>
        </p:txBody>
      </p:sp>
      <p:pic>
        <p:nvPicPr>
          <p:cNvPr id="9" name="Content Placeholder 4">
            <a:extLst>
              <a:ext uri="{FF2B5EF4-FFF2-40B4-BE49-F238E27FC236}">
                <a16:creationId xmlns:a16="http://schemas.microsoft.com/office/drawing/2014/main" id="{89817EEB-0D64-47F3-91AA-3D107BAA0F89}"/>
              </a:ext>
            </a:extLst>
          </p:cNvPr>
          <p:cNvPicPr>
            <a:picLocks noChangeAspect="1"/>
          </p:cNvPicPr>
          <p:nvPr/>
        </p:nvPicPr>
        <p:blipFill>
          <a:blip r:embed="rId3"/>
          <a:stretch>
            <a:fillRect/>
          </a:stretch>
        </p:blipFill>
        <p:spPr>
          <a:xfrm>
            <a:off x="4953000" y="2133600"/>
            <a:ext cx="4056049" cy="3578519"/>
          </a:xfrm>
          <a:prstGeom prst="rect">
            <a:avLst/>
          </a:prstGeom>
        </p:spPr>
      </p:pic>
    </p:spTree>
    <p:extLst>
      <p:ext uri="{BB962C8B-B14F-4D97-AF65-F5344CB8AC3E}">
        <p14:creationId xmlns:p14="http://schemas.microsoft.com/office/powerpoint/2010/main" val="3950076731"/>
      </p:ext>
    </p:extLst>
  </p:cSld>
  <p:clrMapOvr>
    <a:masterClrMapping/>
  </p:clrMapOvr>
  <p:transition spd="med">
    <p:fade/>
  </p:transition>
</p:sld>
</file>

<file path=ppt/slides/slide37.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3" name="Google Shape;602;ge9eb37db0a_0_51">
            <a:extLst>
              <a:ext uri="{FF2B5EF4-FFF2-40B4-BE49-F238E27FC236}">
                <a16:creationId xmlns:a16="http://schemas.microsoft.com/office/drawing/2014/main" id="{71995E0A-15AC-494D-9D61-D826362FED1A}"/>
              </a:ext>
            </a:extLst>
          </p:cNvPr>
          <p:cNvSpPr txBox="1"/>
          <p:nvPr/>
        </p:nvSpPr>
        <p:spPr>
          <a:xfrm>
            <a:off x="990600" y="990600"/>
            <a:ext cx="7391400" cy="762000"/>
          </a:xfrm>
          <a:prstGeom prst="rect">
            <a:avLst/>
          </a:prstGeom>
          <a:noFill/>
          <a:ln>
            <a:noFill/>
          </a:ln>
        </p:spPr>
        <p:txBody>
          <a:bodyPr anchor="b" anchorCtr="0" bIns="0" lIns="0" rIns="0" spcFirstLastPara="1" tIns="0" wrap="square">
            <a:noAutofit/>
          </a:bodyPr>
          <a:lstStyle/>
          <a:p>
            <a:pPr algn="ctr">
              <a:spcBef>
                <a:spcPts val="0"/>
              </a:spcBef>
              <a:spcAft>
                <a:spcPts val="0"/>
              </a:spcAft>
              <a:buClr>
                <a:schemeClr val="accent1"/>
              </a:buClr>
              <a:buSzPts val="3200"/>
            </a:pPr>
            <a:r>
              <a:rPr b="1" dirty="0" lang="en-US" spc="-50" sz="3600">
                <a:solidFill>
                  <a:schemeClr val="accent2">
                    <a:lumMod val="75000"/>
                  </a:schemeClr>
                </a:solidFill>
                <a:latin typeface="+mn-lt"/>
                <a:ea typeface="+mj-ea"/>
                <a:cs typeface="+mj-cs"/>
              </a:rPr>
              <a:t>NIV Mask (Non-Invasive Ventilation)</a:t>
            </a:r>
            <a:endParaRPr b="1" dirty="0" lang="en-US" spc="-50" sz="3600">
              <a:solidFill>
                <a:schemeClr val="accent2">
                  <a:lumMod val="75000"/>
                </a:schemeClr>
              </a:solidFill>
              <a:latin typeface="+mn-lt"/>
              <a:ea typeface="+mj-ea"/>
              <a:cs typeface="+mj-cs"/>
              <a:sym typeface="Arial"/>
            </a:endParaRPr>
          </a:p>
        </p:txBody>
      </p:sp>
      <p:sp>
        <p:nvSpPr>
          <p:cNvPr id="5" name="TextBox 4">
            <a:extLst>
              <a:ext uri="{FF2B5EF4-FFF2-40B4-BE49-F238E27FC236}">
                <a16:creationId xmlns:a16="http://schemas.microsoft.com/office/drawing/2014/main" id="{4D035FA8-D6DD-4F70-AE05-09476B2EFE51}"/>
              </a:ext>
            </a:extLst>
          </p:cNvPr>
          <p:cNvSpPr txBox="1"/>
          <p:nvPr/>
        </p:nvSpPr>
        <p:spPr>
          <a:xfrm>
            <a:off x="990600" y="2134130"/>
            <a:ext cx="4114800" cy="3199337"/>
          </a:xfrm>
          <a:prstGeom prst="rect">
            <a:avLst/>
          </a:prstGeom>
          <a:noFill/>
        </p:spPr>
        <p:txBody>
          <a:bodyPr rtlCol="0" wrap="square">
            <a:spAutoFit/>
          </a:bodyPr>
          <a:lstStyle/>
          <a:p>
            <a:pPr algn="l" indent="-342900" marL="342900">
              <a:lnSpc>
                <a:spcPct val="150000"/>
              </a:lnSpc>
              <a:buFont charset="0" panose="020B0604020202020204" pitchFamily="34" typeface="Arial"/>
              <a:buChar char="•"/>
            </a:pPr>
            <a:r>
              <a:rPr dirty="0" lang="en-GB" sz="2000">
                <a:solidFill>
                  <a:schemeClr val="accent2"/>
                </a:solidFill>
                <a:latin typeface="+mn-lt"/>
              </a:rPr>
              <a:t>Flow : </a:t>
            </a:r>
            <a:r>
              <a:rPr b="1" dirty="0" lang="en-GB" sz="2000">
                <a:solidFill>
                  <a:schemeClr val="accent2"/>
                </a:solidFill>
                <a:latin typeface="+mn-lt"/>
              </a:rPr>
              <a:t>20 – 40 L/min</a:t>
            </a:r>
          </a:p>
          <a:p>
            <a:pPr indent="-342900" marL="342900">
              <a:lnSpc>
                <a:spcPct val="150000"/>
              </a:lnSpc>
              <a:spcBef>
                <a:spcPts val="600"/>
              </a:spcBef>
              <a:spcAft>
                <a:spcPts val="600"/>
              </a:spcAft>
              <a:buFont charset="0" panose="020B0604020202020204" pitchFamily="34" typeface="Arial"/>
              <a:buChar char="•"/>
            </a:pPr>
            <a:r>
              <a:rPr dirty="0" lang="en-IN" sz="2000">
                <a:solidFill>
                  <a:schemeClr val="accent2"/>
                </a:solidFill>
                <a:latin typeface="+mn-lt"/>
              </a:rPr>
              <a:t>Fio2 : </a:t>
            </a:r>
            <a:r>
              <a:rPr b="1" dirty="0" lang="en-IN" sz="2000">
                <a:solidFill>
                  <a:schemeClr val="accent2"/>
                </a:solidFill>
                <a:latin typeface="+mn-lt"/>
              </a:rPr>
              <a:t>Up to 100%</a:t>
            </a:r>
          </a:p>
          <a:p>
            <a:pPr indent="-342900" marL="342900">
              <a:lnSpc>
                <a:spcPct val="150000"/>
              </a:lnSpc>
              <a:spcAft>
                <a:spcPts val="600"/>
              </a:spcAft>
              <a:buFont charset="0" panose="020B0604020202020204" pitchFamily="34" typeface="Arial"/>
              <a:buChar char="•"/>
            </a:pPr>
            <a:r>
              <a:rPr dirty="0" lang="en-IN" sz="2000">
                <a:solidFill>
                  <a:schemeClr val="accent2"/>
                </a:solidFill>
                <a:latin typeface="+mn-lt"/>
              </a:rPr>
              <a:t>Side-effects: </a:t>
            </a:r>
          </a:p>
          <a:p>
            <a:pPr indent="-342900" lvl="1" marL="800100">
              <a:lnSpc>
                <a:spcPct val="150000"/>
              </a:lnSpc>
              <a:spcAft>
                <a:spcPts val="600"/>
              </a:spcAft>
              <a:buFont charset="0" panose="02070309020205020404" pitchFamily="49" typeface="Courier New"/>
              <a:buChar char="o"/>
            </a:pPr>
            <a:r>
              <a:rPr dirty="0" lang="en-IN" sz="2000">
                <a:solidFill>
                  <a:schemeClr val="accent2"/>
                </a:solidFill>
                <a:latin typeface="+mn-lt"/>
              </a:rPr>
              <a:t>Claustrophobia</a:t>
            </a:r>
          </a:p>
          <a:p>
            <a:pPr indent="-342900" lvl="1" marL="800100">
              <a:lnSpc>
                <a:spcPct val="150000"/>
              </a:lnSpc>
              <a:spcAft>
                <a:spcPts val="600"/>
              </a:spcAft>
              <a:buFont charset="0" panose="02070309020205020404" pitchFamily="49" typeface="Courier New"/>
              <a:buChar char="o"/>
            </a:pPr>
            <a:r>
              <a:rPr dirty="0" lang="en-IN" sz="2000">
                <a:solidFill>
                  <a:schemeClr val="accent2"/>
                </a:solidFill>
                <a:latin typeface="+mn-lt"/>
              </a:rPr>
              <a:t>Pressure sore</a:t>
            </a:r>
          </a:p>
          <a:p>
            <a:pPr indent="-342900" marL="342900">
              <a:lnSpc>
                <a:spcPct val="150000"/>
              </a:lnSpc>
              <a:spcAft>
                <a:spcPts val="600"/>
              </a:spcAft>
              <a:buFont charset="0" panose="020B0604020202020204" pitchFamily="34" typeface="Arial"/>
              <a:buChar char="•"/>
            </a:pPr>
            <a:r>
              <a:rPr dirty="0" lang="en-IN" sz="2000">
                <a:solidFill>
                  <a:schemeClr val="accent2"/>
                </a:solidFill>
                <a:latin typeface="+mn-lt"/>
              </a:rPr>
              <a:t>Also known as: BIPAP or Ventilator</a:t>
            </a:r>
          </a:p>
        </p:txBody>
      </p:sp>
      <p:pic>
        <p:nvPicPr>
          <p:cNvPr id="7" name="Picture 6">
            <a:extLst>
              <a:ext uri="{FF2B5EF4-FFF2-40B4-BE49-F238E27FC236}">
                <a16:creationId xmlns:a16="http://schemas.microsoft.com/office/drawing/2014/main" id="{192EC011-4BBB-494B-8DF4-D8F20A32ACF0}"/>
              </a:ext>
            </a:extLst>
          </p:cNvPr>
          <p:cNvPicPr>
            <a:picLocks noChangeAspect="1"/>
          </p:cNvPicPr>
          <p:nvPr/>
        </p:nvPicPr>
        <p:blipFill rotWithShape="1">
          <a:blip r:embed="rId2"/>
          <a:srcRect r="-40"/>
          <a:stretch/>
        </p:blipFill>
        <p:spPr>
          <a:xfrm>
            <a:off x="5161227" y="2587853"/>
            <a:ext cx="3370431" cy="2291893"/>
          </a:xfrm>
          <a:prstGeom prst="rect">
            <a:avLst/>
          </a:prstGeom>
        </p:spPr>
      </p:pic>
    </p:spTree>
    <p:extLst>
      <p:ext uri="{BB962C8B-B14F-4D97-AF65-F5344CB8AC3E}">
        <p14:creationId xmlns:p14="http://schemas.microsoft.com/office/powerpoint/2010/main" val="2105852313"/>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602;ge9eb37db0a_0_51">
            <a:extLst>
              <a:ext uri="{FF2B5EF4-FFF2-40B4-BE49-F238E27FC236}">
                <a16:creationId xmlns:a16="http://schemas.microsoft.com/office/drawing/2014/main" id="{71995E0A-15AC-494D-9D61-D826362FED1A}"/>
              </a:ext>
            </a:extLst>
          </p:cNvPr>
          <p:cNvSpPr txBox="1"/>
          <p:nvPr/>
        </p:nvSpPr>
        <p:spPr>
          <a:xfrm>
            <a:off x="838200" y="967507"/>
            <a:ext cx="7467600" cy="785093"/>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Non-Invasive Ventilation</a:t>
            </a:r>
            <a:endParaRPr lang="en-US" sz="3600" b="1" spc="-50" dirty="0">
              <a:solidFill>
                <a:schemeClr val="accent2">
                  <a:lumMod val="75000"/>
                </a:schemeClr>
              </a:solidFill>
              <a:latin typeface="+mn-lt"/>
              <a:ea typeface="+mj-ea"/>
              <a:cs typeface="+mj-cs"/>
              <a:sym typeface="Arial"/>
            </a:endParaRPr>
          </a:p>
        </p:txBody>
      </p:sp>
      <p:sp>
        <p:nvSpPr>
          <p:cNvPr id="5" name="TextBox 4">
            <a:extLst>
              <a:ext uri="{FF2B5EF4-FFF2-40B4-BE49-F238E27FC236}">
                <a16:creationId xmlns:a16="http://schemas.microsoft.com/office/drawing/2014/main" id="{4D035FA8-D6DD-4F70-AE05-09476B2EFE51}"/>
              </a:ext>
            </a:extLst>
          </p:cNvPr>
          <p:cNvSpPr txBox="1"/>
          <p:nvPr/>
        </p:nvSpPr>
        <p:spPr>
          <a:xfrm>
            <a:off x="838200" y="1847437"/>
            <a:ext cx="3915982" cy="4199611"/>
          </a:xfrm>
          <a:prstGeom prst="rect">
            <a:avLst/>
          </a:prstGeom>
          <a:noFill/>
        </p:spPr>
        <p:txBody>
          <a:bodyPr wrap="square" rtlCol="0">
            <a:spAutoFit/>
          </a:bodyPr>
          <a:lstStyle/>
          <a:p>
            <a:pPr marL="214313" indent="-342900">
              <a:lnSpc>
                <a:spcPct val="150000"/>
              </a:lnSpc>
              <a:spcBef>
                <a:spcPts val="600"/>
              </a:spcBef>
              <a:spcAft>
                <a:spcPts val="600"/>
              </a:spcAft>
              <a:buFont typeface="Arial" panose="020B0604020202020204" pitchFamily="34" charset="0"/>
              <a:buChar char="•"/>
            </a:pPr>
            <a:r>
              <a:rPr lang="en-IN" sz="2000" dirty="0">
                <a:solidFill>
                  <a:schemeClr val="accent2"/>
                </a:solidFill>
                <a:latin typeface="+mn-lt"/>
              </a:rPr>
              <a:t>Avoids intubation</a:t>
            </a:r>
          </a:p>
          <a:p>
            <a:pPr marL="214313" indent="-342900">
              <a:lnSpc>
                <a:spcPct val="150000"/>
              </a:lnSpc>
              <a:spcBef>
                <a:spcPts val="600"/>
              </a:spcBef>
              <a:spcAft>
                <a:spcPts val="600"/>
              </a:spcAft>
              <a:buFont typeface="Arial" panose="020B0604020202020204" pitchFamily="34" charset="0"/>
              <a:buChar char="•"/>
            </a:pPr>
            <a:r>
              <a:rPr lang="en-IN" sz="2000" dirty="0">
                <a:solidFill>
                  <a:schemeClr val="accent2"/>
                </a:solidFill>
                <a:latin typeface="+mn-lt"/>
              </a:rPr>
              <a:t>Reduces work of breathing</a:t>
            </a:r>
          </a:p>
          <a:p>
            <a:pPr marL="214313" indent="-342900">
              <a:lnSpc>
                <a:spcPct val="150000"/>
              </a:lnSpc>
              <a:spcBef>
                <a:spcPts val="600"/>
              </a:spcBef>
              <a:spcAft>
                <a:spcPts val="600"/>
              </a:spcAft>
              <a:buFont typeface="Arial" panose="020B0604020202020204" pitchFamily="34" charset="0"/>
              <a:buChar char="•"/>
            </a:pPr>
            <a:r>
              <a:rPr lang="en-IN" sz="2000" dirty="0">
                <a:solidFill>
                  <a:schemeClr val="accent2"/>
                </a:solidFill>
                <a:latin typeface="+mn-lt"/>
              </a:rPr>
              <a:t>BIPAP machine/Ventilator</a:t>
            </a:r>
          </a:p>
          <a:p>
            <a:pPr marL="214313" indent="-342900">
              <a:lnSpc>
                <a:spcPct val="150000"/>
              </a:lnSpc>
              <a:spcBef>
                <a:spcPts val="600"/>
              </a:spcBef>
              <a:spcAft>
                <a:spcPts val="600"/>
              </a:spcAft>
              <a:buFont typeface="Arial" panose="020B0604020202020204" pitchFamily="34" charset="0"/>
              <a:buChar char="•"/>
            </a:pPr>
            <a:r>
              <a:rPr lang="en-IN" sz="2000" dirty="0">
                <a:solidFill>
                  <a:schemeClr val="accent2"/>
                </a:solidFill>
                <a:latin typeface="+mn-lt"/>
              </a:rPr>
              <a:t>Contraindications</a:t>
            </a:r>
          </a:p>
          <a:p>
            <a:pPr marL="671513" lvl="1" indent="-342900">
              <a:lnSpc>
                <a:spcPct val="150000"/>
              </a:lnSpc>
              <a:spcBef>
                <a:spcPts val="600"/>
              </a:spcBef>
              <a:spcAft>
                <a:spcPts val="600"/>
              </a:spcAft>
              <a:buFont typeface="Courier New" panose="02070309020205020404" pitchFamily="49" charset="0"/>
              <a:buChar char="o"/>
            </a:pPr>
            <a:r>
              <a:rPr lang="en-IN" sz="2000" dirty="0">
                <a:solidFill>
                  <a:schemeClr val="accent2"/>
                </a:solidFill>
                <a:latin typeface="+mn-lt"/>
              </a:rPr>
              <a:t>Hemodynamic instability</a:t>
            </a:r>
          </a:p>
          <a:p>
            <a:pPr marL="671513" lvl="1" indent="-342900">
              <a:lnSpc>
                <a:spcPct val="150000"/>
              </a:lnSpc>
              <a:spcBef>
                <a:spcPts val="600"/>
              </a:spcBef>
              <a:spcAft>
                <a:spcPts val="600"/>
              </a:spcAft>
              <a:buFont typeface="Courier New" panose="02070309020205020404" pitchFamily="49" charset="0"/>
              <a:buChar char="o"/>
            </a:pPr>
            <a:r>
              <a:rPr lang="en-IN" sz="2000" dirty="0">
                <a:solidFill>
                  <a:schemeClr val="accent2"/>
                </a:solidFill>
                <a:latin typeface="+mn-lt"/>
              </a:rPr>
              <a:t>Multi organ failure</a:t>
            </a:r>
          </a:p>
          <a:p>
            <a:pPr marL="671513" lvl="1" indent="-342900">
              <a:lnSpc>
                <a:spcPct val="150000"/>
              </a:lnSpc>
              <a:spcBef>
                <a:spcPts val="600"/>
              </a:spcBef>
              <a:spcAft>
                <a:spcPts val="600"/>
              </a:spcAft>
              <a:buFont typeface="Courier New" panose="02070309020205020404" pitchFamily="49" charset="0"/>
              <a:buChar char="o"/>
            </a:pPr>
            <a:r>
              <a:rPr lang="en-IN" sz="2000" dirty="0">
                <a:solidFill>
                  <a:schemeClr val="accent2"/>
                </a:solidFill>
                <a:latin typeface="+mn-lt"/>
              </a:rPr>
              <a:t>Altered mental status</a:t>
            </a:r>
          </a:p>
        </p:txBody>
      </p:sp>
      <p:pic>
        <p:nvPicPr>
          <p:cNvPr id="8" name="Picture 7">
            <a:extLst>
              <a:ext uri="{FF2B5EF4-FFF2-40B4-BE49-F238E27FC236}">
                <a16:creationId xmlns:a16="http://schemas.microsoft.com/office/drawing/2014/main" id="{D1056DBE-7999-4071-9448-22BD2EE0B6FC}"/>
              </a:ext>
            </a:extLst>
          </p:cNvPr>
          <p:cNvPicPr>
            <a:picLocks noChangeAspect="1"/>
          </p:cNvPicPr>
          <p:nvPr/>
        </p:nvPicPr>
        <p:blipFill>
          <a:blip r:embed="rId2"/>
          <a:stretch>
            <a:fillRect/>
          </a:stretch>
        </p:blipFill>
        <p:spPr>
          <a:xfrm>
            <a:off x="4460316" y="2362200"/>
            <a:ext cx="4667918" cy="3174184"/>
          </a:xfrm>
          <a:prstGeom prst="rect">
            <a:avLst/>
          </a:prstGeom>
        </p:spPr>
      </p:pic>
    </p:spTree>
    <p:extLst>
      <p:ext uri="{BB962C8B-B14F-4D97-AF65-F5344CB8AC3E}">
        <p14:creationId xmlns:p14="http://schemas.microsoft.com/office/powerpoint/2010/main" val="3766236160"/>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8" name="TextBox 7">
            <a:extLst>
              <a:ext uri="{FF2B5EF4-FFF2-40B4-BE49-F238E27FC236}">
                <a16:creationId xmlns:a16="http://schemas.microsoft.com/office/drawing/2014/main" id="{5408E08C-08EF-4944-ADE0-0CD5F99C475D}"/>
              </a:ext>
            </a:extLst>
          </p:cNvPr>
          <p:cNvSpPr txBox="1"/>
          <p:nvPr/>
        </p:nvSpPr>
        <p:spPr>
          <a:xfrm>
            <a:off x="914400" y="1752600"/>
            <a:ext cx="7467600" cy="2816156"/>
          </a:xfrm>
          <a:prstGeom prst="rect">
            <a:avLst/>
          </a:prstGeom>
          <a:noFill/>
        </p:spPr>
        <p:txBody>
          <a:bodyPr wrap="square" rtlCol="0">
            <a:spAutoFit/>
          </a:bodyPr>
          <a:lstStyle/>
          <a:p>
            <a:pPr marL="214313" indent="-214313" algn="just">
              <a:spcAft>
                <a:spcPts val="600"/>
              </a:spcAft>
              <a:buFont typeface="Arial" panose="020B0604020202020204" pitchFamily="34" charset="0"/>
              <a:buChar char="•"/>
            </a:pPr>
            <a:r>
              <a:rPr lang="en-GB" b="0" i="0" strike="noStrike" baseline="0" dirty="0">
                <a:solidFill>
                  <a:schemeClr val="accent2"/>
                </a:solidFill>
                <a:latin typeface="+mn-lt"/>
              </a:rPr>
              <a:t>The flow of oxygen should be adjusted to the lowest permissible level to target an </a:t>
            </a:r>
            <a:r>
              <a:rPr lang="en-GB" b="1" i="0" strike="noStrike" baseline="0" dirty="0">
                <a:solidFill>
                  <a:schemeClr val="accent2"/>
                </a:solidFill>
                <a:latin typeface="+mn-lt"/>
              </a:rPr>
              <a:t>oxygen saturation of 92%- 94% </a:t>
            </a:r>
            <a:r>
              <a:rPr lang="en-GB" b="0" i="0" strike="noStrike" baseline="0" dirty="0">
                <a:solidFill>
                  <a:schemeClr val="accent2"/>
                </a:solidFill>
                <a:latin typeface="+mn-lt"/>
              </a:rPr>
              <a:t>for the hospitalized </a:t>
            </a:r>
            <a:r>
              <a:rPr lang="en-GB" dirty="0">
                <a:solidFill>
                  <a:schemeClr val="accent2"/>
                </a:solidFill>
                <a:latin typeface="+mn-lt"/>
              </a:rPr>
              <a:t>Covid-19</a:t>
            </a:r>
            <a:r>
              <a:rPr lang="en-GB" b="0" i="0" strike="noStrike" baseline="0" dirty="0">
                <a:solidFill>
                  <a:schemeClr val="accent2"/>
                </a:solidFill>
                <a:latin typeface="+mn-lt"/>
              </a:rPr>
              <a:t> </a:t>
            </a:r>
            <a:r>
              <a:rPr lang="en-IN" b="0" i="0" strike="noStrike" baseline="0" dirty="0">
                <a:solidFill>
                  <a:schemeClr val="accent2"/>
                </a:solidFill>
                <a:latin typeface="+mn-lt"/>
              </a:rPr>
              <a:t>patients.</a:t>
            </a:r>
          </a:p>
          <a:p>
            <a:pPr marL="214313" indent="-214313" algn="just">
              <a:spcAft>
                <a:spcPts val="600"/>
              </a:spcAft>
              <a:buFont typeface="Arial" panose="020B0604020202020204" pitchFamily="34" charset="0"/>
              <a:buChar char="•"/>
            </a:pPr>
            <a:r>
              <a:rPr lang="en-GB" b="1" i="0" strike="noStrike" baseline="0" dirty="0">
                <a:solidFill>
                  <a:schemeClr val="accent2"/>
                </a:solidFill>
                <a:latin typeface="+mn-lt"/>
              </a:rPr>
              <a:t>Oxygen concentrator </a:t>
            </a:r>
            <a:r>
              <a:rPr lang="en-GB" b="0" i="0" strike="noStrike" baseline="0" dirty="0">
                <a:solidFill>
                  <a:schemeClr val="accent2"/>
                </a:solidFill>
                <a:latin typeface="+mn-lt"/>
              </a:rPr>
              <a:t>if available should be used for patients initially and in recovering stage.</a:t>
            </a:r>
          </a:p>
          <a:p>
            <a:pPr marL="214313" indent="-214313" algn="just">
              <a:spcAft>
                <a:spcPts val="600"/>
              </a:spcAft>
              <a:buFont typeface="Arial" panose="020B0604020202020204" pitchFamily="34" charset="0"/>
              <a:buChar char="•"/>
            </a:pPr>
            <a:r>
              <a:rPr lang="en-GB" b="0" i="0" strike="noStrike" baseline="0" dirty="0">
                <a:solidFill>
                  <a:schemeClr val="accent2"/>
                </a:solidFill>
                <a:latin typeface="+mn-lt"/>
              </a:rPr>
              <a:t>Oxygen delivering masks should be </a:t>
            </a:r>
            <a:r>
              <a:rPr lang="en-GB" b="1" i="0" strike="noStrike" baseline="0" dirty="0">
                <a:solidFill>
                  <a:schemeClr val="accent2"/>
                </a:solidFill>
                <a:latin typeface="+mn-lt"/>
              </a:rPr>
              <a:t>tightly fitted </a:t>
            </a:r>
            <a:r>
              <a:rPr lang="en-GB" b="0" i="0" strike="noStrike" baseline="0" dirty="0">
                <a:solidFill>
                  <a:schemeClr val="accent2"/>
                </a:solidFill>
                <a:latin typeface="+mn-lt"/>
              </a:rPr>
              <a:t>to achieve maximum FiO2 and prevent leakage.</a:t>
            </a:r>
          </a:p>
          <a:p>
            <a:pPr marL="214313" indent="-214313" algn="just">
              <a:spcAft>
                <a:spcPts val="600"/>
              </a:spcAft>
              <a:buFont typeface="Arial" panose="020B0604020202020204" pitchFamily="34" charset="0"/>
              <a:buChar char="•"/>
            </a:pPr>
            <a:r>
              <a:rPr lang="en-GB" b="0" i="0" strike="noStrike" baseline="0" dirty="0">
                <a:solidFill>
                  <a:schemeClr val="accent2"/>
                </a:solidFill>
                <a:latin typeface="+mn-lt"/>
              </a:rPr>
              <a:t>Oxygen delivering devices should be used in </a:t>
            </a:r>
            <a:r>
              <a:rPr lang="en-GB" b="1" i="0" strike="noStrike" baseline="0" dirty="0">
                <a:solidFill>
                  <a:schemeClr val="accent2"/>
                </a:solidFill>
                <a:latin typeface="+mn-lt"/>
              </a:rPr>
              <a:t>chronological order </a:t>
            </a:r>
            <a:r>
              <a:rPr lang="en-GB" b="0" i="0" strike="noStrike" baseline="0" dirty="0">
                <a:solidFill>
                  <a:schemeClr val="accent2"/>
                </a:solidFill>
                <a:latin typeface="+mn-lt"/>
              </a:rPr>
              <a:t>with their specific flow </a:t>
            </a:r>
            <a:r>
              <a:rPr lang="en-IN" b="0" i="0" strike="noStrike" baseline="0" dirty="0">
                <a:solidFill>
                  <a:schemeClr val="accent2"/>
                </a:solidFill>
                <a:latin typeface="+mn-lt"/>
              </a:rPr>
              <a:t>rate.</a:t>
            </a:r>
            <a:endParaRPr lang="en-GB" b="0" i="0" strike="noStrike" baseline="0" dirty="0">
              <a:solidFill>
                <a:schemeClr val="accent2"/>
              </a:solidFill>
              <a:latin typeface="+mn-lt"/>
            </a:endParaRPr>
          </a:p>
        </p:txBody>
      </p:sp>
      <p:graphicFrame>
        <p:nvGraphicFramePr>
          <p:cNvPr id="3" name="Table 3">
            <a:extLst>
              <a:ext uri="{FF2B5EF4-FFF2-40B4-BE49-F238E27FC236}">
                <a16:creationId xmlns:a16="http://schemas.microsoft.com/office/drawing/2014/main" id="{A0DEEE0A-B6FA-483B-97DA-03A625D7BEBA}"/>
              </a:ext>
            </a:extLst>
          </p:cNvPr>
          <p:cNvGraphicFramePr>
            <a:graphicFrameLocks noGrp="1"/>
          </p:cNvGraphicFramePr>
          <p:nvPr>
            <p:extLst>
              <p:ext uri="{D42A27DB-BD31-4B8C-83A1-F6EECF244321}">
                <p14:modId xmlns:p14="http://schemas.microsoft.com/office/powerpoint/2010/main" val="1196185371"/>
              </p:ext>
            </p:extLst>
          </p:nvPr>
        </p:nvGraphicFramePr>
        <p:xfrm>
          <a:off x="914400" y="4568756"/>
          <a:ext cx="7467600" cy="1750448"/>
        </p:xfrm>
        <a:graphic>
          <a:graphicData uri="http://schemas.openxmlformats.org/drawingml/2006/table">
            <a:tbl>
              <a:tblPr firstRow="1" bandRow="1"/>
              <a:tblGrid>
                <a:gridCol w="2782047">
                  <a:extLst>
                    <a:ext uri="{9D8B030D-6E8A-4147-A177-3AD203B41FA5}">
                      <a16:colId xmlns:a16="http://schemas.microsoft.com/office/drawing/2014/main" val="1423850289"/>
                    </a:ext>
                  </a:extLst>
                </a:gridCol>
                <a:gridCol w="4685553">
                  <a:extLst>
                    <a:ext uri="{9D8B030D-6E8A-4147-A177-3AD203B41FA5}">
                      <a16:colId xmlns:a16="http://schemas.microsoft.com/office/drawing/2014/main" val="1318441742"/>
                    </a:ext>
                  </a:extLst>
                </a:gridCol>
              </a:tblGrid>
              <a:tr h="315870">
                <a:tc>
                  <a:txBody>
                    <a:bodyPr/>
                    <a:lstStyle/>
                    <a:p>
                      <a:pPr algn="ctr"/>
                      <a:r>
                        <a:rPr lang="en-GB" sz="1400" b="1" dirty="0">
                          <a:solidFill>
                            <a:schemeClr val="tx2"/>
                          </a:solidFill>
                          <a:latin typeface="+mn-lt"/>
                        </a:rPr>
                        <a:t>OXYGEN DELIVERING DEVICE</a:t>
                      </a:r>
                      <a:endParaRPr lang="en-IN" sz="1400" b="1" dirty="0">
                        <a:solidFill>
                          <a:schemeClr val="tx2"/>
                        </a:solidFill>
                        <a:latin typeface="+mn-lt"/>
                      </a:endParaRPr>
                    </a:p>
                  </a:txBody>
                  <a:tcPr marL="68580" marR="68580" marT="34290" marB="34290"/>
                </a:tc>
                <a:tc>
                  <a:txBody>
                    <a:bodyPr/>
                    <a:lstStyle/>
                    <a:p>
                      <a:pPr algn="ctr"/>
                      <a:r>
                        <a:rPr lang="en-GB" sz="1400" b="1" dirty="0">
                          <a:solidFill>
                            <a:schemeClr val="tx2"/>
                          </a:solidFill>
                          <a:latin typeface="+mn-lt"/>
                        </a:rPr>
                        <a:t>FLOW RATE</a:t>
                      </a:r>
                      <a:endParaRPr lang="en-IN" sz="1400" b="1" dirty="0">
                        <a:solidFill>
                          <a:schemeClr val="tx2"/>
                        </a:solidFill>
                        <a:latin typeface="+mn-lt"/>
                      </a:endParaRPr>
                    </a:p>
                  </a:txBody>
                  <a:tcPr marL="68580" marR="68580" marT="34290" marB="34290"/>
                </a:tc>
                <a:extLst>
                  <a:ext uri="{0D108BD9-81ED-4DB2-BD59-A6C34878D82A}">
                    <a16:rowId xmlns:a16="http://schemas.microsoft.com/office/drawing/2014/main" val="3830700292"/>
                  </a:ext>
                </a:extLst>
              </a:tr>
              <a:tr h="309456">
                <a:tc>
                  <a:txBody>
                    <a:bodyPr/>
                    <a:lstStyle/>
                    <a:p>
                      <a:r>
                        <a:rPr lang="it-IT" sz="1400" b="0" i="0" u="none" strike="noStrike" baseline="0" dirty="0">
                          <a:solidFill>
                            <a:schemeClr val="accent2"/>
                          </a:solidFill>
                          <a:latin typeface="+mn-lt"/>
                        </a:rPr>
                        <a:t>Nasal Prongs </a:t>
                      </a:r>
                      <a:endParaRPr lang="en-IN" sz="1400" dirty="0">
                        <a:solidFill>
                          <a:schemeClr val="accent2"/>
                        </a:solidFill>
                        <a:latin typeface="+mn-lt"/>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it-IT" sz="1400" b="0" i="0" u="none" strike="noStrike" baseline="0" dirty="0">
                          <a:solidFill>
                            <a:schemeClr val="accent2"/>
                          </a:solidFill>
                          <a:latin typeface="+mn-lt"/>
                        </a:rPr>
                        <a:t>2-6 Litre per minute</a:t>
                      </a:r>
                    </a:p>
                  </a:txBody>
                  <a:tcPr marL="68580" marR="68580" marT="34290" marB="34290"/>
                </a:tc>
                <a:extLst>
                  <a:ext uri="{0D108BD9-81ED-4DB2-BD59-A6C34878D82A}">
                    <a16:rowId xmlns:a16="http://schemas.microsoft.com/office/drawing/2014/main" val="527551106"/>
                  </a:ext>
                </a:extLst>
              </a:tr>
              <a:tr h="309456">
                <a:tc>
                  <a:txBody>
                    <a:bodyPr/>
                    <a:lstStyle/>
                    <a:p>
                      <a:r>
                        <a:rPr lang="en-IN" sz="1400" b="0" i="0" u="none" strike="noStrike" baseline="0" dirty="0">
                          <a:solidFill>
                            <a:schemeClr val="accent2"/>
                          </a:solidFill>
                          <a:latin typeface="+mn-lt"/>
                        </a:rPr>
                        <a:t>Simple Face Mask </a:t>
                      </a:r>
                      <a:endParaRPr lang="en-IN" sz="1400" dirty="0">
                        <a:solidFill>
                          <a:schemeClr val="accent2"/>
                        </a:solidFill>
                        <a:latin typeface="+mn-lt"/>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IN" sz="1400" b="0" i="0" u="none" strike="noStrike" baseline="0" dirty="0">
                          <a:solidFill>
                            <a:schemeClr val="accent2"/>
                          </a:solidFill>
                          <a:latin typeface="+mn-lt"/>
                        </a:rPr>
                        <a:t>5-8 Litre per minute</a:t>
                      </a:r>
                    </a:p>
                  </a:txBody>
                  <a:tcPr marL="68580" marR="68580" marT="34290" marB="34290"/>
                </a:tc>
                <a:extLst>
                  <a:ext uri="{0D108BD9-81ED-4DB2-BD59-A6C34878D82A}">
                    <a16:rowId xmlns:a16="http://schemas.microsoft.com/office/drawing/2014/main" val="4007570501"/>
                  </a:ext>
                </a:extLst>
              </a:tr>
              <a:tr h="815666">
                <a:tc>
                  <a:txBody>
                    <a:bodyPr/>
                    <a:lstStyle/>
                    <a:p>
                      <a:r>
                        <a:rPr lang="en-GB" sz="1400" b="0" i="0" u="none" strike="noStrike" baseline="0" dirty="0">
                          <a:solidFill>
                            <a:schemeClr val="accent2"/>
                          </a:solidFill>
                          <a:latin typeface="+mn-lt"/>
                        </a:rPr>
                        <a:t>NRBM (High Flow Mask) </a:t>
                      </a:r>
                      <a:endParaRPr lang="en-IN" sz="1400" dirty="0">
                        <a:solidFill>
                          <a:schemeClr val="accent2"/>
                        </a:solidFill>
                        <a:latin typeface="+mn-lt"/>
                      </a:endParaRPr>
                    </a:p>
                  </a:txBody>
                  <a:tcPr marL="68580" marR="68580" marT="34290" marB="34290"/>
                </a:tc>
                <a:tc>
                  <a:txBody>
                    <a:bodyPr/>
                    <a:lstStyle/>
                    <a:p>
                      <a:pPr algn="l"/>
                      <a:r>
                        <a:rPr lang="en-GB" sz="1400" b="0" i="0" u="none" strike="noStrike" baseline="0" dirty="0">
                          <a:solidFill>
                            <a:schemeClr val="accent2"/>
                          </a:solidFill>
                          <a:latin typeface="+mn-lt"/>
                        </a:rPr>
                        <a:t>10-12 Litre per minute</a:t>
                      </a:r>
                    </a:p>
                    <a:p>
                      <a:pPr algn="l"/>
                      <a:r>
                        <a:rPr lang="en-IN" sz="1400" b="0" i="0" u="none" strike="noStrike" baseline="0" dirty="0">
                          <a:solidFill>
                            <a:schemeClr val="accent2"/>
                          </a:solidFill>
                          <a:latin typeface="+mn-lt"/>
                        </a:rPr>
                        <a:t>(maximum up to 15 Litre per minute) flow should </a:t>
                      </a:r>
                      <a:r>
                        <a:rPr lang="en-GB" sz="1400" b="0" i="0" u="none" strike="noStrike" baseline="0" dirty="0">
                          <a:solidFill>
                            <a:schemeClr val="accent2"/>
                          </a:solidFill>
                          <a:latin typeface="+mn-lt"/>
                        </a:rPr>
                        <a:t>be adjusted to keep the </a:t>
                      </a:r>
                      <a:r>
                        <a:rPr lang="en-IN" sz="1400" b="0" i="0" u="none" strike="noStrike" baseline="0" dirty="0">
                          <a:solidFill>
                            <a:schemeClr val="accent2"/>
                          </a:solidFill>
                          <a:latin typeface="+mn-lt"/>
                        </a:rPr>
                        <a:t>reservoir bag inflated.</a:t>
                      </a:r>
                    </a:p>
                  </a:txBody>
                  <a:tcPr marL="68580" marR="68580" marT="34290" marB="34290"/>
                </a:tc>
                <a:extLst>
                  <a:ext uri="{0D108BD9-81ED-4DB2-BD59-A6C34878D82A}">
                    <a16:rowId xmlns:a16="http://schemas.microsoft.com/office/drawing/2014/main" val="2737888350"/>
                  </a:ext>
                </a:extLst>
              </a:tr>
            </a:tbl>
          </a:graphicData>
        </a:graphic>
      </p:graphicFrame>
      <p:sp>
        <p:nvSpPr>
          <p:cNvPr id="7" name="Google Shape;602;ge9eb37db0a_0_51">
            <a:extLst>
              <a:ext uri="{FF2B5EF4-FFF2-40B4-BE49-F238E27FC236}">
                <a16:creationId xmlns:a16="http://schemas.microsoft.com/office/drawing/2014/main" id="{D0E60FCE-8693-4976-84CF-8D05E8998FF9}"/>
              </a:ext>
            </a:extLst>
          </p:cNvPr>
          <p:cNvSpPr txBox="1"/>
          <p:nvPr/>
        </p:nvSpPr>
        <p:spPr>
          <a:xfrm>
            <a:off x="838200" y="860664"/>
            <a:ext cx="7467600" cy="890913"/>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Judicious Use Of Oxygen</a:t>
            </a:r>
            <a:endParaRPr lang="en-US" sz="3600" b="1" spc="-50" dirty="0">
              <a:solidFill>
                <a:schemeClr val="accent2">
                  <a:lumMod val="75000"/>
                </a:schemeClr>
              </a:solidFill>
              <a:latin typeface="+mn-lt"/>
              <a:ea typeface="+mj-ea"/>
              <a:cs typeface="+mj-cs"/>
              <a:sym typeface="Arial"/>
            </a:endParaRPr>
          </a:p>
        </p:txBody>
      </p:sp>
    </p:spTree>
    <p:extLst>
      <p:ext uri="{BB962C8B-B14F-4D97-AF65-F5344CB8AC3E}">
        <p14:creationId xmlns:p14="http://schemas.microsoft.com/office/powerpoint/2010/main" val="152299458"/>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2B39BF-E74C-4A5E-B79E-FF6C678CCDCD}"/>
              </a:ext>
            </a:extLst>
          </p:cNvPr>
          <p:cNvSpPr>
            <a:spLocks noGrp="1"/>
          </p:cNvSpPr>
          <p:nvPr>
            <p:ph type="title"/>
          </p:nvPr>
        </p:nvSpPr>
        <p:spPr>
          <a:xfrm>
            <a:off x="822960" y="752714"/>
            <a:ext cx="7511743" cy="3547346"/>
          </a:xfrm>
        </p:spPr>
        <p:txBody>
          <a:bodyPr>
            <a:normAutofit/>
          </a:bodyPr>
          <a:lstStyle/>
          <a:p>
            <a:r>
              <a:rPr lang="en-US" sz="3600" b="1" spc="-50" dirty="0">
                <a:solidFill>
                  <a:schemeClr val="accent2">
                    <a:lumMod val="75000"/>
                  </a:schemeClr>
                </a:solidFill>
                <a:latin typeface="+mn-lt"/>
              </a:rPr>
              <a:t>Session I: Introduction and Pre-test</a:t>
            </a:r>
          </a:p>
        </p:txBody>
      </p:sp>
    </p:spTree>
    <p:extLst>
      <p:ext uri="{BB962C8B-B14F-4D97-AF65-F5344CB8AC3E}">
        <p14:creationId xmlns:p14="http://schemas.microsoft.com/office/powerpoint/2010/main" val="41924379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2A25E4-4C80-44F1-AFE5-D80E8919DD8B}"/>
              </a:ext>
            </a:extLst>
          </p:cNvPr>
          <p:cNvSpPr>
            <a:spLocks noGrp="1"/>
          </p:cNvSpPr>
          <p:nvPr>
            <p:ph type="sldNum" idx="12"/>
          </p:nvPr>
        </p:nvSpPr>
        <p:spPr>
          <a:xfrm>
            <a:off x="4196322" y="7136695"/>
            <a:ext cx="135862" cy="164592"/>
          </a:xfrm>
        </p:spPr>
        <p:txBody>
          <a:bodyPr/>
          <a:lstStyle/>
          <a:p>
            <a:fld id="{00000000-1234-1234-1234-123412341234}" type="slidenum">
              <a:rPr lang="en-US" smtClean="0">
                <a:latin typeface="+mn-lt"/>
              </a:rPr>
              <a:pPr/>
              <a:t>40</a:t>
            </a:fld>
            <a:endParaRPr lang="en-US">
              <a:latin typeface="+mn-lt"/>
            </a:endParaRPr>
          </a:p>
        </p:txBody>
      </p:sp>
      <p:sp>
        <p:nvSpPr>
          <p:cNvPr id="4" name="Google Shape;602;ge9eb37db0a_0_51">
            <a:extLst>
              <a:ext uri="{FF2B5EF4-FFF2-40B4-BE49-F238E27FC236}">
                <a16:creationId xmlns:a16="http://schemas.microsoft.com/office/drawing/2014/main" id="{F5D5D38E-42DF-45EE-8B33-84E3A79A8AC5}"/>
              </a:ext>
            </a:extLst>
          </p:cNvPr>
          <p:cNvSpPr txBox="1"/>
          <p:nvPr/>
        </p:nvSpPr>
        <p:spPr>
          <a:xfrm>
            <a:off x="641362" y="787423"/>
            <a:ext cx="7861274" cy="942315"/>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3600" b="1" spc="-50" dirty="0">
                <a:solidFill>
                  <a:schemeClr val="accent2">
                    <a:lumMod val="75000"/>
                  </a:schemeClr>
                </a:solidFill>
                <a:latin typeface="+mn-lt"/>
                <a:ea typeface="+mj-ea"/>
                <a:cs typeface="+mj-cs"/>
              </a:rPr>
              <a:t>Judicious Use Of Oxygen</a:t>
            </a:r>
            <a:endParaRPr lang="en-US" sz="3600" b="1" spc="-50" dirty="0">
              <a:solidFill>
                <a:schemeClr val="accent2">
                  <a:lumMod val="75000"/>
                </a:schemeClr>
              </a:solidFill>
              <a:latin typeface="+mn-lt"/>
              <a:ea typeface="+mj-ea"/>
              <a:cs typeface="+mj-cs"/>
              <a:sym typeface="Arial"/>
            </a:endParaRPr>
          </a:p>
        </p:txBody>
      </p:sp>
      <p:sp>
        <p:nvSpPr>
          <p:cNvPr id="12" name="Rectangle: Rounded Corners 11">
            <a:extLst>
              <a:ext uri="{FF2B5EF4-FFF2-40B4-BE49-F238E27FC236}">
                <a16:creationId xmlns:a16="http://schemas.microsoft.com/office/drawing/2014/main" id="{ED326594-8957-436F-9785-91DA37EADCA5}"/>
              </a:ext>
            </a:extLst>
          </p:cNvPr>
          <p:cNvSpPr/>
          <p:nvPr/>
        </p:nvSpPr>
        <p:spPr>
          <a:xfrm>
            <a:off x="4923628" y="2731028"/>
            <a:ext cx="3579009" cy="73084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Clr>
                <a:schemeClr val="bg1"/>
              </a:buClr>
              <a:buFont typeface="Wingdings" panose="05000000000000000000" pitchFamily="2" charset="2"/>
              <a:buChar char="ü"/>
            </a:pPr>
            <a:r>
              <a:rPr lang="en-GB" sz="1400" dirty="0">
                <a:solidFill>
                  <a:schemeClr val="bg1"/>
                </a:solidFill>
              </a:rPr>
              <a:t>Triaging of patients as per their oxygen status should be done at regular </a:t>
            </a:r>
            <a:r>
              <a:rPr lang="en-IN" sz="1400" dirty="0">
                <a:solidFill>
                  <a:schemeClr val="bg1"/>
                </a:solidFill>
              </a:rPr>
              <a:t>intervals.</a:t>
            </a:r>
            <a:endParaRPr lang="en-GB" sz="1400" dirty="0">
              <a:solidFill>
                <a:schemeClr val="bg1"/>
              </a:solidFill>
            </a:endParaRPr>
          </a:p>
        </p:txBody>
      </p:sp>
      <p:sp>
        <p:nvSpPr>
          <p:cNvPr id="13" name="Rectangle: Rounded Corners 12">
            <a:extLst>
              <a:ext uri="{FF2B5EF4-FFF2-40B4-BE49-F238E27FC236}">
                <a16:creationId xmlns:a16="http://schemas.microsoft.com/office/drawing/2014/main" id="{EE8B8276-8787-4AF0-B82B-BAC7198E2131}"/>
              </a:ext>
            </a:extLst>
          </p:cNvPr>
          <p:cNvSpPr/>
          <p:nvPr/>
        </p:nvSpPr>
        <p:spPr>
          <a:xfrm>
            <a:off x="4923627" y="3633256"/>
            <a:ext cx="3579009" cy="73084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Clr>
                <a:schemeClr val="bg1"/>
              </a:buClr>
              <a:buFont typeface="Wingdings" panose="05000000000000000000" pitchFamily="2" charset="2"/>
              <a:buChar char="ü"/>
            </a:pPr>
            <a:r>
              <a:rPr lang="en-GB" sz="1400" dirty="0">
                <a:solidFill>
                  <a:schemeClr val="bg1"/>
                </a:solidFill>
              </a:rPr>
              <a:t>One staff should be dedicated in each shift for continuously checking any leakage from oxygen </a:t>
            </a:r>
            <a:r>
              <a:rPr lang="en-IN" sz="1400" dirty="0">
                <a:solidFill>
                  <a:schemeClr val="bg1"/>
                </a:solidFill>
              </a:rPr>
              <a:t>source or delivery device.</a:t>
            </a:r>
          </a:p>
        </p:txBody>
      </p:sp>
      <p:sp>
        <p:nvSpPr>
          <p:cNvPr id="14" name="Rectangle: Rounded Corners 13">
            <a:extLst>
              <a:ext uri="{FF2B5EF4-FFF2-40B4-BE49-F238E27FC236}">
                <a16:creationId xmlns:a16="http://schemas.microsoft.com/office/drawing/2014/main" id="{C729C273-4C6C-44C8-A2CF-2848F6079183}"/>
              </a:ext>
            </a:extLst>
          </p:cNvPr>
          <p:cNvSpPr/>
          <p:nvPr/>
        </p:nvSpPr>
        <p:spPr>
          <a:xfrm>
            <a:off x="4923628" y="4543505"/>
            <a:ext cx="3579008" cy="73084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Clr>
                <a:schemeClr val="bg1"/>
              </a:buClr>
              <a:buFont typeface="Wingdings" panose="05000000000000000000" pitchFamily="2" charset="2"/>
              <a:buChar char="ü"/>
            </a:pPr>
            <a:r>
              <a:rPr lang="en-GB" sz="1400" dirty="0">
                <a:solidFill>
                  <a:schemeClr val="bg1"/>
                </a:solidFill>
              </a:rPr>
              <a:t>Close the oxygen valves when not in use like patient is taking meals or is not on bed.</a:t>
            </a:r>
          </a:p>
        </p:txBody>
      </p:sp>
      <p:sp>
        <p:nvSpPr>
          <p:cNvPr id="15" name="Rectangle: Rounded Corners 14">
            <a:extLst>
              <a:ext uri="{FF2B5EF4-FFF2-40B4-BE49-F238E27FC236}">
                <a16:creationId xmlns:a16="http://schemas.microsoft.com/office/drawing/2014/main" id="{A1A0D9CB-3161-488A-AA79-5D2BA43BC85A}"/>
              </a:ext>
            </a:extLst>
          </p:cNvPr>
          <p:cNvSpPr/>
          <p:nvPr/>
        </p:nvSpPr>
        <p:spPr>
          <a:xfrm>
            <a:off x="4923628" y="5453753"/>
            <a:ext cx="3579008" cy="82806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Clr>
                <a:schemeClr val="bg1"/>
              </a:buClr>
              <a:buFont typeface="Wingdings" panose="05000000000000000000" pitchFamily="2" charset="2"/>
              <a:buChar char="ü"/>
            </a:pPr>
            <a:r>
              <a:rPr lang="en-GB" sz="1400" dirty="0">
                <a:solidFill>
                  <a:schemeClr val="bg1"/>
                </a:solidFill>
              </a:rPr>
              <a:t>Divide the hospital in two zones ,one for patients having high oxygen demand and other for those needing less or no Oxygen.</a:t>
            </a:r>
            <a:endParaRPr lang="en-IN" sz="1400" dirty="0">
              <a:solidFill>
                <a:schemeClr val="bg1"/>
              </a:solidFill>
            </a:endParaRPr>
          </a:p>
        </p:txBody>
      </p:sp>
      <p:sp>
        <p:nvSpPr>
          <p:cNvPr id="17" name="Rectangle: Rounded Corners 16">
            <a:extLst>
              <a:ext uri="{FF2B5EF4-FFF2-40B4-BE49-F238E27FC236}">
                <a16:creationId xmlns:a16="http://schemas.microsoft.com/office/drawing/2014/main" id="{7BCD956A-DF39-455D-8A28-EB274B6CA632}"/>
              </a:ext>
            </a:extLst>
          </p:cNvPr>
          <p:cNvSpPr/>
          <p:nvPr/>
        </p:nvSpPr>
        <p:spPr>
          <a:xfrm>
            <a:off x="852903" y="5343488"/>
            <a:ext cx="3915933" cy="88573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Clr>
                <a:schemeClr val="bg1"/>
              </a:buClr>
              <a:buFont typeface="Wingdings" panose="05000000000000000000" pitchFamily="2" charset="2"/>
              <a:buChar char="ü"/>
            </a:pPr>
            <a:r>
              <a:rPr lang="en-GB" sz="1400" dirty="0">
                <a:solidFill>
                  <a:schemeClr val="bg1"/>
                </a:solidFill>
              </a:rPr>
              <a:t>Prone positioning should be intermittently done in patients of COVID -19 along with adjunctive physiotherapy. This optimizes the respiratory status.</a:t>
            </a:r>
          </a:p>
        </p:txBody>
      </p:sp>
      <p:sp>
        <p:nvSpPr>
          <p:cNvPr id="18" name="Rectangle: Rounded Corners 17">
            <a:extLst>
              <a:ext uri="{FF2B5EF4-FFF2-40B4-BE49-F238E27FC236}">
                <a16:creationId xmlns:a16="http://schemas.microsoft.com/office/drawing/2014/main" id="{CC1428E1-F35E-4580-A5E9-4BB99B1F6E0F}"/>
              </a:ext>
            </a:extLst>
          </p:cNvPr>
          <p:cNvSpPr/>
          <p:nvPr/>
        </p:nvSpPr>
        <p:spPr>
          <a:xfrm>
            <a:off x="4923627" y="1828800"/>
            <a:ext cx="3579009" cy="73084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Clr>
                <a:schemeClr val="bg1"/>
              </a:buClr>
              <a:buFont typeface="Wingdings" panose="05000000000000000000" pitchFamily="2" charset="2"/>
              <a:buChar char="ü"/>
            </a:pPr>
            <a:r>
              <a:rPr lang="en-GB" sz="1400" dirty="0">
                <a:solidFill>
                  <a:schemeClr val="bg1"/>
                </a:solidFill>
              </a:rPr>
              <a:t>Individualization of oxygen therapy should be done taking into account the clinical signs like respiratory rate etc.</a:t>
            </a:r>
          </a:p>
        </p:txBody>
      </p:sp>
      <p:sp>
        <p:nvSpPr>
          <p:cNvPr id="22" name="Rectangle: Rounded Corners 21">
            <a:extLst>
              <a:ext uri="{FF2B5EF4-FFF2-40B4-BE49-F238E27FC236}">
                <a16:creationId xmlns:a16="http://schemas.microsoft.com/office/drawing/2014/main" id="{282B281A-43CC-450A-8E21-90BECCB3AF53}"/>
              </a:ext>
            </a:extLst>
          </p:cNvPr>
          <p:cNvSpPr/>
          <p:nvPr/>
        </p:nvSpPr>
        <p:spPr>
          <a:xfrm>
            <a:off x="838199" y="1968012"/>
            <a:ext cx="3854437" cy="942315"/>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Clr>
                <a:schemeClr val="bg1"/>
              </a:buClr>
              <a:buFont typeface="Wingdings" panose="05000000000000000000" pitchFamily="2" charset="2"/>
              <a:buChar char="ü"/>
            </a:pPr>
            <a:r>
              <a:rPr lang="en-GB" sz="1400" dirty="0">
                <a:solidFill>
                  <a:schemeClr val="bg1"/>
                </a:solidFill>
              </a:rPr>
              <a:t>If patient is not maintaining saturation the device should be upgraded instead of increasing the flow rate beyond the </a:t>
            </a:r>
            <a:r>
              <a:rPr lang="en-IN" sz="1400" dirty="0">
                <a:solidFill>
                  <a:schemeClr val="bg1"/>
                </a:solidFill>
              </a:rPr>
              <a:t>prescribed range .</a:t>
            </a:r>
          </a:p>
        </p:txBody>
      </p:sp>
      <p:sp>
        <p:nvSpPr>
          <p:cNvPr id="23" name="Rectangle: Rounded Corners 22">
            <a:extLst>
              <a:ext uri="{FF2B5EF4-FFF2-40B4-BE49-F238E27FC236}">
                <a16:creationId xmlns:a16="http://schemas.microsoft.com/office/drawing/2014/main" id="{60DEB5AC-39DE-4BB4-8CCC-F4A7B615C1BE}"/>
              </a:ext>
            </a:extLst>
          </p:cNvPr>
          <p:cNvSpPr/>
          <p:nvPr/>
        </p:nvSpPr>
        <p:spPr>
          <a:xfrm>
            <a:off x="838200" y="3152351"/>
            <a:ext cx="3854437" cy="824635"/>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Clr>
                <a:schemeClr val="bg1"/>
              </a:buClr>
              <a:buFont typeface="Wingdings" panose="05000000000000000000" pitchFamily="2" charset="2"/>
              <a:buChar char="ü"/>
            </a:pPr>
            <a:r>
              <a:rPr lang="en-GB" sz="1400" dirty="0">
                <a:solidFill>
                  <a:schemeClr val="bg1"/>
                </a:solidFill>
              </a:rPr>
              <a:t>Reverse should be followed during weaning.</a:t>
            </a:r>
          </a:p>
        </p:txBody>
      </p:sp>
      <p:sp>
        <p:nvSpPr>
          <p:cNvPr id="24" name="Rectangle: Rounded Corners 23">
            <a:extLst>
              <a:ext uri="{FF2B5EF4-FFF2-40B4-BE49-F238E27FC236}">
                <a16:creationId xmlns:a16="http://schemas.microsoft.com/office/drawing/2014/main" id="{B6BA9C86-4404-43AE-A03D-A435507FA0E0}"/>
              </a:ext>
            </a:extLst>
          </p:cNvPr>
          <p:cNvSpPr/>
          <p:nvPr/>
        </p:nvSpPr>
        <p:spPr>
          <a:xfrm>
            <a:off x="843095" y="4215734"/>
            <a:ext cx="3849542" cy="88573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buClr>
                <a:schemeClr val="bg1"/>
              </a:buClr>
              <a:buFont typeface="Wingdings" panose="05000000000000000000" pitchFamily="2" charset="2"/>
              <a:buChar char="ü"/>
            </a:pPr>
            <a:r>
              <a:rPr lang="en-GB" sz="1400" dirty="0">
                <a:solidFill>
                  <a:schemeClr val="bg1"/>
                </a:solidFill>
              </a:rPr>
              <a:t>Indiscriminate use of BIPAP/HFNC should be avoided. When required, BIPAP should be preferred over HFNC; the latter consumes enormous amount </a:t>
            </a:r>
            <a:r>
              <a:rPr lang="en-IN" sz="1400" dirty="0">
                <a:solidFill>
                  <a:schemeClr val="bg1"/>
                </a:solidFill>
              </a:rPr>
              <a:t>of oxygen. </a:t>
            </a:r>
            <a:endParaRPr lang="en-GB" sz="1400" dirty="0">
              <a:solidFill>
                <a:schemeClr val="bg1"/>
              </a:solidFill>
            </a:endParaRPr>
          </a:p>
        </p:txBody>
      </p:sp>
    </p:spTree>
    <p:extLst>
      <p:ext uri="{BB962C8B-B14F-4D97-AF65-F5344CB8AC3E}">
        <p14:creationId xmlns:p14="http://schemas.microsoft.com/office/powerpoint/2010/main" val="2271168735"/>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601"/>
        <p:cNvGrpSpPr/>
        <p:nvPr/>
      </p:nvGrpSpPr>
      <p:grpSpPr>
        <a:xfrm>
          <a:off x="0" y="0"/>
          <a:ext cx="0" cy="0"/>
          <a:chOff x="0" y="0"/>
          <a:chExt cx="0" cy="0"/>
        </a:xfrm>
      </p:grpSpPr>
      <p:sp>
        <p:nvSpPr>
          <p:cNvPr id="602" name="Google Shape;602;ge9eb37db0a_0_51"/>
          <p:cNvSpPr txBox="1"/>
          <p:nvPr/>
        </p:nvSpPr>
        <p:spPr>
          <a:xfrm>
            <a:off x="876300" y="713637"/>
            <a:ext cx="7391400" cy="986872"/>
          </a:xfrm>
          <a:prstGeom prst="rect">
            <a:avLst/>
          </a:prstGeom>
          <a:noFill/>
          <a:ln>
            <a:noFill/>
          </a:ln>
        </p:spPr>
        <p:txBody>
          <a:bodyPr spcFirstLastPara="1" wrap="square" lIns="0" tIns="0" rIns="0" bIns="0" anchor="b" anchorCtr="0">
            <a:noAutofit/>
          </a:bodyPr>
          <a:lstStyle/>
          <a:p>
            <a:pPr algn="ctr">
              <a:spcBef>
                <a:spcPts val="0"/>
              </a:spcBef>
              <a:spcAft>
                <a:spcPts val="0"/>
              </a:spcAft>
              <a:buClr>
                <a:schemeClr val="accent1"/>
              </a:buClr>
              <a:buSzPts val="3200"/>
            </a:pPr>
            <a:r>
              <a:rPr lang="en-US" sz="4000" b="1" spc="-50" dirty="0">
                <a:solidFill>
                  <a:schemeClr val="accent2">
                    <a:lumMod val="75000"/>
                  </a:schemeClr>
                </a:solidFill>
                <a:latin typeface="+mn-lt"/>
                <a:ea typeface="+mj-ea"/>
                <a:cs typeface="+mj-cs"/>
              </a:rPr>
              <a:t>Conclusion</a:t>
            </a:r>
            <a:endParaRPr lang="en-US" sz="4000" b="1" spc="-50" dirty="0">
              <a:solidFill>
                <a:schemeClr val="accent2">
                  <a:lumMod val="75000"/>
                </a:schemeClr>
              </a:solidFill>
              <a:latin typeface="+mn-lt"/>
              <a:ea typeface="+mj-ea"/>
              <a:cs typeface="+mj-cs"/>
              <a:sym typeface="Arial"/>
            </a:endParaRPr>
          </a:p>
        </p:txBody>
      </p:sp>
      <p:sp>
        <p:nvSpPr>
          <p:cNvPr id="2" name="TextBox 1">
            <a:extLst>
              <a:ext uri="{FF2B5EF4-FFF2-40B4-BE49-F238E27FC236}">
                <a16:creationId xmlns:a16="http://schemas.microsoft.com/office/drawing/2014/main" id="{DFF96A38-8B21-4BF5-81FD-F3936BFD89D7}"/>
              </a:ext>
            </a:extLst>
          </p:cNvPr>
          <p:cNvSpPr txBox="1"/>
          <p:nvPr/>
        </p:nvSpPr>
        <p:spPr>
          <a:xfrm>
            <a:off x="914400" y="1828800"/>
            <a:ext cx="7772400" cy="4327467"/>
          </a:xfrm>
          <a:prstGeom prst="rect">
            <a:avLst/>
          </a:prstGeom>
          <a:noFill/>
        </p:spPr>
        <p:txBody>
          <a:bodyPr wrap="square" rtlCol="0">
            <a:spAutoFit/>
          </a:bodyPr>
          <a:lstStyle/>
          <a:p>
            <a:pPr marL="285750" indent="-285750" algn="just" eaLnBrk="1" hangingPunct="1">
              <a:lnSpc>
                <a:spcPct val="150000"/>
              </a:lnSpc>
              <a:buClr>
                <a:schemeClr val="accent2"/>
              </a:buClr>
              <a:buSzPct val="100000"/>
              <a:buFont typeface="Arial" panose="020B0604020202020204" pitchFamily="34" charset="0"/>
              <a:buChar char="•"/>
            </a:pPr>
            <a:r>
              <a:rPr lang="en-US" altLang="ar-SA" dirty="0">
                <a:latin typeface="+mn-lt"/>
                <a:cs typeface="Arial" panose="020B0604020202020204" pitchFamily="34" charset="0"/>
              </a:rPr>
              <a:t>Oxygen is a </a:t>
            </a:r>
            <a:r>
              <a:rPr lang="en-US" altLang="ar-SA" b="1" dirty="0">
                <a:latin typeface="+mn-lt"/>
                <a:cs typeface="Arial" panose="020B0604020202020204" pitchFamily="34" charset="0"/>
              </a:rPr>
              <a:t>drug. </a:t>
            </a:r>
          </a:p>
          <a:p>
            <a:pPr marL="285750" indent="-285750" algn="just" eaLnBrk="1" hangingPunct="1">
              <a:lnSpc>
                <a:spcPct val="150000"/>
              </a:lnSpc>
              <a:buClr>
                <a:schemeClr val="accent2"/>
              </a:buClr>
              <a:buSzPct val="100000"/>
              <a:buFont typeface="Arial" panose="020B0604020202020204" pitchFamily="34" charset="0"/>
              <a:buChar char="•"/>
            </a:pPr>
            <a:endParaRPr lang="en-US" altLang="ar-SA" dirty="0">
              <a:latin typeface="+mn-lt"/>
              <a:cs typeface="Arial" panose="020B0604020202020204" pitchFamily="34" charset="0"/>
            </a:endParaRPr>
          </a:p>
          <a:p>
            <a:pPr algn="just" eaLnBrk="1" hangingPunct="1">
              <a:lnSpc>
                <a:spcPct val="150000"/>
              </a:lnSpc>
              <a:spcBef>
                <a:spcPts val="600"/>
              </a:spcBef>
              <a:spcAft>
                <a:spcPts val="600"/>
              </a:spcAft>
              <a:buClr>
                <a:schemeClr val="accent2"/>
              </a:buClr>
              <a:buSzPct val="100000"/>
            </a:pPr>
            <a:endParaRPr lang="en-GB" dirty="0">
              <a:latin typeface="+mn-lt"/>
            </a:endParaRPr>
          </a:p>
          <a:p>
            <a:pPr marL="285750" indent="-285750" algn="just" eaLnBrk="1" hangingPunct="1">
              <a:lnSpc>
                <a:spcPct val="150000"/>
              </a:lnSpc>
              <a:spcBef>
                <a:spcPts val="600"/>
              </a:spcBef>
              <a:spcAft>
                <a:spcPts val="600"/>
              </a:spcAft>
              <a:buClr>
                <a:schemeClr val="accent2"/>
              </a:buClr>
              <a:buSzPct val="100000"/>
              <a:buFont typeface="Arial" panose="020B0604020202020204" pitchFamily="34" charset="0"/>
              <a:buChar char="•"/>
            </a:pPr>
            <a:r>
              <a:rPr lang="en-GB" dirty="0">
                <a:latin typeface="+mn-lt"/>
              </a:rPr>
              <a:t>In </a:t>
            </a:r>
            <a:r>
              <a:rPr lang="en-GB" b="1" dirty="0">
                <a:latin typeface="+mn-lt"/>
              </a:rPr>
              <a:t>COVID-19 patients </a:t>
            </a:r>
            <a:r>
              <a:rPr lang="en-GB" dirty="0">
                <a:latin typeface="+mn-lt"/>
              </a:rPr>
              <a:t>demand of oxygen varies, starting about 5th day onwards. Right amount of oxygen at golden hour is life saving.</a:t>
            </a:r>
          </a:p>
          <a:p>
            <a:pPr marL="285750" indent="-285750" algn="just" eaLnBrk="1" hangingPunct="1">
              <a:lnSpc>
                <a:spcPct val="150000"/>
              </a:lnSpc>
              <a:spcBef>
                <a:spcPts val="600"/>
              </a:spcBef>
              <a:spcAft>
                <a:spcPts val="600"/>
              </a:spcAft>
              <a:buClr>
                <a:schemeClr val="accent2"/>
              </a:buClr>
              <a:buSzPct val="100000"/>
              <a:buFont typeface="Arial" panose="020B0604020202020204" pitchFamily="34" charset="0"/>
              <a:buChar char="•"/>
            </a:pPr>
            <a:r>
              <a:rPr lang="en-GB" altLang="ar-SA" dirty="0">
                <a:latin typeface="+mn-lt"/>
                <a:ea typeface="Arial" panose="020B0604020202020204" pitchFamily="34" charset="0"/>
              </a:rPr>
              <a:t>It is extremely important to be well aware of the </a:t>
            </a:r>
            <a:r>
              <a:rPr lang="en-GB" altLang="ar-SA" b="1" dirty="0">
                <a:latin typeface="+mn-lt"/>
                <a:ea typeface="Arial" panose="020B0604020202020204" pitchFamily="34" charset="0"/>
              </a:rPr>
              <a:t>required purity and flow </a:t>
            </a:r>
            <a:r>
              <a:rPr lang="en-GB" altLang="ar-SA" dirty="0">
                <a:latin typeface="+mn-lt"/>
                <a:ea typeface="Arial" panose="020B0604020202020204" pitchFamily="34" charset="0"/>
              </a:rPr>
              <a:t>of oxygen and follow the set standards. </a:t>
            </a:r>
          </a:p>
          <a:p>
            <a:pPr marL="285750" indent="-285750" algn="just" eaLnBrk="1" hangingPunct="1">
              <a:lnSpc>
                <a:spcPct val="150000"/>
              </a:lnSpc>
              <a:spcBef>
                <a:spcPts val="600"/>
              </a:spcBef>
              <a:spcAft>
                <a:spcPts val="600"/>
              </a:spcAft>
              <a:buClr>
                <a:schemeClr val="accent2"/>
              </a:buClr>
              <a:buSzPct val="100000"/>
              <a:buFont typeface="Arial" panose="020B0604020202020204" pitchFamily="34" charset="0"/>
              <a:buChar char="•"/>
            </a:pPr>
            <a:r>
              <a:rPr lang="en-GB" altLang="ar-SA" dirty="0">
                <a:latin typeface="+mn-lt"/>
                <a:ea typeface="Arial" panose="020B0604020202020204" pitchFamily="34" charset="0"/>
              </a:rPr>
              <a:t>For sustainable use of oxygen, one must </a:t>
            </a:r>
            <a:r>
              <a:rPr lang="en-GB" altLang="ar-SA" b="1" dirty="0">
                <a:latin typeface="+mn-lt"/>
                <a:ea typeface="Arial" panose="020B0604020202020204" pitchFamily="34" charset="0"/>
              </a:rPr>
              <a:t>avoid over-exploitation of resources and oxygen wastage.</a:t>
            </a:r>
            <a:endParaRPr lang="en-IN" altLang="ar-SA" b="1" dirty="0">
              <a:latin typeface="+mn-lt"/>
              <a:ea typeface="Arial" panose="020B0604020202020204" pitchFamily="34" charset="0"/>
            </a:endParaRPr>
          </a:p>
        </p:txBody>
      </p:sp>
      <p:sp>
        <p:nvSpPr>
          <p:cNvPr id="4" name="Rectangle: Rounded Corners 3">
            <a:extLst>
              <a:ext uri="{FF2B5EF4-FFF2-40B4-BE49-F238E27FC236}">
                <a16:creationId xmlns:a16="http://schemas.microsoft.com/office/drawing/2014/main" id="{C8375FE3-511B-4624-9891-3E417F9C6733}"/>
              </a:ext>
            </a:extLst>
          </p:cNvPr>
          <p:cNvSpPr/>
          <p:nvPr/>
        </p:nvSpPr>
        <p:spPr>
          <a:xfrm>
            <a:off x="1485900" y="2438400"/>
            <a:ext cx="5524500" cy="838200"/>
          </a:xfrm>
          <a:prstGeom prst="roundRect">
            <a:avLst/>
          </a:prstGeom>
          <a:solidFill>
            <a:schemeClr val="accent2">
              <a:lumMod val="75000"/>
            </a:schemeClr>
          </a:solidFill>
          <a:ln>
            <a:noFill/>
          </a:ln>
        </p:spPr>
        <p:style>
          <a:lnRef idx="2">
            <a:schemeClr val="accent1"/>
          </a:lnRef>
          <a:fillRef idx="1">
            <a:schemeClr val="lt1"/>
          </a:fillRef>
          <a:effectRef idx="0">
            <a:schemeClr val="accent1"/>
          </a:effectRef>
          <a:fontRef idx="minor">
            <a:schemeClr val="dk1"/>
          </a:fontRef>
        </p:style>
        <p:txBody>
          <a:bodyPr rtlCol="0" anchor="t"/>
          <a:lstStyle/>
          <a:p>
            <a:pPr algn="ctr" eaLnBrk="1" hangingPunct="1">
              <a:buClr>
                <a:schemeClr val="bg2"/>
              </a:buClr>
              <a:buSzPct val="100000"/>
            </a:pPr>
            <a:r>
              <a:rPr lang="en-US" altLang="ar-SA" i="1" dirty="0">
                <a:solidFill>
                  <a:schemeClr val="bg1"/>
                </a:solidFill>
                <a:cs typeface="Arial" panose="020B0604020202020204" pitchFamily="34" charset="0"/>
              </a:rPr>
              <a:t>“When appropriately used, it is extremely beneficial,  </a:t>
            </a:r>
          </a:p>
          <a:p>
            <a:pPr algn="ctr" eaLnBrk="1" hangingPunct="1">
              <a:buClr>
                <a:schemeClr val="bg2"/>
              </a:buClr>
              <a:buSzPct val="100000"/>
            </a:pPr>
            <a:r>
              <a:rPr lang="en-US" altLang="ar-SA" i="1" dirty="0">
                <a:solidFill>
                  <a:schemeClr val="bg1"/>
                </a:solidFill>
                <a:cs typeface="Arial" panose="020B0604020202020204" pitchFamily="34" charset="0"/>
              </a:rPr>
              <a:t>When misused or abused, it is potentially harmful.”</a:t>
            </a:r>
          </a:p>
          <a:p>
            <a:pPr algn="ctr"/>
            <a:endParaRPr lang="en-IN" dirty="0">
              <a:solidFill>
                <a:schemeClr val="bg1"/>
              </a:solidFill>
            </a:endParaRPr>
          </a:p>
        </p:txBody>
      </p:sp>
    </p:spTree>
    <p:extLst>
      <p:ext uri="{BB962C8B-B14F-4D97-AF65-F5344CB8AC3E}">
        <p14:creationId xmlns:p14="http://schemas.microsoft.com/office/powerpoint/2010/main" val="3382929470"/>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2682D-2852-49CB-B5F8-DE6209420C9F}"/>
              </a:ext>
            </a:extLst>
          </p:cNvPr>
          <p:cNvSpPr>
            <a:spLocks noGrp="1"/>
          </p:cNvSpPr>
          <p:nvPr>
            <p:ph type="title"/>
          </p:nvPr>
        </p:nvSpPr>
        <p:spPr>
          <a:xfrm>
            <a:off x="773113" y="1506538"/>
            <a:ext cx="7543800" cy="1500187"/>
          </a:xfrm>
        </p:spPr>
        <p:txBody>
          <a:bodyPr/>
          <a:lstStyle/>
          <a:p>
            <a:pPr algn="ctr" eaLnBrk="1" fontAlgn="auto" hangingPunct="1">
              <a:spcAft>
                <a:spcPts val="0"/>
              </a:spcAft>
              <a:defRPr/>
            </a:pPr>
            <a:r>
              <a:rPr lang="en-US" sz="3000" b="1" dirty="0">
                <a:solidFill>
                  <a:schemeClr val="accent2">
                    <a:lumMod val="75000"/>
                  </a:schemeClr>
                </a:solidFill>
              </a:rPr>
              <a:t>Thank You!</a:t>
            </a:r>
          </a:p>
        </p:txBody>
      </p:sp>
      <p:sp>
        <p:nvSpPr>
          <p:cNvPr id="3" name="Text Placeholder 2">
            <a:extLst>
              <a:ext uri="{FF2B5EF4-FFF2-40B4-BE49-F238E27FC236}">
                <a16:creationId xmlns:a16="http://schemas.microsoft.com/office/drawing/2014/main" id="{3DDC4C97-4694-4FA3-A1C6-32E6107E510E}"/>
              </a:ext>
            </a:extLst>
          </p:cNvPr>
          <p:cNvSpPr>
            <a:spLocks noGrp="1"/>
          </p:cNvSpPr>
          <p:nvPr>
            <p:ph type="body" idx="1"/>
          </p:nvPr>
        </p:nvSpPr>
        <p:spPr>
          <a:xfrm>
            <a:off x="822325" y="4452938"/>
            <a:ext cx="7543800" cy="1719262"/>
          </a:xfrm>
        </p:spPr>
        <p:txBody>
          <a:bodyPr rtlCol="0">
            <a:normAutofit fontScale="25000" lnSpcReduction="20000"/>
          </a:bodyPr>
          <a:lstStyle/>
          <a:p>
            <a:pPr eaLnBrk="1" fontAlgn="auto" hangingPunct="1">
              <a:lnSpc>
                <a:spcPct val="170000"/>
              </a:lnSpc>
              <a:defRPr/>
            </a:pPr>
            <a:r>
              <a:rPr lang="en-US" sz="4800" cap="none" dirty="0">
                <a:solidFill>
                  <a:schemeClr val="tx1"/>
                </a:solidFill>
                <a:latin typeface="Calibri" panose="020F0502020204030204" pitchFamily="34" charset="0"/>
                <a:cs typeface="Calibri" panose="020F0502020204030204" pitchFamily="34" charset="0"/>
              </a:rPr>
              <a:t>This presentation was made possible with support from the United States Agency for International Development funded RISE program, under the terms of the cooperative agreement 7200AA19CA00003. The contents are the responsibility of the RISE program and do not necessarily reflect the views of USAID or the United States Government.​</a:t>
            </a:r>
          </a:p>
          <a:p>
            <a:pPr eaLnBrk="1" fontAlgn="auto" hangingPunct="1">
              <a:defRPr/>
            </a:pPr>
            <a:endParaRPr lang="en-US" dirty="0"/>
          </a:p>
        </p:txBody>
      </p:sp>
    </p:spTree>
    <p:extLst>
      <p:ext uri="{BB962C8B-B14F-4D97-AF65-F5344CB8AC3E}">
        <p14:creationId xmlns:p14="http://schemas.microsoft.com/office/powerpoint/2010/main" val="16166011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76D92-6BF8-4FA8-8021-DB872EA7C895}"/>
              </a:ext>
            </a:extLst>
          </p:cNvPr>
          <p:cNvSpPr>
            <a:spLocks noGrp="1"/>
          </p:cNvSpPr>
          <p:nvPr>
            <p:ph type="title"/>
          </p:nvPr>
        </p:nvSpPr>
        <p:spPr>
          <a:xfrm>
            <a:off x="735157" y="2552700"/>
            <a:ext cx="7494444" cy="1752600"/>
          </a:xfrm>
        </p:spPr>
        <p:txBody>
          <a:bodyPr>
            <a:normAutofit/>
          </a:bodyPr>
          <a:lstStyle/>
          <a:p>
            <a:pPr eaLnBrk="1" hangingPunct="1">
              <a:defRPr/>
            </a:pPr>
            <a:r>
              <a:rPr lang="en-US" sz="3600" b="1" spc="-50" dirty="0">
                <a:solidFill>
                  <a:schemeClr val="accent2">
                    <a:lumMod val="75000"/>
                  </a:schemeClr>
                </a:solidFill>
                <a:latin typeface="+mn-lt"/>
              </a:rPr>
              <a:t>Session III: Oxygen Delivery Solutions </a:t>
            </a:r>
            <a:endParaRPr lang="en-US" sz="3600" spc="-50" dirty="0">
              <a:solidFill>
                <a:schemeClr val="accent2">
                  <a:lumMod val="75000"/>
                </a:schemeClr>
              </a:solidFill>
              <a:latin typeface="+mn-lt"/>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C2617FC-8090-1C4F-9A59-11487F95AF0E}"/>
              </a:ext>
            </a:extLst>
          </p:cNvPr>
          <p:cNvSpPr txBox="1"/>
          <p:nvPr/>
        </p:nvSpPr>
        <p:spPr>
          <a:xfrm>
            <a:off x="2349708" y="2611100"/>
            <a:ext cx="0" cy="0"/>
          </a:xfrm>
          <a:prstGeom prst="rect">
            <a:avLst/>
          </a:prstGeom>
          <a:noFill/>
        </p:spPr>
        <p:txBody>
          <a:bodyPr wrap="none" lIns="0" tIns="0" rIns="0" bIns="0" rtlCol="0">
            <a:noAutofit/>
          </a:bodyPr>
          <a:lstStyle/>
          <a:p>
            <a:pPr defTabSz="342900">
              <a:defRPr/>
            </a:pPr>
            <a:endParaRPr lang="en-US" sz="1200" dirty="0" err="1">
              <a:solidFill>
                <a:srgbClr val="454E60"/>
              </a:solidFill>
              <a:latin typeface="+mn-lt"/>
              <a:ea typeface="+mn-ea"/>
            </a:endParaRPr>
          </a:p>
        </p:txBody>
      </p:sp>
      <p:grpSp>
        <p:nvGrpSpPr>
          <p:cNvPr id="40" name="Group 39">
            <a:extLst>
              <a:ext uri="{FF2B5EF4-FFF2-40B4-BE49-F238E27FC236}">
                <a16:creationId xmlns:a16="http://schemas.microsoft.com/office/drawing/2014/main" id="{416987BF-FF50-4921-BAB6-3DAF73F20EEB}"/>
              </a:ext>
            </a:extLst>
          </p:cNvPr>
          <p:cNvGrpSpPr/>
          <p:nvPr/>
        </p:nvGrpSpPr>
        <p:grpSpPr>
          <a:xfrm>
            <a:off x="4114800" y="1485612"/>
            <a:ext cx="4207670" cy="4505152"/>
            <a:chOff x="6324599" y="-16469"/>
            <a:chExt cx="5610227" cy="6006869"/>
          </a:xfrm>
        </p:grpSpPr>
        <p:grpSp>
          <p:nvGrpSpPr>
            <p:cNvPr id="23" name="Group 22">
              <a:extLst>
                <a:ext uri="{FF2B5EF4-FFF2-40B4-BE49-F238E27FC236}">
                  <a16:creationId xmlns:a16="http://schemas.microsoft.com/office/drawing/2014/main" id="{BC16101E-5AFF-4A8A-9EEE-76031A9BD337}"/>
                </a:ext>
              </a:extLst>
            </p:cNvPr>
            <p:cNvGrpSpPr/>
            <p:nvPr/>
          </p:nvGrpSpPr>
          <p:grpSpPr>
            <a:xfrm>
              <a:off x="6324599" y="-16469"/>
              <a:ext cx="5610226" cy="6006869"/>
              <a:chOff x="6324600" y="842195"/>
              <a:chExt cx="5610226" cy="6002613"/>
            </a:xfrm>
          </p:grpSpPr>
          <p:sp>
            <p:nvSpPr>
              <p:cNvPr id="24" name="Rectangle: Rounded Corners 23">
                <a:extLst>
                  <a:ext uri="{FF2B5EF4-FFF2-40B4-BE49-F238E27FC236}">
                    <a16:creationId xmlns:a16="http://schemas.microsoft.com/office/drawing/2014/main" id="{557DEC17-CF12-432C-AA70-3CFC51A25E49}"/>
                  </a:ext>
                </a:extLst>
              </p:cNvPr>
              <p:cNvSpPr/>
              <p:nvPr/>
            </p:nvSpPr>
            <p:spPr>
              <a:xfrm>
                <a:off x="6324601" y="5993685"/>
                <a:ext cx="5610225" cy="851123"/>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sz="2000" u="sng" dirty="0"/>
              </a:p>
            </p:txBody>
          </p:sp>
          <p:sp>
            <p:nvSpPr>
              <p:cNvPr id="25" name="Rectangle 24" descr="Sustainability outline">
                <a:extLst>
                  <a:ext uri="{FF2B5EF4-FFF2-40B4-BE49-F238E27FC236}">
                    <a16:creationId xmlns:a16="http://schemas.microsoft.com/office/drawing/2014/main" id="{2EC0F0C9-91B6-4E1C-A1F7-6F849A57EC76}"/>
                  </a:ext>
                </a:extLst>
              </p:cNvPr>
              <p:cNvSpPr/>
              <p:nvPr/>
            </p:nvSpPr>
            <p:spPr>
              <a:xfrm>
                <a:off x="6582065" y="6189187"/>
                <a:ext cx="468117" cy="468117"/>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6" name="Freeform: Shape 25">
                <a:extLst>
                  <a:ext uri="{FF2B5EF4-FFF2-40B4-BE49-F238E27FC236}">
                    <a16:creationId xmlns:a16="http://schemas.microsoft.com/office/drawing/2014/main" id="{AAFEA1F7-0664-4769-B459-17E56157CF39}"/>
                  </a:ext>
                </a:extLst>
              </p:cNvPr>
              <p:cNvSpPr/>
              <p:nvPr/>
            </p:nvSpPr>
            <p:spPr>
              <a:xfrm>
                <a:off x="7307647" y="842195"/>
                <a:ext cx="4627177" cy="851123"/>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endParaRPr lang="en-GB" sz="2000" u="sng" dirty="0"/>
              </a:p>
            </p:txBody>
          </p:sp>
          <p:sp>
            <p:nvSpPr>
              <p:cNvPr id="27" name="Rectangle: Rounded Corners 26">
                <a:extLst>
                  <a:ext uri="{FF2B5EF4-FFF2-40B4-BE49-F238E27FC236}">
                    <a16:creationId xmlns:a16="http://schemas.microsoft.com/office/drawing/2014/main" id="{05D29D33-6127-4FE3-8DAB-2D26A5466E65}"/>
                  </a:ext>
                </a:extLst>
              </p:cNvPr>
              <p:cNvSpPr/>
              <p:nvPr/>
            </p:nvSpPr>
            <p:spPr>
              <a:xfrm>
                <a:off x="6324600" y="1494911"/>
                <a:ext cx="5610225" cy="851123"/>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sz="2000" dirty="0"/>
              </a:p>
            </p:txBody>
          </p:sp>
          <p:sp>
            <p:nvSpPr>
              <p:cNvPr id="28" name="Rectangle 27" descr="Line Arrow: Straight">
                <a:extLst>
                  <a:ext uri="{FF2B5EF4-FFF2-40B4-BE49-F238E27FC236}">
                    <a16:creationId xmlns:a16="http://schemas.microsoft.com/office/drawing/2014/main" id="{3528EB6C-1C31-45C5-9E9F-A2E6BBFC59D9}"/>
                  </a:ext>
                </a:extLst>
              </p:cNvPr>
              <p:cNvSpPr/>
              <p:nvPr/>
            </p:nvSpPr>
            <p:spPr>
              <a:xfrm>
                <a:off x="6582064" y="1686414"/>
                <a:ext cx="468117" cy="468117"/>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9" name="Freeform: Shape 28">
                <a:extLst>
                  <a:ext uri="{FF2B5EF4-FFF2-40B4-BE49-F238E27FC236}">
                    <a16:creationId xmlns:a16="http://schemas.microsoft.com/office/drawing/2014/main" id="{8578A749-7CEE-4C39-B06B-3D58F0B55809}"/>
                  </a:ext>
                </a:extLst>
              </p:cNvPr>
              <p:cNvSpPr/>
              <p:nvPr/>
            </p:nvSpPr>
            <p:spPr>
              <a:xfrm>
                <a:off x="7307647" y="1494911"/>
                <a:ext cx="4627177" cy="851123"/>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r>
                  <a:rPr lang="en-US" sz="2000" u="sng" dirty="0"/>
                  <a:t>Oxygen production source</a:t>
                </a:r>
              </a:p>
            </p:txBody>
          </p:sp>
          <p:sp>
            <p:nvSpPr>
              <p:cNvPr id="30" name="Rectangle: Rounded Corners 29">
                <a:extLst>
                  <a:ext uri="{FF2B5EF4-FFF2-40B4-BE49-F238E27FC236}">
                    <a16:creationId xmlns:a16="http://schemas.microsoft.com/office/drawing/2014/main" id="{1FC7FA01-36D9-4A84-8E64-984353D687D4}"/>
                  </a:ext>
                </a:extLst>
              </p:cNvPr>
              <p:cNvSpPr/>
              <p:nvPr/>
            </p:nvSpPr>
            <p:spPr>
              <a:xfrm>
                <a:off x="6324601" y="2619732"/>
                <a:ext cx="5610225" cy="851123"/>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1" name="Rectangle 30" descr="Arrow: Slight curve">
                <a:extLst>
                  <a:ext uri="{FF2B5EF4-FFF2-40B4-BE49-F238E27FC236}">
                    <a16:creationId xmlns:a16="http://schemas.microsoft.com/office/drawing/2014/main" id="{7A30EF8F-E327-4151-AD29-8A35066B569B}"/>
                  </a:ext>
                </a:extLst>
              </p:cNvPr>
              <p:cNvSpPr/>
              <p:nvPr/>
            </p:nvSpPr>
            <p:spPr>
              <a:xfrm>
                <a:off x="6582065" y="2811235"/>
                <a:ext cx="468117" cy="468117"/>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2" name="Freeform: Shape 31">
                <a:extLst>
                  <a:ext uri="{FF2B5EF4-FFF2-40B4-BE49-F238E27FC236}">
                    <a16:creationId xmlns:a16="http://schemas.microsoft.com/office/drawing/2014/main" id="{EA6EEAE8-13A1-478E-A4A0-5A44EE1B4833}"/>
                  </a:ext>
                </a:extLst>
              </p:cNvPr>
              <p:cNvSpPr/>
              <p:nvPr/>
            </p:nvSpPr>
            <p:spPr>
              <a:xfrm>
                <a:off x="7307648" y="2619732"/>
                <a:ext cx="4627177" cy="851123"/>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r>
                  <a:rPr lang="en-US" sz="2000" u="sng" dirty="0"/>
                  <a:t>Oxygen storage source </a:t>
                </a:r>
              </a:p>
            </p:txBody>
          </p:sp>
          <p:sp>
            <p:nvSpPr>
              <p:cNvPr id="33" name="Rectangle: Rounded Corners 32">
                <a:extLst>
                  <a:ext uri="{FF2B5EF4-FFF2-40B4-BE49-F238E27FC236}">
                    <a16:creationId xmlns:a16="http://schemas.microsoft.com/office/drawing/2014/main" id="{6BB65634-C012-4CCC-8FF2-9B9124ECC93B}"/>
                  </a:ext>
                </a:extLst>
              </p:cNvPr>
              <p:cNvSpPr/>
              <p:nvPr/>
            </p:nvSpPr>
            <p:spPr>
              <a:xfrm>
                <a:off x="6324600" y="3744553"/>
                <a:ext cx="5610225" cy="851123"/>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4" name="Rectangle 33" descr="Heartbeat">
                <a:extLst>
                  <a:ext uri="{FF2B5EF4-FFF2-40B4-BE49-F238E27FC236}">
                    <a16:creationId xmlns:a16="http://schemas.microsoft.com/office/drawing/2014/main" id="{CDC30F07-C0EF-4327-8618-50888BEE1D40}"/>
                  </a:ext>
                </a:extLst>
              </p:cNvPr>
              <p:cNvSpPr/>
              <p:nvPr/>
            </p:nvSpPr>
            <p:spPr>
              <a:xfrm>
                <a:off x="6582064" y="3936055"/>
                <a:ext cx="468117" cy="468117"/>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5" name="Freeform: Shape 34">
                <a:extLst>
                  <a:ext uri="{FF2B5EF4-FFF2-40B4-BE49-F238E27FC236}">
                    <a16:creationId xmlns:a16="http://schemas.microsoft.com/office/drawing/2014/main" id="{0CC0CF09-4892-49DC-B968-D90993C06437}"/>
                  </a:ext>
                </a:extLst>
              </p:cNvPr>
              <p:cNvSpPr/>
              <p:nvPr/>
            </p:nvSpPr>
            <p:spPr>
              <a:xfrm>
                <a:off x="7307647" y="3744553"/>
                <a:ext cx="4627177" cy="851123"/>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r>
                  <a:rPr lang="en-US" sz="2000" u="sng" dirty="0"/>
                  <a:t>Oxygen delivery to patients </a:t>
                </a:r>
              </a:p>
            </p:txBody>
          </p:sp>
          <p:sp>
            <p:nvSpPr>
              <p:cNvPr id="36" name="Rectangle: Rounded Corners 35">
                <a:extLst>
                  <a:ext uri="{FF2B5EF4-FFF2-40B4-BE49-F238E27FC236}">
                    <a16:creationId xmlns:a16="http://schemas.microsoft.com/office/drawing/2014/main" id="{9985BE2F-653E-405B-97FF-CF761DBF6593}"/>
                  </a:ext>
                </a:extLst>
              </p:cNvPr>
              <p:cNvSpPr/>
              <p:nvPr/>
            </p:nvSpPr>
            <p:spPr>
              <a:xfrm>
                <a:off x="6324601" y="4871008"/>
                <a:ext cx="5610225" cy="851123"/>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7" name="Rectangle 36" descr="Smart Phone">
                <a:extLst>
                  <a:ext uri="{FF2B5EF4-FFF2-40B4-BE49-F238E27FC236}">
                    <a16:creationId xmlns:a16="http://schemas.microsoft.com/office/drawing/2014/main" id="{6A69D409-134B-45C3-94B9-AC0136CED1A7}"/>
                  </a:ext>
                </a:extLst>
              </p:cNvPr>
              <p:cNvSpPr/>
              <p:nvPr/>
            </p:nvSpPr>
            <p:spPr>
              <a:xfrm>
                <a:off x="6582065" y="5062512"/>
                <a:ext cx="468117" cy="468117"/>
              </a:xfrm>
              <a:prstGeom prst="rect">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8" name="Freeform: Shape 37">
                <a:extLst>
                  <a:ext uri="{FF2B5EF4-FFF2-40B4-BE49-F238E27FC236}">
                    <a16:creationId xmlns:a16="http://schemas.microsoft.com/office/drawing/2014/main" id="{705E5D1E-7CF1-41C4-B3A6-B66E1BAD79C5}"/>
                  </a:ext>
                </a:extLst>
              </p:cNvPr>
              <p:cNvSpPr/>
              <p:nvPr/>
            </p:nvSpPr>
            <p:spPr>
              <a:xfrm>
                <a:off x="7307648" y="4871007"/>
                <a:ext cx="4627177" cy="851123"/>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r>
                  <a:rPr lang="en-US" sz="2000" u="sng" dirty="0"/>
                  <a:t>Patient monitoring devices</a:t>
                </a:r>
              </a:p>
            </p:txBody>
          </p:sp>
        </p:grpSp>
        <p:sp>
          <p:nvSpPr>
            <p:cNvPr id="39" name="Freeform: Shape 38">
              <a:extLst>
                <a:ext uri="{FF2B5EF4-FFF2-40B4-BE49-F238E27FC236}">
                  <a16:creationId xmlns:a16="http://schemas.microsoft.com/office/drawing/2014/main" id="{6A3DB66A-780E-450A-A67F-6756581BAA0D}"/>
                </a:ext>
              </a:extLst>
            </p:cNvPr>
            <p:cNvSpPr/>
            <p:nvPr/>
          </p:nvSpPr>
          <p:spPr>
            <a:xfrm>
              <a:off x="7307649" y="5138674"/>
              <a:ext cx="4627177" cy="851726"/>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r>
                <a:rPr lang="en-US" sz="2000" u="sng" dirty="0"/>
                <a:t>Oxygen supply chain</a:t>
              </a:r>
            </a:p>
          </p:txBody>
        </p:sp>
      </p:grpSp>
      <p:sp>
        <p:nvSpPr>
          <p:cNvPr id="41" name="Google Shape;530;p2">
            <a:extLst>
              <a:ext uri="{FF2B5EF4-FFF2-40B4-BE49-F238E27FC236}">
                <a16:creationId xmlns:a16="http://schemas.microsoft.com/office/drawing/2014/main" id="{BB8DDB30-774F-440F-B859-7987A06E20CD}"/>
              </a:ext>
            </a:extLst>
          </p:cNvPr>
          <p:cNvSpPr txBox="1"/>
          <p:nvPr/>
        </p:nvSpPr>
        <p:spPr>
          <a:xfrm>
            <a:off x="869668" y="710257"/>
            <a:ext cx="7512332" cy="1020297"/>
          </a:xfrm>
          <a:prstGeom prst="rect">
            <a:avLst/>
          </a:prstGeom>
          <a:noFill/>
          <a:ln>
            <a:noFill/>
          </a:ln>
        </p:spPr>
        <p:txBody>
          <a:bodyPr spcFirstLastPara="1" wrap="square" lIns="0" tIns="0" rIns="0" bIns="0" anchor="b" anchorCtr="0">
            <a:noAutofit/>
          </a:bodyPr>
          <a:lstStyle/>
          <a:p>
            <a:pPr algn="ctr" eaLnBrk="1" fontAlgn="auto" hangingPunct="1">
              <a:lnSpc>
                <a:spcPct val="85000"/>
              </a:lnSpc>
              <a:spcAft>
                <a:spcPts val="0"/>
              </a:spcAft>
              <a:buClr>
                <a:schemeClr val="accent1"/>
              </a:buClr>
              <a:buSzPts val="3200"/>
              <a:defRPr/>
            </a:pPr>
            <a:r>
              <a:rPr lang="en-US" sz="3600" b="1" spc="-50" dirty="0">
                <a:solidFill>
                  <a:schemeClr val="accent2">
                    <a:lumMod val="75000"/>
                  </a:schemeClr>
                </a:solidFill>
                <a:latin typeface="+mn-lt"/>
                <a:ea typeface="+mj-ea"/>
                <a:cs typeface="+mj-cs"/>
                <a:sym typeface="Arial"/>
              </a:rPr>
              <a:t>Session Overview</a:t>
            </a:r>
          </a:p>
        </p:txBody>
      </p:sp>
      <p:sp>
        <p:nvSpPr>
          <p:cNvPr id="42" name="Google Shape;533;p2">
            <a:extLst>
              <a:ext uri="{FF2B5EF4-FFF2-40B4-BE49-F238E27FC236}">
                <a16:creationId xmlns:a16="http://schemas.microsoft.com/office/drawing/2014/main" id="{51030536-C3FB-4BC3-B47A-85F745901E9B}"/>
              </a:ext>
            </a:extLst>
          </p:cNvPr>
          <p:cNvSpPr txBox="1"/>
          <p:nvPr/>
        </p:nvSpPr>
        <p:spPr>
          <a:xfrm>
            <a:off x="869668" y="3394514"/>
            <a:ext cx="3052033" cy="638794"/>
          </a:xfrm>
          <a:prstGeom prst="rect">
            <a:avLst/>
          </a:prstGeom>
          <a:noFill/>
          <a:ln>
            <a:noFill/>
          </a:ln>
        </p:spPr>
        <p:txBody>
          <a:bodyPr spcFirstLastPara="1" wrap="square" lIns="0" tIns="0" rIns="0" bIns="0" anchor="t" anchorCtr="0">
            <a:noAutofit/>
          </a:bodyPr>
          <a:lstStyle/>
          <a:p>
            <a:pPr algn="just">
              <a:lnSpc>
                <a:spcPct val="110000"/>
              </a:lnSpc>
              <a:spcBef>
                <a:spcPts val="0"/>
              </a:spcBef>
              <a:spcAft>
                <a:spcPts val="0"/>
              </a:spcAft>
              <a:buClr>
                <a:schemeClr val="accent1"/>
              </a:buClr>
              <a:buSzPts val="2000"/>
            </a:pPr>
            <a:r>
              <a:rPr lang="en-US" b="1" spc="-50" dirty="0">
                <a:solidFill>
                  <a:schemeClr val="accent2"/>
                </a:solidFill>
                <a:latin typeface="+mn-lt"/>
                <a:ea typeface="+mj-ea"/>
                <a:cs typeface="+mj-cs"/>
                <a:sym typeface="Arial"/>
              </a:rPr>
              <a:t>KEY TOPICS THAT WILL BE COVERED IN THIS SESSION</a:t>
            </a:r>
            <a:endParaRPr b="1" spc="-50" dirty="0">
              <a:solidFill>
                <a:schemeClr val="accent2"/>
              </a:solidFill>
              <a:latin typeface="+mn-lt"/>
              <a:ea typeface="+mj-ea"/>
              <a:cs typeface="+mj-cs"/>
              <a:sym typeface="Arial"/>
            </a:endParaRPr>
          </a:p>
        </p:txBody>
      </p:sp>
    </p:spTree>
    <p:extLst>
      <p:ext uri="{BB962C8B-B14F-4D97-AF65-F5344CB8AC3E}">
        <p14:creationId xmlns:p14="http://schemas.microsoft.com/office/powerpoint/2010/main" val="863990099"/>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Can high-dose oxygen therapy reduce the effects of stroke? The PROOF trial  - SAFE">
            <a:extLst>
              <a:ext uri="{FF2B5EF4-FFF2-40B4-BE49-F238E27FC236}">
                <a16:creationId xmlns:a16="http://schemas.microsoft.com/office/drawing/2014/main" id="{DCA161D6-2601-2E45-91D0-FB538D15928D}"/>
              </a:ext>
            </a:extLst>
          </p:cNvPr>
          <p:cNvPicPr>
            <a:picLocks noChangeAspect="1" noChangeArrowheads="1"/>
          </p:cNvPicPr>
          <p:nvPr/>
        </p:nvPicPr>
        <p:blipFill rotWithShape="1">
          <a:blip r:embed="rId2" cstate="hqprint">
            <a:grayscl/>
            <a:extLst>
              <a:ext uri="{28A0092B-C50C-407E-A947-70E740481C1C}">
                <a14:useLocalDpi xmlns:a14="http://schemas.microsoft.com/office/drawing/2010/main"/>
              </a:ext>
            </a:extLst>
          </a:blip>
          <a:srcRect/>
          <a:stretch/>
        </p:blipFill>
        <p:spPr bwMode="auto">
          <a:xfrm>
            <a:off x="0" y="0"/>
            <a:ext cx="9144000" cy="6324600"/>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C630738D-149E-7749-B818-B757524BE641}"/>
              </a:ext>
            </a:extLst>
          </p:cNvPr>
          <p:cNvSpPr>
            <a:spLocks noGrp="1"/>
          </p:cNvSpPr>
          <p:nvPr>
            <p:ph type="body" sz="quarter" idx="18"/>
          </p:nvPr>
        </p:nvSpPr>
        <p:spPr>
          <a:xfrm>
            <a:off x="620023" y="382044"/>
            <a:ext cx="7903953" cy="664289"/>
          </a:xfrm>
          <a:ln>
            <a:noFill/>
          </a:ln>
        </p:spPr>
        <p:style>
          <a:lnRef idx="2">
            <a:schemeClr val="accent1"/>
          </a:lnRef>
          <a:fillRef idx="1">
            <a:schemeClr val="lt1"/>
          </a:fillRef>
          <a:effectRef idx="0">
            <a:schemeClr val="accent1"/>
          </a:effectRef>
          <a:fontRef idx="minor">
            <a:schemeClr val="dk1"/>
          </a:fontRef>
        </p:style>
        <p:txBody>
          <a:bodyPr anchor="ctr">
            <a:noAutofit/>
          </a:bodyPr>
          <a:lstStyle/>
          <a:p>
            <a:pPr algn="ctr"/>
            <a:r>
              <a:rPr lang="en-US" sz="3600" b="1" spc="-50" dirty="0">
                <a:solidFill>
                  <a:schemeClr val="accent2">
                    <a:lumMod val="75000"/>
                  </a:schemeClr>
                </a:solidFill>
                <a:ea typeface="+mj-ea"/>
                <a:cs typeface="+mj-cs"/>
              </a:rPr>
              <a:t>Oxygen Ecosystem</a:t>
            </a:r>
          </a:p>
        </p:txBody>
      </p:sp>
      <p:graphicFrame>
        <p:nvGraphicFramePr>
          <p:cNvPr id="5" name="Diagram 4">
            <a:extLst>
              <a:ext uri="{FF2B5EF4-FFF2-40B4-BE49-F238E27FC236}">
                <a16:creationId xmlns:a16="http://schemas.microsoft.com/office/drawing/2014/main" id="{C1591DA2-33B8-3545-A074-FE5AB039BF3B}"/>
              </a:ext>
            </a:extLst>
          </p:cNvPr>
          <p:cNvGraphicFramePr/>
          <p:nvPr>
            <p:extLst>
              <p:ext uri="{D42A27DB-BD31-4B8C-83A1-F6EECF244321}">
                <p14:modId xmlns:p14="http://schemas.microsoft.com/office/powerpoint/2010/main" val="2747225853"/>
              </p:ext>
            </p:extLst>
          </p:nvPr>
        </p:nvGraphicFramePr>
        <p:xfrm>
          <a:off x="152400" y="1828800"/>
          <a:ext cx="8877299" cy="4267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07192655"/>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D9B0488-1BF9-6D4B-BF48-27C6FC2DDBC5}"/>
              </a:ext>
            </a:extLst>
          </p:cNvPr>
          <p:cNvSpPr>
            <a:spLocks noGrp="1"/>
          </p:cNvSpPr>
          <p:nvPr>
            <p:ph type="body" sz="quarter" idx="14"/>
          </p:nvPr>
        </p:nvSpPr>
        <p:spPr>
          <a:xfrm>
            <a:off x="914400" y="852587"/>
            <a:ext cx="7391400" cy="821907"/>
          </a:xfrm>
        </p:spPr>
        <p:txBody>
          <a:bodyPr anchor="b"/>
          <a:lstStyle/>
          <a:p>
            <a:pPr algn="ctr" eaLnBrk="1" fontAlgn="auto" hangingPunct="1">
              <a:lnSpc>
                <a:spcPct val="85000"/>
              </a:lnSpc>
              <a:spcBef>
                <a:spcPct val="0"/>
              </a:spcBef>
              <a:spcAft>
                <a:spcPts val="0"/>
              </a:spcAft>
              <a:buSzPts val="3200"/>
              <a:defRPr/>
            </a:pPr>
            <a:r>
              <a:rPr lang="en-US" sz="3600" b="1" spc="-50" dirty="0">
                <a:solidFill>
                  <a:schemeClr val="accent2">
                    <a:lumMod val="75000"/>
                  </a:schemeClr>
                </a:solidFill>
                <a:ea typeface="+mj-ea"/>
                <a:cs typeface="+mj-cs"/>
              </a:rPr>
              <a:t>Different Sources of Medical Oxygen</a:t>
            </a:r>
          </a:p>
        </p:txBody>
      </p:sp>
      <p:grpSp>
        <p:nvGrpSpPr>
          <p:cNvPr id="2" name="Group 1">
            <a:extLst>
              <a:ext uri="{FF2B5EF4-FFF2-40B4-BE49-F238E27FC236}">
                <a16:creationId xmlns:a16="http://schemas.microsoft.com/office/drawing/2014/main" id="{28398D99-1E61-481C-B1DB-685D49DBD434}"/>
              </a:ext>
            </a:extLst>
          </p:cNvPr>
          <p:cNvGrpSpPr/>
          <p:nvPr/>
        </p:nvGrpSpPr>
        <p:grpSpPr>
          <a:xfrm>
            <a:off x="1504607" y="2188440"/>
            <a:ext cx="7035522" cy="1299197"/>
            <a:chOff x="1521972" y="2150015"/>
            <a:chExt cx="7035522" cy="1299197"/>
          </a:xfrm>
        </p:grpSpPr>
        <p:pic>
          <p:nvPicPr>
            <p:cNvPr id="5" name="Picture 4" descr="A picture containing text&#10;&#10;Description automatically generated">
              <a:extLst>
                <a:ext uri="{FF2B5EF4-FFF2-40B4-BE49-F238E27FC236}">
                  <a16:creationId xmlns:a16="http://schemas.microsoft.com/office/drawing/2014/main" id="{73D95A77-911A-4A45-9042-C2F8FADE445A}"/>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7280282" y="2192317"/>
              <a:ext cx="1277212" cy="1234492"/>
            </a:xfrm>
            <a:prstGeom prst="ellipse">
              <a:avLst/>
            </a:prstGeom>
            <a:ln w="28575">
              <a:solidFill>
                <a:srgbClr val="FF0000"/>
              </a:solidFill>
            </a:ln>
          </p:spPr>
        </p:pic>
        <p:pic>
          <p:nvPicPr>
            <p:cNvPr id="7" name="Picture 6" descr="Diagram&#10;&#10;Description automatically generated">
              <a:extLst>
                <a:ext uri="{FF2B5EF4-FFF2-40B4-BE49-F238E27FC236}">
                  <a16:creationId xmlns:a16="http://schemas.microsoft.com/office/drawing/2014/main" id="{F0A1772F-E9AE-AB40-BADB-BF31D5F11B8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20868" y="2178645"/>
              <a:ext cx="1328968" cy="1270567"/>
            </a:xfrm>
            <a:prstGeom prst="ellipse">
              <a:avLst/>
            </a:prstGeom>
            <a:ln w="28575">
              <a:solidFill>
                <a:srgbClr val="FF0000"/>
              </a:solidFill>
            </a:ln>
          </p:spPr>
        </p:pic>
        <p:pic>
          <p:nvPicPr>
            <p:cNvPr id="9" name="Picture 8" descr="A picture containing text, printer&#10;&#10;Description automatically generated">
              <a:extLst>
                <a:ext uri="{FF2B5EF4-FFF2-40B4-BE49-F238E27FC236}">
                  <a16:creationId xmlns:a16="http://schemas.microsoft.com/office/drawing/2014/main" id="{104A80CC-B18C-7C48-B0B4-45320156599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81385" y="2150015"/>
              <a:ext cx="1328969" cy="1275336"/>
            </a:xfrm>
            <a:prstGeom prst="ellipse">
              <a:avLst/>
            </a:prstGeom>
            <a:ln w="28575">
              <a:solidFill>
                <a:srgbClr val="FF0000"/>
              </a:solidFill>
            </a:ln>
          </p:spPr>
        </p:pic>
        <p:pic>
          <p:nvPicPr>
            <p:cNvPr id="11" name="Picture 10" descr="A picture containing bottle, pepper mill&#10;&#10;Description automatically generated">
              <a:extLst>
                <a:ext uri="{FF2B5EF4-FFF2-40B4-BE49-F238E27FC236}">
                  <a16:creationId xmlns:a16="http://schemas.microsoft.com/office/drawing/2014/main" id="{2D0CFEDD-C698-0D4B-A807-B8D693F08CC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521972" y="2150015"/>
              <a:ext cx="1254401" cy="1242443"/>
            </a:xfrm>
            <a:prstGeom prst="ellipse">
              <a:avLst/>
            </a:prstGeom>
            <a:ln w="28575">
              <a:solidFill>
                <a:srgbClr val="FF0000"/>
              </a:solidFill>
            </a:ln>
          </p:spPr>
        </p:pic>
      </p:grpSp>
      <p:graphicFrame>
        <p:nvGraphicFramePr>
          <p:cNvPr id="12" name="Table 11">
            <a:extLst>
              <a:ext uri="{FF2B5EF4-FFF2-40B4-BE49-F238E27FC236}">
                <a16:creationId xmlns:a16="http://schemas.microsoft.com/office/drawing/2014/main" id="{668C0D98-7E4A-0744-8499-3C201B530157}"/>
              </a:ext>
            </a:extLst>
          </p:cNvPr>
          <p:cNvGraphicFramePr>
            <a:graphicFrameLocks noGrp="1"/>
          </p:cNvGraphicFramePr>
          <p:nvPr>
            <p:extLst>
              <p:ext uri="{D42A27DB-BD31-4B8C-83A1-F6EECF244321}">
                <p14:modId xmlns:p14="http://schemas.microsoft.com/office/powerpoint/2010/main" val="2805610896"/>
              </p:ext>
            </p:extLst>
          </p:nvPr>
        </p:nvGraphicFramePr>
        <p:xfrm>
          <a:off x="300205" y="3697296"/>
          <a:ext cx="8543590" cy="2497800"/>
        </p:xfrm>
        <a:graphic>
          <a:graphicData uri="http://schemas.openxmlformats.org/drawingml/2006/table">
            <a:tbl>
              <a:tblPr>
                <a:tableStyleId>{BC89EF96-8CEA-46FF-86C4-4CE0E7609802}</a:tableStyleId>
              </a:tblPr>
              <a:tblGrid>
                <a:gridCol w="1193296">
                  <a:extLst>
                    <a:ext uri="{9D8B030D-6E8A-4147-A177-3AD203B41FA5}">
                      <a16:colId xmlns:a16="http://schemas.microsoft.com/office/drawing/2014/main" val="981275591"/>
                    </a:ext>
                  </a:extLst>
                </a:gridCol>
                <a:gridCol w="1764873">
                  <a:extLst>
                    <a:ext uri="{9D8B030D-6E8A-4147-A177-3AD203B41FA5}">
                      <a16:colId xmlns:a16="http://schemas.microsoft.com/office/drawing/2014/main" val="3821396045"/>
                    </a:ext>
                  </a:extLst>
                </a:gridCol>
                <a:gridCol w="1985483">
                  <a:extLst>
                    <a:ext uri="{9D8B030D-6E8A-4147-A177-3AD203B41FA5}">
                      <a16:colId xmlns:a16="http://schemas.microsoft.com/office/drawing/2014/main" val="550110380"/>
                    </a:ext>
                  </a:extLst>
                </a:gridCol>
                <a:gridCol w="1965426">
                  <a:extLst>
                    <a:ext uri="{9D8B030D-6E8A-4147-A177-3AD203B41FA5}">
                      <a16:colId xmlns:a16="http://schemas.microsoft.com/office/drawing/2014/main" val="3156941797"/>
                    </a:ext>
                  </a:extLst>
                </a:gridCol>
                <a:gridCol w="1634512">
                  <a:extLst>
                    <a:ext uri="{9D8B030D-6E8A-4147-A177-3AD203B41FA5}">
                      <a16:colId xmlns:a16="http://schemas.microsoft.com/office/drawing/2014/main" val="2669705223"/>
                    </a:ext>
                  </a:extLst>
                </a:gridCol>
              </a:tblGrid>
              <a:tr h="1621464">
                <a:tc>
                  <a:txBody>
                    <a:bodyPr/>
                    <a:lstStyle/>
                    <a:p>
                      <a:r>
                        <a:rPr lang="en-IN" sz="1200" b="1" dirty="0">
                          <a:solidFill>
                            <a:schemeClr val="accent1"/>
                          </a:solidFill>
                          <a:effectLst/>
                          <a:latin typeface="+mn-lt"/>
                        </a:rPr>
                        <a:t>Clinical application and/or use case </a:t>
                      </a:r>
                      <a:endParaRPr lang="en-IN" sz="1200" dirty="0">
                        <a:solidFill>
                          <a:schemeClr val="accent1"/>
                        </a:solidFill>
                        <a:effectLst/>
                        <a:latin typeface="+mn-lt"/>
                        <a:ea typeface="Verdana" panose="020B0604030504040204" pitchFamily="34" charset="0"/>
                        <a:cs typeface="Verdana" panose="020B0604030504040204" pitchFamily="34" charset="0"/>
                      </a:endParaRPr>
                    </a:p>
                  </a:txBody>
                  <a:tcPr marL="15617" marR="15617"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IN" sz="1200" b="0" dirty="0">
                          <a:effectLst/>
                          <a:latin typeface="+mn-lt"/>
                        </a:rPr>
                        <a:t>Can be used for all oxygen needs, including- high-pressure supply; facilities where power supply is intermittent or unreliable; ambulatory service or patient transport; backup for other systems. </a:t>
                      </a:r>
                      <a:endParaRPr lang="en-IN" sz="1200" b="0" dirty="0">
                        <a:effectLst/>
                        <a:latin typeface="+mn-lt"/>
                        <a:ea typeface="Verdana" panose="020B0604030504040204" pitchFamily="34" charset="0"/>
                        <a:cs typeface="Verdana" panose="020B0604030504040204" pitchFamily="34" charset="0"/>
                      </a:endParaRPr>
                    </a:p>
                  </a:txBody>
                  <a:tcPr marL="15617" marR="15617"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IN" sz="1200" b="0" dirty="0">
                          <a:effectLst/>
                          <a:latin typeface="+mn-lt"/>
                        </a:rPr>
                        <a:t>Used to deliver oxygen at the bedside or within close proximity to patient areas. A single concentrator can service several beds</a:t>
                      </a:r>
                      <a:endParaRPr lang="en-IN" sz="1200" b="0" dirty="0">
                        <a:effectLst/>
                        <a:latin typeface="+mn-lt"/>
                        <a:ea typeface="Verdana" panose="020B0604030504040204" pitchFamily="34" charset="0"/>
                        <a:cs typeface="Verdana" panose="020B0604030504040204" pitchFamily="34" charset="0"/>
                      </a:endParaRPr>
                    </a:p>
                  </a:txBody>
                  <a:tcPr marL="15617" marR="15617"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IN" sz="1200" b="0" dirty="0">
                          <a:effectLst/>
                          <a:latin typeface="+mn-lt"/>
                        </a:rPr>
                        <a:t>Can be used for all oxygen needs, including high-pressure supply. </a:t>
                      </a:r>
                      <a:endParaRPr lang="en-IN" sz="1200" b="0" dirty="0">
                        <a:effectLst/>
                        <a:latin typeface="+mn-lt"/>
                        <a:ea typeface="Verdana" panose="020B0604030504040204" pitchFamily="34" charset="0"/>
                        <a:cs typeface="Verdana" panose="020B0604030504040204" pitchFamily="34" charset="0"/>
                      </a:endParaRPr>
                    </a:p>
                  </a:txBody>
                  <a:tcPr marL="15617" marR="15617"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IN" sz="1200" b="0" dirty="0">
                          <a:effectLst/>
                          <a:latin typeface="+mn-lt"/>
                        </a:rPr>
                        <a:t>Can be used for all oxygen needs, including- high-pressure supply and in facilities where power supply is intermittent or unreliable. </a:t>
                      </a:r>
                      <a:endParaRPr lang="en-IN" sz="1200" b="0" dirty="0">
                        <a:effectLst/>
                        <a:latin typeface="+mn-lt"/>
                        <a:ea typeface="Verdana" panose="020B0604030504040204" pitchFamily="34" charset="0"/>
                        <a:cs typeface="Verdana" panose="020B0604030504040204" pitchFamily="34" charset="0"/>
                      </a:endParaRPr>
                    </a:p>
                  </a:txBody>
                  <a:tcPr marL="15617" marR="15617"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34885097"/>
                  </a:ext>
                </a:extLst>
              </a:tr>
              <a:tr h="876336">
                <a:tc>
                  <a:txBody>
                    <a:bodyPr/>
                    <a:lstStyle/>
                    <a:p>
                      <a:r>
                        <a:rPr lang="en-IN" sz="1200" b="1" dirty="0">
                          <a:solidFill>
                            <a:schemeClr val="accent1"/>
                          </a:solidFill>
                          <a:effectLst/>
                          <a:latin typeface="+mn-lt"/>
                        </a:rPr>
                        <a:t>Appropriate level of health system </a:t>
                      </a:r>
                      <a:endParaRPr lang="en-IN" sz="1200" dirty="0">
                        <a:solidFill>
                          <a:schemeClr val="accent1"/>
                        </a:solidFill>
                        <a:effectLst/>
                        <a:latin typeface="+mn-lt"/>
                        <a:ea typeface="Verdana" panose="020B0604030504040204" pitchFamily="34" charset="0"/>
                        <a:cs typeface="Verdana" panose="020B0604030504040204" pitchFamily="34" charset="0"/>
                      </a:endParaRPr>
                    </a:p>
                  </a:txBody>
                  <a:tcPr marL="15617" marR="15617"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IN" sz="1200" b="0" dirty="0">
                          <a:effectLst/>
                          <a:latin typeface="+mn-lt"/>
                        </a:rPr>
                        <a:t>Primary, secondary, possibly tertiary (any medical unit requiring oxygen). </a:t>
                      </a:r>
                      <a:endParaRPr lang="en-IN" sz="1200" b="0" dirty="0">
                        <a:effectLst/>
                        <a:latin typeface="+mn-lt"/>
                        <a:ea typeface="Verdana" panose="020B0604030504040204" pitchFamily="34" charset="0"/>
                        <a:cs typeface="Verdana" panose="020B0604030504040204" pitchFamily="34" charset="0"/>
                      </a:endParaRPr>
                    </a:p>
                  </a:txBody>
                  <a:tcPr marL="15617" marR="15617"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IN" sz="1200" b="0" dirty="0">
                          <a:effectLst/>
                          <a:latin typeface="+mn-lt"/>
                        </a:rPr>
                        <a:t>Primary, secondary, possibly tertiary (any medical unit requiring oxygen). </a:t>
                      </a:r>
                      <a:endParaRPr lang="en-IN" sz="1200" b="0" dirty="0">
                        <a:effectLst/>
                        <a:latin typeface="+mn-lt"/>
                        <a:ea typeface="Verdana" panose="020B0604030504040204" pitchFamily="34" charset="0"/>
                        <a:cs typeface="Verdana" panose="020B0604030504040204" pitchFamily="34" charset="0"/>
                      </a:endParaRPr>
                    </a:p>
                  </a:txBody>
                  <a:tcPr marL="15617" marR="15617"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IN" sz="1200" b="0" dirty="0">
                          <a:effectLst/>
                          <a:latin typeface="+mn-lt"/>
                        </a:rPr>
                        <a:t>Secondary and tertiary. </a:t>
                      </a:r>
                      <a:endParaRPr lang="en-IN" sz="1200" b="0" dirty="0">
                        <a:effectLst/>
                        <a:latin typeface="+mn-lt"/>
                        <a:ea typeface="Verdana" panose="020B0604030504040204" pitchFamily="34" charset="0"/>
                        <a:cs typeface="Verdana" panose="020B0604030504040204" pitchFamily="34" charset="0"/>
                      </a:endParaRPr>
                    </a:p>
                  </a:txBody>
                  <a:tcPr marL="15617" marR="15617"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IN" sz="1200" b="0" dirty="0">
                          <a:effectLst/>
                          <a:latin typeface="+mn-lt"/>
                        </a:rPr>
                        <a:t>Secondary and tertiary. </a:t>
                      </a:r>
                      <a:endParaRPr lang="en-IN" sz="1200" b="0" dirty="0">
                        <a:effectLst/>
                        <a:latin typeface="+mn-lt"/>
                        <a:ea typeface="Verdana" panose="020B0604030504040204" pitchFamily="34" charset="0"/>
                        <a:cs typeface="Verdana" panose="020B0604030504040204" pitchFamily="34" charset="0"/>
                      </a:endParaRPr>
                    </a:p>
                  </a:txBody>
                  <a:tcPr marL="15617" marR="15617" marT="0" marB="0">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27993020"/>
                  </a:ext>
                </a:extLst>
              </a:tr>
            </a:tbl>
          </a:graphicData>
        </a:graphic>
      </p:graphicFrame>
      <p:graphicFrame>
        <p:nvGraphicFramePr>
          <p:cNvPr id="13" name="Table 12">
            <a:extLst>
              <a:ext uri="{FF2B5EF4-FFF2-40B4-BE49-F238E27FC236}">
                <a16:creationId xmlns:a16="http://schemas.microsoft.com/office/drawing/2014/main" id="{A2CC58BC-A687-0745-A323-ABB43EE5C272}"/>
              </a:ext>
            </a:extLst>
          </p:cNvPr>
          <p:cNvGraphicFramePr>
            <a:graphicFrameLocks noGrp="1"/>
          </p:cNvGraphicFramePr>
          <p:nvPr>
            <p:extLst>
              <p:ext uri="{D42A27DB-BD31-4B8C-83A1-F6EECF244321}">
                <p14:modId xmlns:p14="http://schemas.microsoft.com/office/powerpoint/2010/main" val="1491034930"/>
              </p:ext>
            </p:extLst>
          </p:nvPr>
        </p:nvGraphicFramePr>
        <p:xfrm>
          <a:off x="1066800" y="1878328"/>
          <a:ext cx="7911136" cy="213360"/>
        </p:xfrm>
        <a:graphic>
          <a:graphicData uri="http://schemas.openxmlformats.org/drawingml/2006/table">
            <a:tbl>
              <a:tblPr/>
              <a:tblGrid>
                <a:gridCol w="1977784">
                  <a:extLst>
                    <a:ext uri="{9D8B030D-6E8A-4147-A177-3AD203B41FA5}">
                      <a16:colId xmlns:a16="http://schemas.microsoft.com/office/drawing/2014/main" val="3601230358"/>
                    </a:ext>
                  </a:extLst>
                </a:gridCol>
                <a:gridCol w="1977784">
                  <a:extLst>
                    <a:ext uri="{9D8B030D-6E8A-4147-A177-3AD203B41FA5}">
                      <a16:colId xmlns:a16="http://schemas.microsoft.com/office/drawing/2014/main" val="3343795282"/>
                    </a:ext>
                  </a:extLst>
                </a:gridCol>
                <a:gridCol w="1977784">
                  <a:extLst>
                    <a:ext uri="{9D8B030D-6E8A-4147-A177-3AD203B41FA5}">
                      <a16:colId xmlns:a16="http://schemas.microsoft.com/office/drawing/2014/main" val="356807855"/>
                    </a:ext>
                  </a:extLst>
                </a:gridCol>
                <a:gridCol w="1977784">
                  <a:extLst>
                    <a:ext uri="{9D8B030D-6E8A-4147-A177-3AD203B41FA5}">
                      <a16:colId xmlns:a16="http://schemas.microsoft.com/office/drawing/2014/main" val="2536695732"/>
                    </a:ext>
                  </a:extLst>
                </a:gridCol>
              </a:tblGrid>
              <a:tr h="182880">
                <a:tc>
                  <a:txBody>
                    <a:bodyPr/>
                    <a:lstStyle/>
                    <a:p>
                      <a:pPr algn="ctr"/>
                      <a:r>
                        <a:rPr lang="en-IN" sz="1400" b="1" dirty="0">
                          <a:effectLst/>
                          <a:latin typeface="+mn-lt"/>
                        </a:rPr>
                        <a:t>Cylinders  </a:t>
                      </a:r>
                      <a:endParaRPr lang="en-IN" sz="1400" dirty="0">
                        <a:effectLst/>
                        <a:latin typeface="+mn-lt"/>
                      </a:endParaRPr>
                    </a:p>
                  </a:txBody>
                  <a:tcPr marL="35719" marR="35719" marT="0" marB="0">
                    <a:lnL>
                      <a:noFill/>
                    </a:lnL>
                    <a:lnR>
                      <a:noFill/>
                    </a:lnR>
                    <a:lnT>
                      <a:noFill/>
                    </a:lnT>
                    <a:lnB>
                      <a:noFill/>
                    </a:lnB>
                  </a:tcPr>
                </a:tc>
                <a:tc>
                  <a:txBody>
                    <a:bodyPr/>
                    <a:lstStyle/>
                    <a:p>
                      <a:pPr algn="ctr"/>
                      <a:r>
                        <a:rPr lang="en-IN" sz="1400" b="1" dirty="0">
                          <a:effectLst/>
                          <a:latin typeface="+mn-lt"/>
                        </a:rPr>
                        <a:t>Concentrators  </a:t>
                      </a:r>
                      <a:endParaRPr lang="en-IN" sz="1400" dirty="0">
                        <a:effectLst/>
                        <a:latin typeface="+mn-lt"/>
                      </a:endParaRPr>
                    </a:p>
                  </a:txBody>
                  <a:tcPr marL="35719" marR="35719" marT="0" marB="0">
                    <a:lnL>
                      <a:noFill/>
                    </a:lnL>
                    <a:lnR>
                      <a:noFill/>
                    </a:lnR>
                    <a:lnT>
                      <a:noFill/>
                    </a:lnT>
                    <a:lnB>
                      <a:noFill/>
                    </a:lnB>
                  </a:tcPr>
                </a:tc>
                <a:tc>
                  <a:txBody>
                    <a:bodyPr/>
                    <a:lstStyle/>
                    <a:p>
                      <a:pPr algn="ctr"/>
                      <a:r>
                        <a:rPr lang="en-IN" sz="1400" b="1">
                          <a:effectLst/>
                          <a:latin typeface="+mn-lt"/>
                        </a:rPr>
                        <a:t>Oxygen plant (PSA) </a:t>
                      </a:r>
                      <a:endParaRPr lang="en-IN" sz="1400">
                        <a:effectLst/>
                        <a:latin typeface="+mn-lt"/>
                      </a:endParaRPr>
                    </a:p>
                  </a:txBody>
                  <a:tcPr marL="35719" marR="35719" marT="0" marB="0">
                    <a:lnL>
                      <a:noFill/>
                    </a:lnL>
                    <a:lnR>
                      <a:noFill/>
                    </a:lnR>
                    <a:lnT>
                      <a:noFill/>
                    </a:lnT>
                    <a:lnB>
                      <a:noFill/>
                    </a:lnB>
                  </a:tcPr>
                </a:tc>
                <a:tc>
                  <a:txBody>
                    <a:bodyPr/>
                    <a:lstStyle/>
                    <a:p>
                      <a:pPr algn="ctr"/>
                      <a:r>
                        <a:rPr lang="en-IN" sz="1400" b="1" dirty="0">
                          <a:effectLst/>
                          <a:latin typeface="+mn-lt"/>
                        </a:rPr>
                        <a:t>Liquid oxygen </a:t>
                      </a:r>
                      <a:endParaRPr lang="en-IN" sz="1400" dirty="0">
                        <a:effectLst/>
                        <a:latin typeface="+mn-lt"/>
                      </a:endParaRPr>
                    </a:p>
                  </a:txBody>
                  <a:tcPr marL="35719" marR="35719" marT="0" marB="0">
                    <a:lnL>
                      <a:noFill/>
                    </a:lnL>
                    <a:lnR>
                      <a:noFill/>
                    </a:lnR>
                    <a:lnT>
                      <a:noFill/>
                    </a:lnT>
                    <a:lnB>
                      <a:noFill/>
                    </a:lnB>
                  </a:tcPr>
                </a:tc>
                <a:extLst>
                  <a:ext uri="{0D108BD9-81ED-4DB2-BD59-A6C34878D82A}">
                    <a16:rowId xmlns:a16="http://schemas.microsoft.com/office/drawing/2014/main" val="1716697891"/>
                  </a:ext>
                </a:extLst>
              </a:tr>
            </a:tbl>
          </a:graphicData>
        </a:graphic>
      </p:graphicFrame>
    </p:spTree>
    <p:extLst>
      <p:ext uri="{BB962C8B-B14F-4D97-AF65-F5344CB8AC3E}">
        <p14:creationId xmlns:p14="http://schemas.microsoft.com/office/powerpoint/2010/main" val="3065826568"/>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352800" y="2800350"/>
            <a:ext cx="4868863" cy="1257300"/>
          </a:xfrm>
        </p:spPr>
        <p:txBody>
          <a:bodyPr rtlCol="0">
            <a:noAutofit/>
          </a:bodyPr>
          <a:lstStyle/>
          <a:p>
            <a:pPr marL="0" indent="0"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rPr>
              <a:t>Oxygen Production Sources</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b="1" dirty="0">
              <a:solidFill>
                <a:schemeClr val="accent2">
                  <a:lumMod val="75000"/>
                </a:schemeClr>
              </a:solidFill>
            </a:endParaRPr>
          </a:p>
        </p:txBody>
      </p:sp>
    </p:spTree>
    <p:extLst>
      <p:ext uri="{BB962C8B-B14F-4D97-AF65-F5344CB8AC3E}">
        <p14:creationId xmlns:p14="http://schemas.microsoft.com/office/powerpoint/2010/main" val="5526494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1739AE-5DB1-1241-90BF-50072E470643}"/>
              </a:ext>
            </a:extLst>
          </p:cNvPr>
          <p:cNvSpPr>
            <a:spLocks noGrp="1"/>
          </p:cNvSpPr>
          <p:nvPr>
            <p:ph type="body" sz="quarter" idx="13"/>
          </p:nvPr>
        </p:nvSpPr>
        <p:spPr>
          <a:xfrm>
            <a:off x="914400" y="1905000"/>
            <a:ext cx="7467600" cy="3924300"/>
          </a:xfrm>
        </p:spPr>
        <p:txBody>
          <a:bodyPr/>
          <a:lstStyle/>
          <a:p>
            <a:pPr algn="just">
              <a:spcAft>
                <a:spcPts val="450"/>
              </a:spcAft>
            </a:pPr>
            <a:r>
              <a:rPr lang="en-IN" sz="1800" dirty="0"/>
              <a:t>Pressure swing adsorption (PSA) is the process by which ambient air passes through an internal filtration system (e.g., a molecular sieve of zeolite granules or membranes), which has a large enough total surface area to separate nitrogen from the air, concentrating the remaining oxygen to a known purity. </a:t>
            </a:r>
          </a:p>
          <a:p>
            <a:pPr algn="just">
              <a:spcAft>
                <a:spcPts val="450"/>
              </a:spcAft>
            </a:pPr>
            <a:r>
              <a:rPr lang="en-IN" sz="1800" dirty="0"/>
              <a:t>It typically consists of an air compressor, dryer, filters, dual separation chambers, a reservoir, and controls.</a:t>
            </a:r>
          </a:p>
          <a:p>
            <a:pPr algn="just"/>
            <a:endParaRPr lang="en-US" sz="1800" dirty="0"/>
          </a:p>
        </p:txBody>
      </p:sp>
      <p:sp>
        <p:nvSpPr>
          <p:cNvPr id="3" name="Text Placeholder 2">
            <a:extLst>
              <a:ext uri="{FF2B5EF4-FFF2-40B4-BE49-F238E27FC236}">
                <a16:creationId xmlns:a16="http://schemas.microsoft.com/office/drawing/2014/main" id="{5B5B6581-5095-6549-9565-F21E1EF3B530}"/>
              </a:ext>
            </a:extLst>
          </p:cNvPr>
          <p:cNvSpPr>
            <a:spLocks noGrp="1"/>
          </p:cNvSpPr>
          <p:nvPr>
            <p:ph type="body" sz="quarter" idx="14"/>
          </p:nvPr>
        </p:nvSpPr>
        <p:spPr>
          <a:xfrm>
            <a:off x="879953" y="653183"/>
            <a:ext cx="7502047" cy="962697"/>
          </a:xfrm>
        </p:spPr>
        <p:txBody>
          <a:bodyPr anchor="b">
            <a:normAutofit/>
          </a:bodyPr>
          <a:lstStyle/>
          <a:p>
            <a:pPr algn="ctr">
              <a:spcBef>
                <a:spcPts val="0"/>
              </a:spcBef>
              <a:spcAft>
                <a:spcPts val="0"/>
              </a:spcAft>
              <a:buSzPts val="3200"/>
            </a:pPr>
            <a:r>
              <a:rPr lang="en-IN" sz="3600" b="1" spc="-50" dirty="0">
                <a:solidFill>
                  <a:schemeClr val="accent2">
                    <a:lumMod val="75000"/>
                  </a:schemeClr>
                </a:solidFill>
                <a:ea typeface="+mj-ea"/>
                <a:cs typeface="+mj-cs"/>
              </a:rPr>
              <a:t>Pressure Swing Adsorption (PSA) Plant</a:t>
            </a:r>
            <a:endParaRPr lang="en-US" sz="3600" b="1" spc="-50" dirty="0">
              <a:solidFill>
                <a:schemeClr val="accent2">
                  <a:lumMod val="75000"/>
                </a:schemeClr>
              </a:solidFill>
              <a:ea typeface="+mj-ea"/>
              <a:cs typeface="+mj-cs"/>
            </a:endParaRPr>
          </a:p>
        </p:txBody>
      </p:sp>
      <p:grpSp>
        <p:nvGrpSpPr>
          <p:cNvPr id="4" name="Group 3">
            <a:extLst>
              <a:ext uri="{FF2B5EF4-FFF2-40B4-BE49-F238E27FC236}">
                <a16:creationId xmlns:a16="http://schemas.microsoft.com/office/drawing/2014/main" id="{02F9D736-A2E2-4F5D-9B14-76A4D1935F41}"/>
              </a:ext>
            </a:extLst>
          </p:cNvPr>
          <p:cNvGrpSpPr/>
          <p:nvPr/>
        </p:nvGrpSpPr>
        <p:grpSpPr>
          <a:xfrm>
            <a:off x="1752433" y="3733800"/>
            <a:ext cx="5639134" cy="2384620"/>
            <a:chOff x="1461542" y="3327816"/>
            <a:chExt cx="5639134" cy="2384620"/>
          </a:xfrm>
        </p:grpSpPr>
        <p:pic>
          <p:nvPicPr>
            <p:cNvPr id="5" name="Picture 4" descr="A picture containing text&#10;&#10;Description automatically generated">
              <a:extLst>
                <a:ext uri="{FF2B5EF4-FFF2-40B4-BE49-F238E27FC236}">
                  <a16:creationId xmlns:a16="http://schemas.microsoft.com/office/drawing/2014/main" id="{35CE5304-A9F4-C74A-8A0F-C7F95B80DE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61542" y="3327816"/>
              <a:ext cx="5639134" cy="2384620"/>
            </a:xfrm>
            <a:prstGeom prst="rect">
              <a:avLst/>
            </a:prstGeom>
            <a:ln>
              <a:solidFill>
                <a:srgbClr val="FF0000"/>
              </a:solidFill>
            </a:ln>
          </p:spPr>
        </p:pic>
        <p:sp>
          <p:nvSpPr>
            <p:cNvPr id="6" name="TextBox 5">
              <a:extLst>
                <a:ext uri="{FF2B5EF4-FFF2-40B4-BE49-F238E27FC236}">
                  <a16:creationId xmlns:a16="http://schemas.microsoft.com/office/drawing/2014/main" id="{BCC1E1C7-464E-5249-92BB-7C5DDDBC8C11}"/>
                </a:ext>
              </a:extLst>
            </p:cNvPr>
            <p:cNvSpPr txBox="1"/>
            <p:nvPr/>
          </p:nvSpPr>
          <p:spPr>
            <a:xfrm>
              <a:off x="1787577" y="3510509"/>
              <a:ext cx="1247931" cy="427220"/>
            </a:xfrm>
            <a:prstGeom prst="rect">
              <a:avLst/>
            </a:prstGeom>
            <a:noFill/>
          </p:spPr>
          <p:txBody>
            <a:bodyPr wrap="square" lIns="0" tIns="0" rIns="0" bIns="0" rtlCol="0">
              <a:noAutofit/>
            </a:bodyPr>
            <a:lstStyle/>
            <a:p>
              <a:pPr algn="l"/>
              <a:r>
                <a:rPr lang="en-US" sz="1200" b="1">
                  <a:solidFill>
                    <a:srgbClr val="FF0000"/>
                  </a:solidFill>
                </a:rPr>
                <a:t>PSA Plant</a:t>
              </a:r>
              <a:endParaRPr lang="en-US" sz="1200" b="1" dirty="0">
                <a:solidFill>
                  <a:srgbClr val="FF0000"/>
                </a:solidFill>
              </a:endParaRPr>
            </a:p>
          </p:txBody>
        </p:sp>
      </p:grpSp>
    </p:spTree>
    <p:extLst>
      <p:ext uri="{BB962C8B-B14F-4D97-AF65-F5344CB8AC3E}">
        <p14:creationId xmlns:p14="http://schemas.microsoft.com/office/powerpoint/2010/main" val="375874607"/>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text&#10;&#10;Description automatically generated">
            <a:extLst>
              <a:ext uri="{FF2B5EF4-FFF2-40B4-BE49-F238E27FC236}">
                <a16:creationId xmlns:a16="http://schemas.microsoft.com/office/drawing/2014/main" id="{922B8D27-8EA4-9E44-88CD-C2D8B1E629A2}"/>
              </a:ext>
            </a:extLst>
          </p:cNvPr>
          <p:cNvPicPr>
            <a:picLocks noChangeAspect="1"/>
          </p:cNvPicPr>
          <p:nvPr/>
        </p:nvPicPr>
        <p:blipFill>
          <a:blip r:embed="rId2">
            <a:alphaModFix amt="50000"/>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152400" y="2590628"/>
            <a:ext cx="9783777" cy="4054538"/>
          </a:xfrm>
          <a:prstGeom prst="rect">
            <a:avLst/>
          </a:prstGeom>
        </p:spPr>
      </p:pic>
      <p:sp>
        <p:nvSpPr>
          <p:cNvPr id="3" name="Text Placeholder 2">
            <a:extLst>
              <a:ext uri="{FF2B5EF4-FFF2-40B4-BE49-F238E27FC236}">
                <a16:creationId xmlns:a16="http://schemas.microsoft.com/office/drawing/2014/main" id="{0A7B562F-5CCC-E146-9B04-C22BDEC41F0A}"/>
              </a:ext>
            </a:extLst>
          </p:cNvPr>
          <p:cNvSpPr>
            <a:spLocks noGrp="1"/>
          </p:cNvSpPr>
          <p:nvPr>
            <p:ph type="body" sz="quarter" idx="14"/>
          </p:nvPr>
        </p:nvSpPr>
        <p:spPr>
          <a:xfrm>
            <a:off x="838200" y="651640"/>
            <a:ext cx="7543800" cy="1053835"/>
          </a:xfrm>
        </p:spPr>
        <p:txBody>
          <a:bodyPr anchor="b">
            <a:normAutofit/>
          </a:bodyPr>
          <a:lstStyle/>
          <a:p>
            <a:pPr algn="ctr">
              <a:spcBef>
                <a:spcPts val="0"/>
              </a:spcBef>
              <a:spcAft>
                <a:spcPts val="0"/>
              </a:spcAft>
              <a:buSzPts val="3200"/>
            </a:pPr>
            <a:r>
              <a:rPr lang="en-IN" sz="3600" b="1" spc="-50" dirty="0">
                <a:solidFill>
                  <a:schemeClr val="accent2">
                    <a:lumMod val="75000"/>
                  </a:schemeClr>
                </a:solidFill>
                <a:ea typeface="+mj-ea"/>
                <a:cs typeface="+mj-cs"/>
              </a:rPr>
              <a:t>PSA Generator Plant – Pros &amp; Cons</a:t>
            </a:r>
            <a:endParaRPr lang="en-US" sz="3600" b="1" spc="-50" dirty="0">
              <a:solidFill>
                <a:schemeClr val="accent2">
                  <a:lumMod val="75000"/>
                </a:schemeClr>
              </a:solidFill>
              <a:ea typeface="+mj-ea"/>
              <a:cs typeface="+mj-cs"/>
            </a:endParaRPr>
          </a:p>
        </p:txBody>
      </p:sp>
      <p:graphicFrame>
        <p:nvGraphicFramePr>
          <p:cNvPr id="4" name="Diagram 3">
            <a:extLst>
              <a:ext uri="{FF2B5EF4-FFF2-40B4-BE49-F238E27FC236}">
                <a16:creationId xmlns:a16="http://schemas.microsoft.com/office/drawing/2014/main" id="{D97F192E-000D-2749-9303-0B47DBAD9999}"/>
              </a:ext>
            </a:extLst>
          </p:cNvPr>
          <p:cNvGraphicFramePr/>
          <p:nvPr>
            <p:extLst>
              <p:ext uri="{D42A27DB-BD31-4B8C-83A1-F6EECF244321}">
                <p14:modId xmlns:p14="http://schemas.microsoft.com/office/powerpoint/2010/main" val="2390705166"/>
              </p:ext>
            </p:extLst>
          </p:nvPr>
        </p:nvGraphicFramePr>
        <p:xfrm>
          <a:off x="438150" y="2239046"/>
          <a:ext cx="8267700" cy="32766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31609381"/>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76D92-6BF8-4FA8-8021-DB872EA7C895}"/>
              </a:ext>
            </a:extLst>
          </p:cNvPr>
          <p:cNvSpPr>
            <a:spLocks noGrp="1"/>
          </p:cNvSpPr>
          <p:nvPr>
            <p:ph type="title"/>
          </p:nvPr>
        </p:nvSpPr>
        <p:spPr>
          <a:xfrm>
            <a:off x="822960" y="2895600"/>
            <a:ext cx="7543800" cy="1429512"/>
          </a:xfrm>
        </p:spPr>
        <p:txBody>
          <a:bodyPr>
            <a:normAutofit/>
          </a:bodyPr>
          <a:lstStyle/>
          <a:p>
            <a:pPr eaLnBrk="1" hangingPunct="1">
              <a:defRPr/>
            </a:pPr>
            <a:r>
              <a:rPr lang="en-US" sz="3600" b="1" spc="-50" dirty="0">
                <a:solidFill>
                  <a:schemeClr val="accent2">
                    <a:lumMod val="75000"/>
                  </a:schemeClr>
                </a:solidFill>
                <a:latin typeface="+mn-lt"/>
              </a:rPr>
              <a:t>Session II: Oxygen Therapy </a:t>
            </a:r>
            <a:endParaRPr lang="en-US" sz="3600" spc="-50" dirty="0">
              <a:solidFill>
                <a:schemeClr val="accent2">
                  <a:lumMod val="75000"/>
                </a:schemeClr>
              </a:solidFill>
              <a:latin typeface="+mn-lt"/>
            </a:endParaRPr>
          </a:p>
        </p:txBody>
      </p:sp>
    </p:spTree>
  </p:cSld>
  <p:clrMapOvr>
    <a:masterClrMapping/>
  </p:clrMapOvr>
</p:sld>
</file>

<file path=ppt/slides/slide50.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FEBD198-AD7A-D245-8A4A-834A6C37BFF7}"/>
              </a:ext>
            </a:extLst>
          </p:cNvPr>
          <p:cNvSpPr>
            <a:spLocks noGrp="1"/>
          </p:cNvSpPr>
          <p:nvPr>
            <p:ph idx="14" sz="quarter" type="body"/>
          </p:nvPr>
        </p:nvSpPr>
        <p:spPr>
          <a:xfrm>
            <a:off x="886240" y="912786"/>
            <a:ext cx="7495760" cy="824544"/>
          </a:xfrm>
        </p:spPr>
        <p:txBody>
          <a:bodyPr anchor="b">
            <a:normAutofit/>
          </a:bodyPr>
          <a:lstStyle/>
          <a:p>
            <a:pPr algn="ctr"/>
            <a:r>
              <a:rPr b="1" dirty="0" lang="en-US" spc="-50" sz="3600">
                <a:solidFill>
                  <a:schemeClr val="accent2">
                    <a:lumMod val="75000"/>
                  </a:schemeClr>
                </a:solidFill>
                <a:ea typeface="+mj-ea"/>
                <a:cs typeface="+mj-cs"/>
              </a:rPr>
              <a:t>Oxygen Concentrator</a:t>
            </a:r>
          </a:p>
        </p:txBody>
      </p:sp>
      <p:sp>
        <p:nvSpPr>
          <p:cNvPr id="9" name="TextBox 8">
            <a:extLst>
              <a:ext uri="{FF2B5EF4-FFF2-40B4-BE49-F238E27FC236}">
                <a16:creationId xmlns:a16="http://schemas.microsoft.com/office/drawing/2014/main" id="{0BB17F66-3A07-884C-A0BD-6720C2825A54}"/>
              </a:ext>
            </a:extLst>
          </p:cNvPr>
          <p:cNvSpPr txBox="1"/>
          <p:nvPr/>
        </p:nvSpPr>
        <p:spPr>
          <a:xfrm>
            <a:off x="1787577" y="2802224"/>
            <a:ext cx="0" cy="0"/>
          </a:xfrm>
          <a:prstGeom prst="rect">
            <a:avLst/>
          </a:prstGeom>
          <a:noFill/>
        </p:spPr>
        <p:txBody>
          <a:bodyPr bIns="0" lIns="0" rIns="0" rtlCol="0" tIns="0" wrap="none">
            <a:noAutofit/>
          </a:bodyPr>
          <a:lstStyle/>
          <a:p>
            <a:pPr defTabSz="342900">
              <a:defRPr/>
            </a:pPr>
            <a:endParaRPr dirty="0" err="1" lang="en-US" sz="1200">
              <a:solidFill>
                <a:srgbClr val="454E60"/>
              </a:solidFill>
              <a:latin typeface="+mn-lt"/>
              <a:ea typeface="+mn-ea"/>
            </a:endParaRPr>
          </a:p>
        </p:txBody>
      </p:sp>
      <p:sp>
        <p:nvSpPr>
          <p:cNvPr id="12" name="Rectangle 10">
            <a:extLst>
              <a:ext uri="{FF2B5EF4-FFF2-40B4-BE49-F238E27FC236}">
                <a16:creationId xmlns:a16="http://schemas.microsoft.com/office/drawing/2014/main" id="{C3811F28-6AF9-A541-9B5D-DCE63634FE7A}"/>
              </a:ext>
            </a:extLst>
          </p:cNvPr>
          <p:cNvSpPr>
            <a:spLocks noChangeArrowheads="1"/>
          </p:cNvSpPr>
          <p:nvPr/>
        </p:nvSpPr>
        <p:spPr bwMode="auto">
          <a:xfrm>
            <a:off x="886240" y="1650500"/>
            <a:ext cx="4568825" cy="3670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34290" compatLnSpc="1" lIns="68580" numCol="1" rIns="68580" tIns="34290" vert="horz" wrap="square">
            <a:prstTxWarp prst="textNoShape">
              <a:avLst/>
            </a:prstTxWarp>
            <a:spAutoFit/>
          </a:bodyPr>
          <a:lstStyle/>
          <a:p>
            <a:pPr algn="just" defTabSz="685800">
              <a:defRPr/>
            </a:pPr>
            <a:endParaRPr altLang="en-US" dirty="0" lang="en-US">
              <a:solidFill>
                <a:prstClr val="black"/>
              </a:solidFill>
              <a:latin typeface="+mn-lt"/>
              <a:ea charset="0" panose="02020603050405020304" pitchFamily="18" typeface="Times New Roman"/>
              <a:cs charset="0" panose="02020603050405020304" pitchFamily="18" typeface="Times New Roman"/>
            </a:endParaRPr>
          </a:p>
          <a:p>
            <a:pPr algn="just" defTabSz="685800" indent="-214313" marL="214313">
              <a:buClr>
                <a:schemeClr val="accent2"/>
              </a:buClr>
              <a:buFont charset="0" panose="020B0604020202020204" pitchFamily="34" typeface="Arial"/>
              <a:buChar char="•"/>
              <a:defRPr/>
            </a:pPr>
            <a:r>
              <a:rPr altLang="en-US" dirty="0" lang="en-US">
                <a:solidFill>
                  <a:prstClr val="black"/>
                </a:solidFill>
                <a:latin typeface="+mn-lt"/>
                <a:ea charset="0" panose="02020603050405020304" pitchFamily="18" typeface="Times New Roman"/>
                <a:cs charset="0" panose="02020603050405020304" pitchFamily="18" typeface="Times New Roman"/>
              </a:rPr>
              <a:t>Oxygen Concentrator is a </a:t>
            </a:r>
            <a:r>
              <a:rPr altLang="en-US" b="1" dirty="0" lang="en-US">
                <a:solidFill>
                  <a:prstClr val="black"/>
                </a:solidFill>
                <a:latin typeface="+mn-lt"/>
                <a:ea charset="0" panose="02020603050405020304" pitchFamily="18" typeface="Times New Roman"/>
                <a:cs charset="0" panose="02020603050405020304" pitchFamily="18" typeface="Times New Roman"/>
              </a:rPr>
              <a:t>self-contained, electrically powered </a:t>
            </a:r>
            <a:r>
              <a:rPr altLang="en-US" dirty="0" lang="en-US">
                <a:solidFill>
                  <a:prstClr val="black"/>
                </a:solidFill>
                <a:latin typeface="+mn-lt"/>
                <a:ea charset="0" panose="02020603050405020304" pitchFamily="18" typeface="Times New Roman"/>
                <a:cs charset="0" panose="02020603050405020304" pitchFamily="18" typeface="Times New Roman"/>
              </a:rPr>
              <a:t>medical device designed to </a:t>
            </a:r>
            <a:r>
              <a:rPr altLang="en-US" b="1" dirty="0" lang="en-US">
                <a:solidFill>
                  <a:prstClr val="black"/>
                </a:solidFill>
                <a:latin typeface="+mn-lt"/>
                <a:ea charset="0" panose="02020603050405020304" pitchFamily="18" typeface="Times New Roman"/>
                <a:cs charset="0" panose="02020603050405020304" pitchFamily="18" typeface="Times New Roman"/>
              </a:rPr>
              <a:t>concentrate oxygen from ambient air</a:t>
            </a:r>
            <a:r>
              <a:rPr altLang="en-US" dirty="0" lang="en-US">
                <a:solidFill>
                  <a:prstClr val="black"/>
                </a:solidFill>
                <a:latin typeface="+mn-lt"/>
                <a:ea charset="0" panose="02020603050405020304" pitchFamily="18" typeface="Times New Roman"/>
                <a:cs charset="0" panose="02020603050405020304" pitchFamily="18" typeface="Times New Roman"/>
              </a:rPr>
              <a:t>, using PSA technology*. </a:t>
            </a:r>
          </a:p>
          <a:p>
            <a:pPr algn="just" defTabSz="685800" indent="-214313" marL="214313">
              <a:buClr>
                <a:schemeClr val="accent2"/>
              </a:buClr>
              <a:buFont charset="0" panose="020B0604020202020204" pitchFamily="34" typeface="Arial"/>
              <a:buChar char="•"/>
              <a:defRPr/>
            </a:pPr>
            <a:endParaRPr altLang="en-US" dirty="0" lang="en-US">
              <a:solidFill>
                <a:prstClr val="black"/>
              </a:solidFill>
              <a:latin typeface="+mn-lt"/>
              <a:ea charset="0" panose="02020603050405020304" pitchFamily="18" typeface="Times New Roman"/>
              <a:cs charset="0" panose="02020603050405020304" pitchFamily="18" typeface="Times New Roman"/>
            </a:endParaRPr>
          </a:p>
          <a:p>
            <a:pPr algn="just" defTabSz="685800" indent="-214313" marL="214313">
              <a:buClr>
                <a:schemeClr val="accent2"/>
              </a:buClr>
              <a:buFont charset="0" panose="020B0604020202020204" pitchFamily="34" typeface="Arial"/>
              <a:buChar char="•"/>
              <a:defRPr/>
            </a:pPr>
            <a:r>
              <a:rPr altLang="en-US" dirty="0" lang="en-US">
                <a:solidFill>
                  <a:prstClr val="black"/>
                </a:solidFill>
                <a:latin typeface="+mn-lt"/>
                <a:ea charset="0" panose="02020603050405020304" pitchFamily="18" typeface="Times New Roman"/>
                <a:cs charset="0" panose="02020603050405020304" pitchFamily="18" typeface="Times New Roman"/>
              </a:rPr>
              <a:t>Used to </a:t>
            </a:r>
            <a:r>
              <a:rPr altLang="en-US" b="1" dirty="0" lang="en-US">
                <a:solidFill>
                  <a:prstClr val="black"/>
                </a:solidFill>
                <a:latin typeface="+mn-lt"/>
                <a:ea charset="0" panose="02020603050405020304" pitchFamily="18" typeface="Times New Roman"/>
                <a:cs charset="0" panose="02020603050405020304" pitchFamily="18" typeface="Times New Roman"/>
              </a:rPr>
              <a:t>deliver oxygen at the bedside or within close proximity</a:t>
            </a:r>
            <a:r>
              <a:rPr altLang="en-US" dirty="0" lang="en-US">
                <a:solidFill>
                  <a:prstClr val="black"/>
                </a:solidFill>
                <a:latin typeface="+mn-lt"/>
                <a:ea charset="0" panose="02020603050405020304" pitchFamily="18" typeface="Times New Roman"/>
                <a:cs charset="0" panose="02020603050405020304" pitchFamily="18" typeface="Times New Roman"/>
              </a:rPr>
              <a:t> to patient areas. </a:t>
            </a:r>
          </a:p>
          <a:p>
            <a:pPr algn="just" defTabSz="685800" indent="-214313" marL="214313">
              <a:buClr>
                <a:schemeClr val="accent2"/>
              </a:buClr>
              <a:buFont charset="0" panose="020B0604020202020204" pitchFamily="34" typeface="Arial"/>
              <a:buChar char="•"/>
              <a:defRPr/>
            </a:pPr>
            <a:endParaRPr altLang="en-US" dirty="0" lang="en-US">
              <a:solidFill>
                <a:prstClr val="black"/>
              </a:solidFill>
              <a:latin typeface="+mn-lt"/>
              <a:ea charset="0" panose="02020603050405020304" pitchFamily="18" typeface="Times New Roman"/>
              <a:cs charset="0" panose="02020603050405020304" pitchFamily="18" typeface="Times New Roman"/>
            </a:endParaRPr>
          </a:p>
          <a:p>
            <a:pPr algn="just" defTabSz="685800" indent="-214313" marL="214313">
              <a:buClr>
                <a:schemeClr val="accent2"/>
              </a:buClr>
              <a:buFont charset="0" panose="020B0604020202020204" pitchFamily="34" typeface="Arial"/>
              <a:buChar char="•"/>
              <a:defRPr/>
            </a:pPr>
            <a:r>
              <a:rPr altLang="en-US" dirty="0" lang="en-US">
                <a:solidFill>
                  <a:prstClr val="black"/>
                </a:solidFill>
                <a:latin typeface="+mn-lt"/>
                <a:ea charset="0" panose="02020603050405020304" pitchFamily="18" typeface="Times New Roman"/>
                <a:cs charset="0" panose="02020603050405020304" pitchFamily="18" typeface="Times New Roman"/>
              </a:rPr>
              <a:t>A </a:t>
            </a:r>
            <a:r>
              <a:rPr altLang="en-US" b="1" dirty="0" lang="en-US">
                <a:solidFill>
                  <a:prstClr val="black"/>
                </a:solidFill>
                <a:latin typeface="+mn-lt"/>
                <a:ea charset="0" panose="02020603050405020304" pitchFamily="18" typeface="Times New Roman"/>
                <a:cs charset="0" panose="02020603050405020304" pitchFamily="18" typeface="Times New Roman"/>
              </a:rPr>
              <a:t>single concentrator can service several beds </a:t>
            </a:r>
            <a:r>
              <a:rPr altLang="en-US" dirty="0" lang="en-US">
                <a:solidFill>
                  <a:prstClr val="black"/>
                </a:solidFill>
                <a:latin typeface="+mn-lt"/>
                <a:ea charset="0" panose="02020603050405020304" pitchFamily="18" typeface="Times New Roman"/>
                <a:cs charset="0" panose="02020603050405020304" pitchFamily="18" typeface="Times New Roman"/>
              </a:rPr>
              <a:t>with the use of a flowmeter stand to split output flow.</a:t>
            </a:r>
          </a:p>
          <a:p>
            <a:pPr algn="just" defTabSz="685800">
              <a:defRPr/>
            </a:pPr>
            <a:endParaRPr altLang="en-US" dirty="0" lang="en-US">
              <a:solidFill>
                <a:prstClr val="black"/>
              </a:solidFill>
              <a:latin typeface="+mn-lt"/>
              <a:ea charset="0" panose="02020603050405020304" pitchFamily="18" typeface="Times New Roman"/>
              <a:cs charset="0" panose="02020603050405020304" pitchFamily="18" typeface="Times New Roman"/>
            </a:endParaRPr>
          </a:p>
        </p:txBody>
      </p:sp>
      <p:pic>
        <p:nvPicPr>
          <p:cNvPr descr="VetO2+ Silent Oxygen concentrator - Monitoring systems, Veterinary  Equipment | MANO MEDICAL" id="16" name="Picture 4">
            <a:extLst>
              <a:ext uri="{FF2B5EF4-FFF2-40B4-BE49-F238E27FC236}">
                <a16:creationId xmlns:a16="http://schemas.microsoft.com/office/drawing/2014/main" id="{370126C8-9DB2-B747-83A6-10B261BE2104}"/>
              </a:ext>
            </a:extLst>
          </p:cNvPr>
          <p:cNvPicPr>
            <a:picLocks noChangeArrowheads="1" noChangeAspect="1"/>
          </p:cNvPicPr>
          <p:nvPr/>
        </p:nvPicPr>
        <p:blipFill rotWithShape="1">
          <a:blip cstate="email" r:embed="rId2">
            <a:extLst>
              <a:ext uri="{28A0092B-C50C-407E-A947-70E740481C1C}">
                <a14:useLocalDpi xmlns:a14="http://schemas.microsoft.com/office/drawing/2010/main"/>
              </a:ext>
            </a:extLst>
          </a:blip>
          <a:srcRect r="79"/>
          <a:stretch/>
        </p:blipFill>
        <p:spPr bwMode="auto">
          <a:xfrm>
            <a:off x="5257800" y="1754563"/>
            <a:ext cx="3124200" cy="358340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Rounded Corners 1">
            <a:extLst>
              <a:ext uri="{FF2B5EF4-FFF2-40B4-BE49-F238E27FC236}">
                <a16:creationId xmlns:a16="http://schemas.microsoft.com/office/drawing/2014/main" id="{C473D1A5-544E-894F-8BC3-EE3872D7DC6B}"/>
              </a:ext>
            </a:extLst>
          </p:cNvPr>
          <p:cNvSpPr/>
          <p:nvPr/>
        </p:nvSpPr>
        <p:spPr>
          <a:xfrm>
            <a:off x="886241" y="5302833"/>
            <a:ext cx="7495760" cy="941180"/>
          </a:xfrm>
          <a:prstGeom prst="roundRect">
            <a:avLst/>
          </a:prstGeom>
          <a:solidFill>
            <a:schemeClr val="accent2">
              <a:lumMod val="75000"/>
            </a:schemeClr>
          </a:solid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algn="just" defTabSz="342900">
              <a:lnSpc>
                <a:spcPct val="120000"/>
              </a:lnSpc>
              <a:spcBef>
                <a:spcPts val="675"/>
              </a:spcBef>
              <a:defRPr/>
            </a:pPr>
            <a:r>
              <a:rPr b="1" dirty="0" lang="en-US" sz="1400">
                <a:solidFill>
                  <a:schemeClr val="bg1"/>
                </a:solidFill>
              </a:rPr>
              <a:t>* Pressure swing adsorption (PSA) is a technology used to separate some gas species from a mixture of gases under pressure according to the species' molecular characteristics and affinity for an adsorbent material.</a:t>
            </a:r>
          </a:p>
        </p:txBody>
      </p:sp>
    </p:spTree>
    <p:extLst>
      <p:ext uri="{BB962C8B-B14F-4D97-AF65-F5344CB8AC3E}">
        <p14:creationId xmlns:p14="http://schemas.microsoft.com/office/powerpoint/2010/main" val="578761451"/>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VetO2+ Silent Oxygen concentrator - Monitoring systems, Veterinary  Equipment | MANO MEDICAL">
            <a:extLst>
              <a:ext uri="{FF2B5EF4-FFF2-40B4-BE49-F238E27FC236}">
                <a16:creationId xmlns:a16="http://schemas.microsoft.com/office/drawing/2014/main" id="{CACB5C8F-119F-C34A-A669-45060D9D3D3C}"/>
              </a:ext>
            </a:extLst>
          </p:cNvPr>
          <p:cNvPicPr>
            <a:picLocks noChangeAspect="1" noChangeArrowheads="1"/>
          </p:cNvPicPr>
          <p:nvPr/>
        </p:nvPicPr>
        <p:blipFill>
          <a:blip r:embed="rId2" cstate="email">
            <a:duotone>
              <a:schemeClr val="bg2">
                <a:shade val="45000"/>
                <a:satMod val="135000"/>
              </a:schemeClr>
              <a:prstClr val="white"/>
            </a:duotone>
            <a:alphaModFix amt="50000"/>
            <a:extLst>
              <a:ext uri="{BEBA8EAE-BF5A-486C-A8C5-ECC9F3942E4B}">
                <a14:imgProps xmlns:a14="http://schemas.microsoft.com/office/drawing/2010/main">
                  <a14:imgLayer r:embed="rId3">
                    <a14:imgEffect>
                      <a14:colorTemperature colorTemp="10793"/>
                    </a14:imgEffect>
                  </a14:imgLayer>
                </a14:imgProps>
              </a:ext>
              <a:ext uri="{28A0092B-C50C-407E-A947-70E740481C1C}">
                <a14:useLocalDpi xmlns:a14="http://schemas.microsoft.com/office/drawing/2010/main"/>
              </a:ext>
            </a:extLst>
          </a:blip>
          <a:srcRect/>
          <a:stretch>
            <a:fillRect/>
          </a:stretch>
        </p:blipFill>
        <p:spPr bwMode="auto">
          <a:xfrm>
            <a:off x="3464007" y="330629"/>
            <a:ext cx="5385799" cy="563655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F5056329-C33F-E441-B23E-6E77DC3FD456}"/>
              </a:ext>
            </a:extLst>
          </p:cNvPr>
          <p:cNvSpPr/>
          <p:nvPr/>
        </p:nvSpPr>
        <p:spPr>
          <a:xfrm>
            <a:off x="3257277" y="463007"/>
            <a:ext cx="5592529" cy="5790496"/>
          </a:xfrm>
          <a:prstGeom prst="rect">
            <a:avLst/>
          </a:prstGeom>
        </p:spPr>
        <p:txBody>
          <a:bodyPr wrap="square">
            <a:spAutoFit/>
          </a:bodyPr>
          <a:lstStyle/>
          <a:p>
            <a:pPr marL="342900" indent="-342900" defTabSz="685800">
              <a:lnSpc>
                <a:spcPct val="150000"/>
              </a:lnSpc>
              <a:spcBef>
                <a:spcPts val="600"/>
              </a:spcBef>
              <a:spcAft>
                <a:spcPts val="600"/>
              </a:spcAft>
              <a:buFont typeface="Arial" panose="020B0604020202020204" pitchFamily="34" charset="0"/>
              <a:buChar char="•"/>
              <a:defRPr/>
            </a:pPr>
            <a:r>
              <a:rPr lang="en-US" altLang="en-US" sz="2400" dirty="0">
                <a:solidFill>
                  <a:schemeClr val="accent1">
                    <a:lumMod val="75000"/>
                  </a:schemeClr>
                </a:solidFill>
                <a:latin typeface="+mn-lt"/>
                <a:ea typeface="+mn-ea"/>
              </a:rPr>
              <a:t>Can be </a:t>
            </a:r>
            <a:r>
              <a:rPr lang="en-US" altLang="en-US" sz="2400" b="1" dirty="0">
                <a:solidFill>
                  <a:schemeClr val="accent1">
                    <a:lumMod val="75000"/>
                  </a:schemeClr>
                </a:solidFill>
                <a:latin typeface="+mn-lt"/>
                <a:ea typeface="+mn-ea"/>
              </a:rPr>
              <a:t>Portable or Stationary </a:t>
            </a:r>
          </a:p>
          <a:p>
            <a:pPr marL="342900" indent="-342900" defTabSz="685800">
              <a:lnSpc>
                <a:spcPct val="150000"/>
              </a:lnSpc>
              <a:spcBef>
                <a:spcPts val="600"/>
              </a:spcBef>
              <a:spcAft>
                <a:spcPts val="600"/>
              </a:spcAft>
              <a:buFont typeface="Arial" panose="020B0604020202020204" pitchFamily="34" charset="0"/>
              <a:buChar char="•"/>
              <a:defRPr/>
            </a:pPr>
            <a:r>
              <a:rPr lang="en-US" altLang="en-US" sz="2400" dirty="0">
                <a:solidFill>
                  <a:schemeClr val="accent1">
                    <a:lumMod val="75000"/>
                  </a:schemeClr>
                </a:solidFill>
                <a:latin typeface="+mn-lt"/>
                <a:ea typeface="+mn-ea"/>
              </a:rPr>
              <a:t>Provide a </a:t>
            </a:r>
            <a:r>
              <a:rPr lang="en-US" altLang="en-US" sz="2400" b="1" dirty="0">
                <a:solidFill>
                  <a:schemeClr val="accent1">
                    <a:lumMod val="75000"/>
                  </a:schemeClr>
                </a:solidFill>
                <a:latin typeface="+mn-lt"/>
                <a:ea typeface="+mn-ea"/>
              </a:rPr>
              <a:t>safe and cost-efficient source of oxygen</a:t>
            </a:r>
          </a:p>
          <a:p>
            <a:pPr marL="342900" indent="-342900" defTabSz="685800">
              <a:lnSpc>
                <a:spcPct val="150000"/>
              </a:lnSpc>
              <a:spcBef>
                <a:spcPts val="600"/>
              </a:spcBef>
              <a:spcAft>
                <a:spcPts val="600"/>
              </a:spcAft>
              <a:buFont typeface="Arial" panose="020B0604020202020204" pitchFamily="34" charset="0"/>
              <a:buChar char="•"/>
              <a:defRPr/>
            </a:pPr>
            <a:r>
              <a:rPr lang="en-US" altLang="en-US" sz="2400" dirty="0">
                <a:solidFill>
                  <a:schemeClr val="accent1">
                    <a:lumMod val="75000"/>
                  </a:schemeClr>
                </a:solidFill>
                <a:latin typeface="+mn-lt"/>
                <a:ea typeface="+mn-ea"/>
              </a:rPr>
              <a:t>Require </a:t>
            </a:r>
            <a:r>
              <a:rPr lang="en-US" altLang="en-US" sz="2400" b="1" dirty="0">
                <a:solidFill>
                  <a:schemeClr val="accent1">
                    <a:lumMod val="75000"/>
                  </a:schemeClr>
                </a:solidFill>
                <a:latin typeface="+mn-lt"/>
                <a:ea typeface="+mn-ea"/>
              </a:rPr>
              <a:t>a source of continuous and reliable power </a:t>
            </a:r>
          </a:p>
          <a:p>
            <a:pPr marL="342900" indent="-342900" defTabSz="685800">
              <a:lnSpc>
                <a:spcPct val="150000"/>
              </a:lnSpc>
              <a:spcBef>
                <a:spcPts val="600"/>
              </a:spcBef>
              <a:spcAft>
                <a:spcPts val="600"/>
              </a:spcAft>
              <a:buFont typeface="Arial" panose="020B0604020202020204" pitchFamily="34" charset="0"/>
              <a:buChar char="•"/>
              <a:defRPr/>
            </a:pPr>
            <a:r>
              <a:rPr lang="en-US" altLang="en-US" sz="2400" dirty="0">
                <a:solidFill>
                  <a:schemeClr val="accent1">
                    <a:lumMod val="75000"/>
                  </a:schemeClr>
                </a:solidFill>
                <a:latin typeface="+mn-lt"/>
                <a:ea typeface="+mn-ea"/>
              </a:rPr>
              <a:t>Need regular </a:t>
            </a:r>
            <a:r>
              <a:rPr lang="en-US" altLang="en-US" sz="2400" b="1" dirty="0">
                <a:solidFill>
                  <a:schemeClr val="accent1">
                    <a:lumMod val="75000"/>
                  </a:schemeClr>
                </a:solidFill>
                <a:latin typeface="+mn-lt"/>
                <a:ea typeface="+mn-ea"/>
              </a:rPr>
              <a:t>preventive maintenance</a:t>
            </a:r>
            <a:r>
              <a:rPr lang="en-US" altLang="en-US" sz="2400" dirty="0">
                <a:solidFill>
                  <a:schemeClr val="accent1">
                    <a:lumMod val="75000"/>
                  </a:schemeClr>
                </a:solidFill>
                <a:latin typeface="+mn-lt"/>
                <a:ea typeface="+mn-ea"/>
              </a:rPr>
              <a:t> </a:t>
            </a:r>
          </a:p>
          <a:p>
            <a:pPr marL="342900" indent="-342900" defTabSz="685800">
              <a:lnSpc>
                <a:spcPct val="150000"/>
              </a:lnSpc>
              <a:spcBef>
                <a:spcPts val="600"/>
              </a:spcBef>
              <a:spcAft>
                <a:spcPts val="600"/>
              </a:spcAft>
              <a:buFont typeface="Arial" panose="020B0604020202020204" pitchFamily="34" charset="0"/>
              <a:buChar char="•"/>
              <a:defRPr/>
            </a:pPr>
            <a:r>
              <a:rPr lang="en-US" altLang="en-US" sz="2400" dirty="0">
                <a:solidFill>
                  <a:schemeClr val="accent1">
                    <a:lumMod val="75000"/>
                  </a:schemeClr>
                </a:solidFill>
                <a:latin typeface="+mn-lt"/>
                <a:ea typeface="+mn-ea"/>
              </a:rPr>
              <a:t>Do not need to be </a:t>
            </a:r>
            <a:r>
              <a:rPr lang="en-US" altLang="en-US" sz="2400" b="1" dirty="0">
                <a:solidFill>
                  <a:schemeClr val="accent1">
                    <a:lumMod val="75000"/>
                  </a:schemeClr>
                </a:solidFill>
                <a:latin typeface="+mn-lt"/>
                <a:ea typeface="+mn-ea"/>
              </a:rPr>
              <a:t>refilled</a:t>
            </a:r>
            <a:endParaRPr lang="en-US" altLang="en-US" sz="2400" dirty="0">
              <a:solidFill>
                <a:schemeClr val="accent1">
                  <a:lumMod val="75000"/>
                </a:schemeClr>
              </a:solidFill>
              <a:latin typeface="+mn-lt"/>
              <a:ea typeface="+mn-ea"/>
            </a:endParaRPr>
          </a:p>
          <a:p>
            <a:pPr marL="342900" indent="-342900" defTabSz="685800">
              <a:lnSpc>
                <a:spcPct val="150000"/>
              </a:lnSpc>
              <a:spcBef>
                <a:spcPts val="600"/>
              </a:spcBef>
              <a:spcAft>
                <a:spcPts val="600"/>
              </a:spcAft>
              <a:buFont typeface="Arial" panose="020B0604020202020204" pitchFamily="34" charset="0"/>
              <a:buChar char="•"/>
              <a:defRPr/>
            </a:pPr>
            <a:r>
              <a:rPr lang="en-US" altLang="en-US" sz="2400" dirty="0">
                <a:solidFill>
                  <a:schemeClr val="accent1">
                    <a:lumMod val="75000"/>
                  </a:schemeClr>
                </a:solidFill>
                <a:latin typeface="+mn-lt"/>
                <a:ea typeface="+mn-ea"/>
              </a:rPr>
              <a:t>Can supply an </a:t>
            </a:r>
            <a:r>
              <a:rPr lang="en-US" altLang="en-US" sz="2400" b="1" dirty="0">
                <a:solidFill>
                  <a:schemeClr val="accent1">
                    <a:lumMod val="75000"/>
                  </a:schemeClr>
                </a:solidFill>
                <a:latin typeface="+mn-lt"/>
                <a:ea typeface="+mn-ea"/>
              </a:rPr>
              <a:t>unlimited amount of oxygen</a:t>
            </a:r>
            <a:endParaRPr lang="en-US" sz="2400" dirty="0">
              <a:solidFill>
                <a:schemeClr val="accent1">
                  <a:lumMod val="75000"/>
                </a:schemeClr>
              </a:solidFill>
              <a:latin typeface="+mn-lt"/>
              <a:ea typeface="+mn-ea"/>
            </a:endParaRPr>
          </a:p>
        </p:txBody>
      </p:sp>
      <p:grpSp>
        <p:nvGrpSpPr>
          <p:cNvPr id="4" name="Group 3">
            <a:extLst>
              <a:ext uri="{FF2B5EF4-FFF2-40B4-BE49-F238E27FC236}">
                <a16:creationId xmlns:a16="http://schemas.microsoft.com/office/drawing/2014/main" id="{47C37A4D-0F16-43C0-8061-C458C791E59A}"/>
              </a:ext>
            </a:extLst>
          </p:cNvPr>
          <p:cNvGrpSpPr/>
          <p:nvPr/>
        </p:nvGrpSpPr>
        <p:grpSpPr>
          <a:xfrm>
            <a:off x="-21976" y="0"/>
            <a:ext cx="3146176" cy="6400800"/>
            <a:chOff x="-21976" y="1718718"/>
            <a:chExt cx="2514600" cy="4682082"/>
          </a:xfrm>
        </p:grpSpPr>
        <p:sp>
          <p:nvSpPr>
            <p:cNvPr id="2" name="Rectangle 1">
              <a:extLst>
                <a:ext uri="{FF2B5EF4-FFF2-40B4-BE49-F238E27FC236}">
                  <a16:creationId xmlns:a16="http://schemas.microsoft.com/office/drawing/2014/main" id="{B462F2BC-87F7-904A-9FEB-AEAA0BD3AE07}"/>
                </a:ext>
              </a:extLst>
            </p:cNvPr>
            <p:cNvSpPr/>
            <p:nvPr/>
          </p:nvSpPr>
          <p:spPr>
            <a:xfrm>
              <a:off x="-21976" y="1718718"/>
              <a:ext cx="2514600" cy="4682082"/>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 name="Graphic 4" descr="Move with solid fill">
              <a:extLst>
                <a:ext uri="{FF2B5EF4-FFF2-40B4-BE49-F238E27FC236}">
                  <a16:creationId xmlns:a16="http://schemas.microsoft.com/office/drawing/2014/main" id="{499E6BCE-98A1-5448-B276-A8D2DF2456A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9628" y="2057400"/>
              <a:ext cx="578349" cy="578349"/>
            </a:xfrm>
            <a:prstGeom prst="rect">
              <a:avLst/>
            </a:prstGeom>
          </p:spPr>
        </p:pic>
        <p:pic>
          <p:nvPicPr>
            <p:cNvPr id="9" name="Graphic 8" descr="Shield Tick with solid fill">
              <a:extLst>
                <a:ext uri="{FF2B5EF4-FFF2-40B4-BE49-F238E27FC236}">
                  <a16:creationId xmlns:a16="http://schemas.microsoft.com/office/drawing/2014/main" id="{F20C4696-685B-F348-8FB7-01DB75756F9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2372" y="2632408"/>
              <a:ext cx="685800" cy="685800"/>
            </a:xfrm>
            <a:prstGeom prst="rect">
              <a:avLst/>
            </a:prstGeom>
          </p:spPr>
        </p:pic>
        <p:pic>
          <p:nvPicPr>
            <p:cNvPr id="11" name="Graphic 10" descr="Money with solid fill">
              <a:extLst>
                <a:ext uri="{FF2B5EF4-FFF2-40B4-BE49-F238E27FC236}">
                  <a16:creationId xmlns:a16="http://schemas.microsoft.com/office/drawing/2014/main" id="{208F7B27-BBD2-5D4B-8DDE-7935FBEFE92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49184" y="2821905"/>
              <a:ext cx="525713" cy="525713"/>
            </a:xfrm>
            <a:prstGeom prst="rect">
              <a:avLst/>
            </a:prstGeom>
          </p:spPr>
        </p:pic>
        <p:pic>
          <p:nvPicPr>
            <p:cNvPr id="13" name="Graphic 12" descr="No sign with solid fill">
              <a:extLst>
                <a:ext uri="{FF2B5EF4-FFF2-40B4-BE49-F238E27FC236}">
                  <a16:creationId xmlns:a16="http://schemas.microsoft.com/office/drawing/2014/main" id="{6004BB45-78D1-3849-B6D2-4097EBD3325E}"/>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252956" y="2289508"/>
              <a:ext cx="372311" cy="372311"/>
            </a:xfrm>
            <a:prstGeom prst="rect">
              <a:avLst/>
            </a:prstGeom>
          </p:spPr>
        </p:pic>
        <p:pic>
          <p:nvPicPr>
            <p:cNvPr id="15" name="Graphic 14" descr="Battery charging with solid fill">
              <a:extLst>
                <a:ext uri="{FF2B5EF4-FFF2-40B4-BE49-F238E27FC236}">
                  <a16:creationId xmlns:a16="http://schemas.microsoft.com/office/drawing/2014/main" id="{3C04192D-C0CF-1B43-ABBD-14DCC766D32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853324" y="3521446"/>
              <a:ext cx="685799" cy="685799"/>
            </a:xfrm>
            <a:prstGeom prst="rect">
              <a:avLst/>
            </a:prstGeom>
          </p:spPr>
        </p:pic>
        <p:pic>
          <p:nvPicPr>
            <p:cNvPr id="17" name="Graphic 16" descr="Tools with solid fill">
              <a:extLst>
                <a:ext uri="{FF2B5EF4-FFF2-40B4-BE49-F238E27FC236}">
                  <a16:creationId xmlns:a16="http://schemas.microsoft.com/office/drawing/2014/main" id="{14F5EFD9-E8B1-014F-8F66-6C43534BB6EA}"/>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25097" y="4207246"/>
              <a:ext cx="473075" cy="473075"/>
            </a:xfrm>
            <a:prstGeom prst="rect">
              <a:avLst/>
            </a:prstGeom>
          </p:spPr>
        </p:pic>
        <p:pic>
          <p:nvPicPr>
            <p:cNvPr id="19" name="Graphic 18" descr="Fuel with solid fill">
              <a:extLst>
                <a:ext uri="{FF2B5EF4-FFF2-40B4-BE49-F238E27FC236}">
                  <a16:creationId xmlns:a16="http://schemas.microsoft.com/office/drawing/2014/main" id="{78AD7326-B880-2D4F-B92A-011850F09DD6}"/>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892424" y="4705244"/>
              <a:ext cx="685800" cy="685800"/>
            </a:xfrm>
            <a:prstGeom prst="rect">
              <a:avLst/>
            </a:prstGeom>
          </p:spPr>
        </p:pic>
        <p:pic>
          <p:nvPicPr>
            <p:cNvPr id="23" name="Graphic 22" descr="Close outline">
              <a:extLst>
                <a:ext uri="{FF2B5EF4-FFF2-40B4-BE49-F238E27FC236}">
                  <a16:creationId xmlns:a16="http://schemas.microsoft.com/office/drawing/2014/main" id="{20A2235E-39F8-E649-9272-F45014568FB3}"/>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818734" y="4019444"/>
              <a:ext cx="685800" cy="685800"/>
            </a:xfrm>
            <a:prstGeom prst="rect">
              <a:avLst/>
            </a:prstGeom>
          </p:spPr>
        </p:pic>
        <p:pic>
          <p:nvPicPr>
            <p:cNvPr id="25" name="Graphic 24" descr="Infinity with solid fill">
              <a:extLst>
                <a:ext uri="{FF2B5EF4-FFF2-40B4-BE49-F238E27FC236}">
                  <a16:creationId xmlns:a16="http://schemas.microsoft.com/office/drawing/2014/main" id="{D6B19E0E-A802-744D-8A6B-1EE1718B2F41}"/>
                </a:ext>
              </a:extLst>
            </p:cNvPr>
            <p:cNvPicPr>
              <a:picLocks noChangeAspect="1"/>
            </p:cNvPicPr>
            <p:nvPr/>
          </p:nvPicPr>
          <p:blipFill>
            <a:blip r:embed="rId20">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853322" y="5336247"/>
              <a:ext cx="685800" cy="685800"/>
            </a:xfrm>
            <a:prstGeom prst="rect">
              <a:avLst/>
            </a:prstGeom>
          </p:spPr>
        </p:pic>
      </p:grpSp>
    </p:spTree>
    <p:extLst>
      <p:ext uri="{BB962C8B-B14F-4D97-AF65-F5344CB8AC3E}">
        <p14:creationId xmlns:p14="http://schemas.microsoft.com/office/powerpoint/2010/main" val="35043333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421FFA6-2606-7A41-B048-957CD86B5DB6}"/>
              </a:ext>
            </a:extLst>
          </p:cNvPr>
          <p:cNvSpPr/>
          <p:nvPr/>
        </p:nvSpPr>
        <p:spPr>
          <a:xfrm>
            <a:off x="0" y="2324100"/>
            <a:ext cx="9144000" cy="36861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E17FEF03-DD41-3242-AC46-CF56566F6DE6}"/>
              </a:ext>
            </a:extLst>
          </p:cNvPr>
          <p:cNvSpPr>
            <a:spLocks noGrp="1"/>
          </p:cNvSpPr>
          <p:nvPr>
            <p:ph type="body" sz="quarter" idx="14"/>
          </p:nvPr>
        </p:nvSpPr>
        <p:spPr>
          <a:xfrm>
            <a:off x="815617" y="585036"/>
            <a:ext cx="7490183" cy="1095876"/>
          </a:xfrm>
        </p:spPr>
        <p:txBody>
          <a:bodyPr anchor="b"/>
          <a:lstStyle/>
          <a:p>
            <a:pPr algn="ctr"/>
            <a:r>
              <a:rPr lang="en-US" sz="3600" b="1" spc="-50" dirty="0">
                <a:solidFill>
                  <a:schemeClr val="accent2">
                    <a:lumMod val="75000"/>
                  </a:schemeClr>
                </a:solidFill>
                <a:ea typeface="+mj-ea"/>
                <a:cs typeface="+mj-cs"/>
              </a:rPr>
              <a:t>Oxygen Concentrators- Pros &amp; Cons</a:t>
            </a:r>
          </a:p>
        </p:txBody>
      </p:sp>
      <p:graphicFrame>
        <p:nvGraphicFramePr>
          <p:cNvPr id="4" name="Diagram 3">
            <a:extLst>
              <a:ext uri="{FF2B5EF4-FFF2-40B4-BE49-F238E27FC236}">
                <a16:creationId xmlns:a16="http://schemas.microsoft.com/office/drawing/2014/main" id="{C8F585DF-5DC0-7E4D-9D30-DDA41BA86DC4}"/>
              </a:ext>
            </a:extLst>
          </p:cNvPr>
          <p:cNvGraphicFramePr/>
          <p:nvPr>
            <p:extLst>
              <p:ext uri="{D42A27DB-BD31-4B8C-83A1-F6EECF244321}">
                <p14:modId xmlns:p14="http://schemas.microsoft.com/office/powerpoint/2010/main" val="2918646125"/>
              </p:ext>
            </p:extLst>
          </p:nvPr>
        </p:nvGraphicFramePr>
        <p:xfrm>
          <a:off x="815617" y="2209800"/>
          <a:ext cx="7754912" cy="38004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24983734"/>
      </p:ext>
    </p:extLst>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657600" y="2800350"/>
            <a:ext cx="4868863" cy="1257300"/>
          </a:xfrm>
        </p:spPr>
        <p:txBody>
          <a:bodyPr rtlCol="0">
            <a:noAutofit/>
          </a:bodyPr>
          <a:lstStyle/>
          <a:p>
            <a:pPr marL="0" indent="0"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rPr>
              <a:t>Oxygen Storage Sources</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3600" b="1" dirty="0">
              <a:solidFill>
                <a:schemeClr val="accent2">
                  <a:lumMod val="75000"/>
                </a:schemeClr>
              </a:solidFill>
            </a:endParaRPr>
          </a:p>
        </p:txBody>
      </p:sp>
    </p:spTree>
    <p:extLst>
      <p:ext uri="{BB962C8B-B14F-4D97-AF65-F5344CB8AC3E}">
        <p14:creationId xmlns:p14="http://schemas.microsoft.com/office/powerpoint/2010/main" val="213176360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991DCD-616E-2E4E-902D-060F93FA1620}"/>
              </a:ext>
            </a:extLst>
          </p:cNvPr>
          <p:cNvSpPr>
            <a:spLocks noGrp="1"/>
          </p:cNvSpPr>
          <p:nvPr>
            <p:ph type="body" sz="quarter" idx="13"/>
          </p:nvPr>
        </p:nvSpPr>
        <p:spPr>
          <a:xfrm>
            <a:off x="906517" y="1856276"/>
            <a:ext cx="5189483" cy="4620724"/>
          </a:xfrm>
        </p:spPr>
        <p:txBody>
          <a:bodyPr>
            <a:noAutofit/>
          </a:bodyPr>
          <a:lstStyle/>
          <a:p>
            <a:pPr marL="285750" indent="-285750" algn="just">
              <a:spcAft>
                <a:spcPts val="900"/>
              </a:spcAft>
              <a:buClr>
                <a:schemeClr val="accent2"/>
              </a:buClr>
              <a:buFont typeface="Arial" panose="020B0604020202020204" pitchFamily="34" charset="0"/>
              <a:buChar char="•"/>
            </a:pPr>
            <a:r>
              <a:rPr lang="en-IN" sz="1600" dirty="0">
                <a:latin typeface="Calibri" panose="020F0502020204030204" pitchFamily="34" charset="0"/>
              </a:rPr>
              <a:t>Liquid oxygen is stored, shipped, and handled in several types of containers, depending upon the quantity required </a:t>
            </a:r>
          </a:p>
          <a:p>
            <a:pPr marL="285750" indent="-285750" algn="just">
              <a:spcAft>
                <a:spcPts val="900"/>
              </a:spcAft>
              <a:buClr>
                <a:schemeClr val="accent2"/>
              </a:buClr>
              <a:buFont typeface="Arial" panose="020B0604020202020204" pitchFamily="34" charset="0"/>
              <a:buChar char="•"/>
            </a:pPr>
            <a:r>
              <a:rPr lang="en-IN" sz="1600" b="1" dirty="0">
                <a:latin typeface="Calibri" panose="020F0502020204030204" pitchFamily="34" charset="0"/>
              </a:rPr>
              <a:t>The types of containers in use include the </a:t>
            </a:r>
            <a:r>
              <a:rPr lang="en-IN" sz="1600" b="1" dirty="0" err="1">
                <a:latin typeface="Calibri" panose="020F0502020204030204" pitchFamily="34" charset="0"/>
              </a:rPr>
              <a:t>dewar</a:t>
            </a:r>
            <a:r>
              <a:rPr lang="en-IN" sz="1600" b="1" dirty="0">
                <a:latin typeface="Calibri" panose="020F0502020204030204" pitchFamily="34" charset="0"/>
              </a:rPr>
              <a:t>, cryogenic liquid cylinder, and cryogenic storage tank</a:t>
            </a:r>
          </a:p>
          <a:p>
            <a:pPr marL="285750" indent="-285750" algn="just">
              <a:spcAft>
                <a:spcPts val="900"/>
              </a:spcAft>
              <a:buClr>
                <a:schemeClr val="accent2"/>
              </a:buClr>
              <a:buFont typeface="Arial" panose="020B0604020202020204" pitchFamily="34" charset="0"/>
              <a:buChar char="•"/>
            </a:pPr>
            <a:r>
              <a:rPr lang="en-IN" sz="1600" dirty="0">
                <a:latin typeface="Calibri" panose="020F0502020204030204" pitchFamily="34" charset="0"/>
              </a:rPr>
              <a:t>Storage quantities vary from a few </a:t>
            </a:r>
            <a:r>
              <a:rPr lang="en-IN" sz="1600" dirty="0" err="1">
                <a:latin typeface="Calibri" panose="020F0502020204030204" pitchFamily="34" charset="0"/>
              </a:rPr>
              <a:t>liters</a:t>
            </a:r>
            <a:r>
              <a:rPr lang="en-IN" sz="1600" dirty="0">
                <a:latin typeface="Calibri" panose="020F0502020204030204" pitchFamily="34" charset="0"/>
              </a:rPr>
              <a:t> to many thousands of gallons (In India IS 7396:2017 is followed) </a:t>
            </a:r>
          </a:p>
          <a:p>
            <a:pPr marL="285750" indent="-285750" algn="just">
              <a:spcAft>
                <a:spcPts val="900"/>
              </a:spcAft>
              <a:buClr>
                <a:schemeClr val="accent2"/>
              </a:buClr>
              <a:buFont typeface="Arial" panose="020B0604020202020204" pitchFamily="34" charset="0"/>
              <a:buChar char="•"/>
            </a:pPr>
            <a:r>
              <a:rPr lang="en-IN" sz="1600" b="1" dirty="0">
                <a:latin typeface="Calibri" panose="020F0502020204030204" pitchFamily="34" charset="0"/>
              </a:rPr>
              <a:t>Since heat leak is always present, vaporization takes place continuously</a:t>
            </a:r>
          </a:p>
          <a:p>
            <a:pPr marL="285750" indent="-285750" algn="just">
              <a:spcAft>
                <a:spcPts val="900"/>
              </a:spcAft>
              <a:buClr>
                <a:schemeClr val="accent2"/>
              </a:buClr>
              <a:buFont typeface="Arial" panose="020B0604020202020204" pitchFamily="34" charset="0"/>
              <a:buChar char="•"/>
            </a:pPr>
            <a:r>
              <a:rPr lang="en-IN" sz="1600" dirty="0">
                <a:latin typeface="Calibri" panose="020F0502020204030204" pitchFamily="34" charset="0"/>
              </a:rPr>
              <a:t>Rates of vaporization vary, depending on the design of the container, external temperatures and the volume of stored product</a:t>
            </a:r>
          </a:p>
          <a:p>
            <a:pPr marL="285750" indent="-285750" algn="just">
              <a:spcAft>
                <a:spcPts val="900"/>
              </a:spcAft>
              <a:buClr>
                <a:schemeClr val="accent2"/>
              </a:buClr>
              <a:buFont typeface="Arial" panose="020B0604020202020204" pitchFamily="34" charset="0"/>
              <a:buChar char="•"/>
            </a:pPr>
            <a:r>
              <a:rPr lang="en-IN" sz="1600" dirty="0">
                <a:latin typeface="Calibri" panose="020F0502020204030204" pitchFamily="34" charset="0"/>
              </a:rPr>
              <a:t>Containers are designed and manufactured according to the applicable codes and specifications for the temperatures and pressures involved.</a:t>
            </a:r>
            <a:endParaRPr lang="en-US" sz="1600" dirty="0">
              <a:latin typeface="Calibri" panose="020F0502020204030204" pitchFamily="34" charset="0"/>
            </a:endParaRPr>
          </a:p>
        </p:txBody>
      </p:sp>
      <p:sp>
        <p:nvSpPr>
          <p:cNvPr id="3" name="Text Placeholder 2">
            <a:extLst>
              <a:ext uri="{FF2B5EF4-FFF2-40B4-BE49-F238E27FC236}">
                <a16:creationId xmlns:a16="http://schemas.microsoft.com/office/drawing/2014/main" id="{3E371479-7C17-D240-9FAB-261BD92C3AFF}"/>
              </a:ext>
            </a:extLst>
          </p:cNvPr>
          <p:cNvSpPr>
            <a:spLocks noGrp="1"/>
          </p:cNvSpPr>
          <p:nvPr>
            <p:ph type="body" sz="quarter" idx="14"/>
          </p:nvPr>
        </p:nvSpPr>
        <p:spPr>
          <a:xfrm>
            <a:off x="906517" y="588334"/>
            <a:ext cx="7461250" cy="1095876"/>
          </a:xfrm>
        </p:spPr>
        <p:txBody>
          <a:bodyPr anchor="b"/>
          <a:lstStyle/>
          <a:p>
            <a:pPr algn="ctr"/>
            <a:r>
              <a:rPr lang="en-US" sz="3600" b="1" spc="-50" dirty="0">
                <a:solidFill>
                  <a:schemeClr val="accent2">
                    <a:lumMod val="75000"/>
                  </a:schemeClr>
                </a:solidFill>
                <a:ea typeface="+mj-ea"/>
                <a:cs typeface="+mj-cs"/>
              </a:rPr>
              <a:t>Liquid Oxygen Containers</a:t>
            </a:r>
          </a:p>
        </p:txBody>
      </p:sp>
      <p:grpSp>
        <p:nvGrpSpPr>
          <p:cNvPr id="9" name="Group 8">
            <a:extLst>
              <a:ext uri="{FF2B5EF4-FFF2-40B4-BE49-F238E27FC236}">
                <a16:creationId xmlns:a16="http://schemas.microsoft.com/office/drawing/2014/main" id="{2086B120-DE36-40BB-93BF-4048AA64AEAB}"/>
              </a:ext>
            </a:extLst>
          </p:cNvPr>
          <p:cNvGrpSpPr/>
          <p:nvPr/>
        </p:nvGrpSpPr>
        <p:grpSpPr>
          <a:xfrm>
            <a:off x="6300981" y="1837487"/>
            <a:ext cx="2622271" cy="4087325"/>
            <a:chOff x="6505963" y="914400"/>
            <a:chExt cx="2622271" cy="4087325"/>
          </a:xfrm>
        </p:grpSpPr>
        <p:grpSp>
          <p:nvGrpSpPr>
            <p:cNvPr id="6" name="Group 5">
              <a:extLst>
                <a:ext uri="{FF2B5EF4-FFF2-40B4-BE49-F238E27FC236}">
                  <a16:creationId xmlns:a16="http://schemas.microsoft.com/office/drawing/2014/main" id="{377CDBCC-D3D9-4940-A8A8-41C0E51387BB}"/>
                </a:ext>
              </a:extLst>
            </p:cNvPr>
            <p:cNvGrpSpPr/>
            <p:nvPr/>
          </p:nvGrpSpPr>
          <p:grpSpPr>
            <a:xfrm>
              <a:off x="6505963" y="1750943"/>
              <a:ext cx="2622271" cy="3250782"/>
              <a:chOff x="6505963" y="1750943"/>
              <a:chExt cx="2622271" cy="3250782"/>
            </a:xfrm>
          </p:grpSpPr>
          <p:sp>
            <p:nvSpPr>
              <p:cNvPr id="5" name="Rectangle 4">
                <a:extLst>
                  <a:ext uri="{FF2B5EF4-FFF2-40B4-BE49-F238E27FC236}">
                    <a16:creationId xmlns:a16="http://schemas.microsoft.com/office/drawing/2014/main" id="{53F85352-4C32-E449-B658-970E5E1B36E6}"/>
                  </a:ext>
                </a:extLst>
              </p:cNvPr>
              <p:cNvSpPr/>
              <p:nvPr/>
            </p:nvSpPr>
            <p:spPr>
              <a:xfrm>
                <a:off x="6505963" y="1750943"/>
                <a:ext cx="2622271" cy="3250782"/>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C5B53EDF-090A-D346-90D4-14318FBE5775}"/>
                  </a:ext>
                </a:extLst>
              </p:cNvPr>
              <p:cNvSpPr txBox="1"/>
              <p:nvPr/>
            </p:nvSpPr>
            <p:spPr>
              <a:xfrm>
                <a:off x="6521729" y="1905000"/>
                <a:ext cx="2492235" cy="2945022"/>
              </a:xfrm>
              <a:prstGeom prst="rect">
                <a:avLst/>
              </a:prstGeom>
              <a:noFill/>
            </p:spPr>
            <p:txBody>
              <a:bodyPr wrap="square" lIns="0" tIns="0" rIns="0" bIns="0" rtlCol="0">
                <a:noAutofit/>
              </a:bodyPr>
              <a:lstStyle/>
              <a:p>
                <a:pPr marL="285750" indent="-285750" algn="just">
                  <a:lnSpc>
                    <a:spcPct val="150000"/>
                  </a:lnSpc>
                  <a:spcAft>
                    <a:spcPts val="0"/>
                  </a:spcAft>
                  <a:buFont typeface="Arial" panose="020B0604020202020204" pitchFamily="34" charset="0"/>
                  <a:buChar char="•"/>
                </a:pPr>
                <a:r>
                  <a:rPr lang="en-IN" sz="1400" dirty="0">
                    <a:solidFill>
                      <a:schemeClr val="bg1"/>
                    </a:solidFill>
                    <a:latin typeface="+mn-lt"/>
                  </a:rPr>
                  <a:t>Liquid oxygen is a cryogenic liquid, pale blue in colour with a has a boiling point of –297°F (–183°C). </a:t>
                </a:r>
              </a:p>
              <a:p>
                <a:pPr marL="285750" indent="-285750" algn="just">
                  <a:lnSpc>
                    <a:spcPct val="150000"/>
                  </a:lnSpc>
                  <a:spcAft>
                    <a:spcPts val="0"/>
                  </a:spcAft>
                  <a:buFont typeface="Arial" panose="020B0604020202020204" pitchFamily="34" charset="0"/>
                  <a:buChar char="•"/>
                </a:pPr>
                <a:r>
                  <a:rPr lang="en-IN" sz="1400" dirty="0">
                    <a:solidFill>
                      <a:schemeClr val="bg1"/>
                    </a:solidFill>
                    <a:latin typeface="+mn-lt"/>
                  </a:rPr>
                  <a:t>It is a compressed form of oxygen, required to be stored much below -200°C, to ensure that the oxygen remains in the liquid form.</a:t>
                </a:r>
              </a:p>
            </p:txBody>
          </p:sp>
        </p:grpSp>
        <p:pic>
          <p:nvPicPr>
            <p:cNvPr id="7" name="Graphic 6" descr="Potion outline">
              <a:extLst>
                <a:ext uri="{FF2B5EF4-FFF2-40B4-BE49-F238E27FC236}">
                  <a16:creationId xmlns:a16="http://schemas.microsoft.com/office/drawing/2014/main" id="{BDC40346-9548-3A4B-8260-29A982D85A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97961" y="914400"/>
              <a:ext cx="1085572" cy="1085572"/>
            </a:xfrm>
            <a:prstGeom prst="rect">
              <a:avLst/>
            </a:prstGeom>
          </p:spPr>
        </p:pic>
      </p:grpSp>
    </p:spTree>
    <p:extLst>
      <p:ext uri="{BB962C8B-B14F-4D97-AF65-F5344CB8AC3E}">
        <p14:creationId xmlns:p14="http://schemas.microsoft.com/office/powerpoint/2010/main" val="474738301"/>
      </p:ext>
    </p:extLst>
  </p:cSld>
  <p:clrMapOvr>
    <a:masterClrMapping/>
  </p:clrMapOvr>
  <p:transition spd="med">
    <p:fade/>
  </p:transition>
</p:sld>
</file>

<file path=ppt/slides/slide55.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E9CD1EA-F92B-5A41-AA7C-EAE6D0B4C933}"/>
              </a:ext>
            </a:extLst>
          </p:cNvPr>
          <p:cNvSpPr/>
          <p:nvPr/>
        </p:nvSpPr>
        <p:spPr>
          <a:xfrm>
            <a:off x="876807" y="1905000"/>
            <a:ext cx="5523993" cy="4343400"/>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endParaRPr dirty="0" lang="en-US">
              <a:latin charset="0" panose="020F0502020204030204" pitchFamily="34" typeface="Calibri"/>
            </a:endParaRPr>
          </a:p>
        </p:txBody>
      </p:sp>
      <p:sp>
        <p:nvSpPr>
          <p:cNvPr id="2" name="Text Placeholder 1">
            <a:extLst>
              <a:ext uri="{FF2B5EF4-FFF2-40B4-BE49-F238E27FC236}">
                <a16:creationId xmlns:a16="http://schemas.microsoft.com/office/drawing/2014/main" id="{BDDB3EC9-603A-0549-ABF4-24A267257C26}"/>
              </a:ext>
            </a:extLst>
          </p:cNvPr>
          <p:cNvSpPr>
            <a:spLocks noGrp="1"/>
          </p:cNvSpPr>
          <p:nvPr>
            <p:ph idx="13" sz="quarter" type="body"/>
          </p:nvPr>
        </p:nvSpPr>
        <p:spPr>
          <a:xfrm>
            <a:off x="947132" y="2080325"/>
            <a:ext cx="5301268" cy="3916655"/>
          </a:xfrm>
        </p:spPr>
        <p:txBody>
          <a:bodyPr>
            <a:noAutofit/>
          </a:bodyPr>
          <a:lstStyle/>
          <a:p>
            <a:pPr algn="just">
              <a:lnSpc>
                <a:spcPct val="120000"/>
              </a:lnSpc>
              <a:spcAft>
                <a:spcPts val="450"/>
              </a:spcAft>
              <a:buClr>
                <a:schemeClr val="bg1"/>
              </a:buClr>
            </a:pPr>
            <a:r>
              <a:rPr b="1" dirty="0" lang="en-IN" sz="1800">
                <a:solidFill>
                  <a:schemeClr val="bg1"/>
                </a:solidFill>
              </a:rPr>
              <a:t>It is is non-pressurized </a:t>
            </a:r>
          </a:p>
          <a:p>
            <a:pPr algn="just" indent="-285750" marL="285750">
              <a:lnSpc>
                <a:spcPct val="120000"/>
              </a:lnSpc>
              <a:spcAft>
                <a:spcPts val="450"/>
              </a:spcAft>
              <a:buClr>
                <a:schemeClr val="bg1"/>
              </a:buClr>
              <a:buFont charset="0" panose="020B0604020202020204" pitchFamily="34" typeface="Arial"/>
              <a:buChar char="•"/>
            </a:pPr>
            <a:r>
              <a:rPr dirty="0" lang="en-IN" sz="1800">
                <a:solidFill>
                  <a:schemeClr val="bg1"/>
                </a:solidFill>
              </a:rPr>
              <a:t>A loose-fitting dust cap over the outlet of the neck tubes prevents atmospheric moisture from plugging the neck and allows gas produced from vaporized liquid to escape</a:t>
            </a:r>
          </a:p>
          <a:p>
            <a:pPr algn="just" indent="-285750" marL="285750">
              <a:lnSpc>
                <a:spcPct val="120000"/>
              </a:lnSpc>
              <a:spcAft>
                <a:spcPts val="450"/>
              </a:spcAft>
              <a:buClr>
                <a:schemeClr val="bg1"/>
              </a:buClr>
              <a:buFont charset="0" panose="020B0604020202020204" pitchFamily="34" typeface="Arial"/>
              <a:buChar char="•"/>
            </a:pPr>
            <a:r>
              <a:rPr dirty="0" lang="en-IN" sz="1800">
                <a:solidFill>
                  <a:schemeClr val="bg1"/>
                </a:solidFill>
              </a:rPr>
              <a:t>Unit of measure for the capacity of a </a:t>
            </a:r>
            <a:r>
              <a:rPr dirty="0" err="1" lang="en-IN" sz="1800">
                <a:solidFill>
                  <a:schemeClr val="bg1"/>
                </a:solidFill>
              </a:rPr>
              <a:t>dewar</a:t>
            </a:r>
            <a:r>
              <a:rPr dirty="0" lang="en-IN" sz="1800">
                <a:solidFill>
                  <a:schemeClr val="bg1"/>
                </a:solidFill>
              </a:rPr>
              <a:t> is the litre</a:t>
            </a:r>
          </a:p>
          <a:p>
            <a:pPr algn="just">
              <a:lnSpc>
                <a:spcPct val="120000"/>
              </a:lnSpc>
              <a:spcAft>
                <a:spcPts val="450"/>
              </a:spcAft>
              <a:buClr>
                <a:schemeClr val="bg1"/>
              </a:buClr>
            </a:pPr>
            <a:r>
              <a:rPr b="1" dirty="0" lang="en-IN" sz="1800">
                <a:solidFill>
                  <a:schemeClr val="bg1"/>
                </a:solidFill>
              </a:rPr>
              <a:t>Five- to 200-litre </a:t>
            </a:r>
            <a:r>
              <a:rPr b="1" dirty="0" err="1" lang="en-IN" sz="1800">
                <a:solidFill>
                  <a:schemeClr val="bg1"/>
                </a:solidFill>
              </a:rPr>
              <a:t>dewars</a:t>
            </a:r>
            <a:r>
              <a:rPr b="1" dirty="0" lang="en-IN" sz="1800">
                <a:solidFill>
                  <a:schemeClr val="bg1"/>
                </a:solidFill>
              </a:rPr>
              <a:t> are available</a:t>
            </a:r>
          </a:p>
          <a:p>
            <a:pPr algn="just" indent="-285750" marL="285750">
              <a:lnSpc>
                <a:spcPct val="120000"/>
              </a:lnSpc>
              <a:spcAft>
                <a:spcPts val="450"/>
              </a:spcAft>
              <a:buClr>
                <a:schemeClr val="bg1"/>
              </a:buClr>
              <a:buFont charset="0" panose="020B0604020202020204" pitchFamily="34" typeface="Arial"/>
              <a:buChar char="•"/>
            </a:pPr>
            <a:r>
              <a:rPr dirty="0" lang="en-IN" sz="1800">
                <a:solidFill>
                  <a:schemeClr val="bg1"/>
                </a:solidFill>
              </a:rPr>
              <a:t>Product may be removed from small </a:t>
            </a:r>
            <a:r>
              <a:rPr dirty="0" err="1" lang="en-IN" sz="1800">
                <a:solidFill>
                  <a:schemeClr val="bg1"/>
                </a:solidFill>
              </a:rPr>
              <a:t>dewars</a:t>
            </a:r>
            <a:r>
              <a:rPr dirty="0" lang="en-IN" sz="1800">
                <a:solidFill>
                  <a:schemeClr val="bg1"/>
                </a:solidFill>
              </a:rPr>
              <a:t> by pouring, while larger sizes will require a transfer tube</a:t>
            </a:r>
          </a:p>
          <a:p>
            <a:pPr algn="just" indent="-257175" marL="257175">
              <a:lnSpc>
                <a:spcPct val="120000"/>
              </a:lnSpc>
              <a:spcAft>
                <a:spcPts val="450"/>
              </a:spcAft>
              <a:buFont charset="0" panose="020B0604020202020204" pitchFamily="34" typeface="Arial"/>
              <a:buChar char="•"/>
            </a:pPr>
            <a:endParaRPr dirty="0" lang="en-IN" sz="1800"/>
          </a:p>
          <a:p>
            <a:pPr algn="just"/>
            <a:endParaRPr dirty="0" lang="en-US" sz="1800"/>
          </a:p>
        </p:txBody>
      </p:sp>
      <p:sp>
        <p:nvSpPr>
          <p:cNvPr id="3" name="Text Placeholder 2">
            <a:extLst>
              <a:ext uri="{FF2B5EF4-FFF2-40B4-BE49-F238E27FC236}">
                <a16:creationId xmlns:a16="http://schemas.microsoft.com/office/drawing/2014/main" id="{B7C369C1-DF15-904F-9D83-6694A6944EC4}"/>
              </a:ext>
            </a:extLst>
          </p:cNvPr>
          <p:cNvSpPr>
            <a:spLocks noGrp="1"/>
          </p:cNvSpPr>
          <p:nvPr>
            <p:ph idx="14" sz="quarter" type="body"/>
          </p:nvPr>
        </p:nvSpPr>
        <p:spPr>
          <a:xfrm>
            <a:off x="947132" y="861020"/>
            <a:ext cx="7434868" cy="871964"/>
          </a:xfrm>
        </p:spPr>
        <p:txBody>
          <a:bodyPr anchor="b"/>
          <a:lstStyle/>
          <a:p>
            <a:pPr algn="ctr"/>
            <a:r>
              <a:rPr b="1" dirty="0" err="1" lang="en-IN" spc="-50" sz="3600">
                <a:solidFill>
                  <a:schemeClr val="accent2">
                    <a:lumMod val="75000"/>
                  </a:schemeClr>
                </a:solidFill>
                <a:ea typeface="+mj-ea"/>
                <a:cs typeface="+mj-cs"/>
              </a:rPr>
              <a:t>Dewars</a:t>
            </a:r>
            <a:endParaRPr b="1" dirty="0" lang="en-IN" spc="-50" sz="3600">
              <a:solidFill>
                <a:schemeClr val="accent2">
                  <a:lumMod val="75000"/>
                </a:schemeClr>
              </a:solidFill>
              <a:ea typeface="+mj-ea"/>
              <a:cs typeface="+mj-cs"/>
            </a:endParaRPr>
          </a:p>
        </p:txBody>
      </p:sp>
      <p:pic>
        <p:nvPicPr>
          <p:cNvPr descr="A picture containing linedrawing&#10;&#10;Description automatically generated" id="5" name="Picture 4">
            <a:extLst>
              <a:ext uri="{FF2B5EF4-FFF2-40B4-BE49-F238E27FC236}">
                <a16:creationId xmlns:a16="http://schemas.microsoft.com/office/drawing/2014/main" id="{992BD4E3-8098-4645-96DA-D0EE6CCB1A39}"/>
              </a:ext>
            </a:extLst>
          </p:cNvPr>
          <p:cNvPicPr>
            <a:picLocks noChangeAspect="1"/>
          </p:cNvPicPr>
          <p:nvPr/>
        </p:nvPicPr>
        <p:blipFill rotWithShape="1">
          <a:blip r:embed="rId2"/>
          <a:srcRect b="34"/>
          <a:stretch/>
        </p:blipFill>
        <p:spPr>
          <a:xfrm>
            <a:off x="6494089" y="2311428"/>
            <a:ext cx="2143256" cy="2943225"/>
          </a:xfrm>
          <a:prstGeom prst="rect">
            <a:avLst/>
          </a:prstGeom>
        </p:spPr>
      </p:pic>
      <p:sp>
        <p:nvSpPr>
          <p:cNvPr id="4" name="TextBox 3">
            <a:extLst>
              <a:ext uri="{FF2B5EF4-FFF2-40B4-BE49-F238E27FC236}">
                <a16:creationId xmlns:a16="http://schemas.microsoft.com/office/drawing/2014/main" id="{46203429-31ED-294B-86CC-9CAA56A5517C}"/>
              </a:ext>
            </a:extLst>
          </p:cNvPr>
          <p:cNvSpPr txBox="1"/>
          <p:nvPr/>
        </p:nvSpPr>
        <p:spPr>
          <a:xfrm>
            <a:off x="5032244" y="4543426"/>
            <a:ext cx="1066800" cy="297071"/>
          </a:xfrm>
          <a:prstGeom prst="rect">
            <a:avLst/>
          </a:prstGeom>
          <a:noFill/>
        </p:spPr>
        <p:txBody>
          <a:bodyPr bIns="0" lIns="0" rIns="0" rtlCol="0" tIns="0" wrap="square">
            <a:noAutofit/>
          </a:bodyPr>
          <a:lstStyle/>
          <a:p>
            <a:pPr algn="l"/>
            <a:endParaRPr dirty="0" err="1" lang="en-US" sz="1200">
              <a:solidFill>
                <a:srgbClr val="454E60"/>
              </a:solidFill>
              <a:latin charset="0" pitchFamily="2" typeface="Helvetica"/>
            </a:endParaRPr>
          </a:p>
        </p:txBody>
      </p:sp>
      <p:sp>
        <p:nvSpPr>
          <p:cNvPr id="7" name="TextBox 6">
            <a:extLst>
              <a:ext uri="{FF2B5EF4-FFF2-40B4-BE49-F238E27FC236}">
                <a16:creationId xmlns:a16="http://schemas.microsoft.com/office/drawing/2014/main" id="{2164BEF7-83D2-BF4B-BAC7-70E5C8B32F0E}"/>
              </a:ext>
            </a:extLst>
          </p:cNvPr>
          <p:cNvSpPr txBox="1"/>
          <p:nvPr/>
        </p:nvSpPr>
        <p:spPr>
          <a:xfrm>
            <a:off x="6629400" y="5308263"/>
            <a:ext cx="2143256" cy="524835"/>
          </a:xfrm>
          <a:prstGeom prst="rect">
            <a:avLst/>
          </a:prstGeom>
          <a:noFill/>
        </p:spPr>
        <p:txBody>
          <a:bodyPr bIns="0" lIns="0" rIns="0" rtlCol="0" tIns="0" wrap="square">
            <a:noAutofit/>
          </a:bodyPr>
          <a:lstStyle/>
          <a:p>
            <a:pPr algn="ctr"/>
            <a:r>
              <a:rPr b="1" dirty="0" lang="en-US">
                <a:solidFill>
                  <a:schemeClr val="accent2"/>
                </a:solidFill>
                <a:latin charset="0" panose="020F0502020204030204" pitchFamily="34" typeface="Calibri"/>
              </a:rPr>
              <a:t>A Dewar Container</a:t>
            </a:r>
          </a:p>
        </p:txBody>
      </p:sp>
    </p:spTree>
    <p:extLst>
      <p:ext uri="{BB962C8B-B14F-4D97-AF65-F5344CB8AC3E}">
        <p14:creationId xmlns:p14="http://schemas.microsoft.com/office/powerpoint/2010/main" val="2274078129"/>
      </p:ext>
    </p:extLst>
  </p:cSld>
  <p:clrMapOvr>
    <a:masterClrMapping/>
  </p:clrMapOvr>
  <p:transition spd="med">
    <p:fade/>
  </p:transition>
</p:sld>
</file>

<file path=ppt/slides/slide56.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BCE0534-3B0A-D64A-9F35-8216B732A186}"/>
              </a:ext>
            </a:extLst>
          </p:cNvPr>
          <p:cNvSpPr>
            <a:spLocks noGrp="1"/>
          </p:cNvSpPr>
          <p:nvPr>
            <p:ph idx="13" sz="quarter" type="body"/>
          </p:nvPr>
        </p:nvSpPr>
        <p:spPr>
          <a:xfrm>
            <a:off x="987493" y="1784350"/>
            <a:ext cx="7318308" cy="2025650"/>
          </a:xfrm>
        </p:spPr>
        <p:txBody>
          <a:bodyPr>
            <a:noAutofit/>
          </a:bodyPr>
          <a:lstStyle/>
          <a:p>
            <a:pPr algn="just" indent="-257175" marL="257175">
              <a:spcAft>
                <a:spcPts val="450"/>
              </a:spcAft>
              <a:buClr>
                <a:schemeClr val="accent2"/>
              </a:buClr>
              <a:buFont charset="0" panose="020B0604020202020204" pitchFamily="34" typeface="Arial"/>
              <a:buChar char="•"/>
            </a:pPr>
            <a:r>
              <a:rPr b="1" dirty="0" lang="en-US" sz="1800"/>
              <a:t>Cryogenic liquid cylinders are insulated, vacuum-jacketed pressure vessel </a:t>
            </a:r>
          </a:p>
          <a:p>
            <a:pPr algn="just" indent="-257175" marL="257175">
              <a:spcAft>
                <a:spcPts val="450"/>
              </a:spcAft>
              <a:buClr>
                <a:schemeClr val="accent2"/>
              </a:buClr>
              <a:buFont charset="0" panose="020B0604020202020204" pitchFamily="34" typeface="Arial"/>
              <a:buChar char="•"/>
            </a:pPr>
            <a:r>
              <a:rPr dirty="0" lang="en-US" sz="1800"/>
              <a:t>They are equipped with pressure relief valves and rupture disks to protect the cylinders from pressure buildup. </a:t>
            </a:r>
          </a:p>
          <a:p>
            <a:pPr algn="just" indent="-257175" marL="257175">
              <a:spcAft>
                <a:spcPts val="450"/>
              </a:spcAft>
              <a:buClr>
                <a:schemeClr val="accent2"/>
              </a:buClr>
              <a:buFont charset="0" panose="020B0604020202020204" pitchFamily="34" typeface="Arial"/>
              <a:buChar char="•"/>
            </a:pPr>
            <a:r>
              <a:rPr dirty="0" lang="en-US" sz="1800"/>
              <a:t>Liquid containers operate at pressures in the range of 100 </a:t>
            </a:r>
            <a:r>
              <a:rPr dirty="0" err="1" lang="en-US" sz="1800"/>
              <a:t>psig</a:t>
            </a:r>
            <a:r>
              <a:rPr dirty="0" lang="en-US" sz="1800"/>
              <a:t> to 350 </a:t>
            </a:r>
            <a:r>
              <a:rPr dirty="0" err="1" lang="en-US" sz="1800"/>
              <a:t>psig</a:t>
            </a:r>
            <a:r>
              <a:rPr dirty="0" lang="en-US" sz="1800"/>
              <a:t> (24 atm) and have </a:t>
            </a:r>
            <a:r>
              <a:rPr b="1" dirty="0" lang="en-US" sz="1800"/>
              <a:t>capacities between 80 and 450 liters of liquid</a:t>
            </a:r>
          </a:p>
          <a:p>
            <a:pPr algn="just" indent="-257175" marL="257175">
              <a:spcAft>
                <a:spcPts val="450"/>
              </a:spcAft>
              <a:buClr>
                <a:schemeClr val="accent2"/>
              </a:buClr>
              <a:buFont charset="0" panose="020B0604020202020204" pitchFamily="34" typeface="Arial"/>
              <a:buChar char="•"/>
            </a:pPr>
            <a:r>
              <a:rPr dirty="0" lang="en-US" sz="1800"/>
              <a:t>Oxygen may be withdrawn as a gas by passing liquid through an internal vaporizer or as a liquid under its own vapor pressure</a:t>
            </a:r>
          </a:p>
        </p:txBody>
      </p:sp>
      <p:sp>
        <p:nvSpPr>
          <p:cNvPr id="3" name="Text Placeholder 2">
            <a:extLst>
              <a:ext uri="{FF2B5EF4-FFF2-40B4-BE49-F238E27FC236}">
                <a16:creationId xmlns:a16="http://schemas.microsoft.com/office/drawing/2014/main" id="{58BC6F43-0C16-4F4F-82BE-BE4115E3759A}"/>
              </a:ext>
            </a:extLst>
          </p:cNvPr>
          <p:cNvSpPr>
            <a:spLocks noGrp="1"/>
          </p:cNvSpPr>
          <p:nvPr>
            <p:ph idx="14" sz="quarter" type="body"/>
          </p:nvPr>
        </p:nvSpPr>
        <p:spPr>
          <a:xfrm>
            <a:off x="987493" y="627431"/>
            <a:ext cx="7318307" cy="1136649"/>
          </a:xfrm>
        </p:spPr>
        <p:txBody>
          <a:bodyPr anchor="b"/>
          <a:lstStyle/>
          <a:p>
            <a:pPr algn="ctr">
              <a:lnSpc>
                <a:spcPct val="100000"/>
              </a:lnSpc>
              <a:spcBef>
                <a:spcPts val="0"/>
              </a:spcBef>
              <a:spcAft>
                <a:spcPts val="600"/>
              </a:spcAft>
            </a:pPr>
            <a:r>
              <a:rPr b="1" dirty="0" lang="en-US" spc="-50" sz="3600">
                <a:solidFill>
                  <a:schemeClr val="accent2">
                    <a:lumMod val="75000"/>
                  </a:schemeClr>
                </a:solidFill>
                <a:ea typeface="+mj-ea"/>
                <a:cs typeface="+mj-cs"/>
              </a:rPr>
              <a:t>Cryogenic Liquid Cylinders </a:t>
            </a:r>
          </a:p>
          <a:p>
            <a:pPr algn="ctr">
              <a:lnSpc>
                <a:spcPct val="100000"/>
              </a:lnSpc>
              <a:spcBef>
                <a:spcPts val="0"/>
              </a:spcBef>
              <a:spcAft>
                <a:spcPts val="600"/>
              </a:spcAft>
            </a:pPr>
            <a:r>
              <a:rPr b="1" dirty="0" lang="en-US" spc="-50" sz="3600">
                <a:solidFill>
                  <a:schemeClr val="accent2">
                    <a:lumMod val="75000"/>
                  </a:schemeClr>
                </a:solidFill>
                <a:ea typeface="+mj-ea"/>
                <a:cs typeface="+mj-cs"/>
              </a:rPr>
              <a:t>(Dura Cylinder)</a:t>
            </a:r>
          </a:p>
        </p:txBody>
      </p:sp>
      <p:grpSp>
        <p:nvGrpSpPr>
          <p:cNvPr id="6" name="Group 5">
            <a:extLst>
              <a:ext uri="{FF2B5EF4-FFF2-40B4-BE49-F238E27FC236}">
                <a16:creationId xmlns:a16="http://schemas.microsoft.com/office/drawing/2014/main" id="{2DDAA6F3-9AB4-42C5-B86A-06BFF9709658}"/>
              </a:ext>
            </a:extLst>
          </p:cNvPr>
          <p:cNvGrpSpPr/>
          <p:nvPr/>
        </p:nvGrpSpPr>
        <p:grpSpPr>
          <a:xfrm>
            <a:off x="987493" y="3985405"/>
            <a:ext cx="7318308" cy="2262995"/>
            <a:chOff x="-25400" y="4061605"/>
            <a:chExt cx="9169400" cy="2262995"/>
          </a:xfrm>
          <a:solidFill>
            <a:schemeClr val="accent2">
              <a:lumMod val="75000"/>
            </a:schemeClr>
          </a:solidFill>
        </p:grpSpPr>
        <p:sp>
          <p:nvSpPr>
            <p:cNvPr id="8" name="Rectangle 7">
              <a:extLst>
                <a:ext uri="{FF2B5EF4-FFF2-40B4-BE49-F238E27FC236}">
                  <a16:creationId xmlns:a16="http://schemas.microsoft.com/office/drawing/2014/main" id="{7037CBD1-AF4B-2043-AB2C-4769E36F4E6D}"/>
                </a:ext>
              </a:extLst>
            </p:cNvPr>
            <p:cNvSpPr/>
            <p:nvPr/>
          </p:nvSpPr>
          <p:spPr>
            <a:xfrm>
              <a:off x="-25400" y="4061605"/>
              <a:ext cx="9169400" cy="2262995"/>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lgn="ctr"/>
              <a:endParaRPr lang="en-US"/>
            </a:p>
          </p:txBody>
        </p:sp>
        <p:pic>
          <p:nvPicPr>
            <p:cNvPr descr="Diagram&#10;&#10;Description automatically generated" id="5" name="Picture 4">
              <a:extLst>
                <a:ext uri="{FF2B5EF4-FFF2-40B4-BE49-F238E27FC236}">
                  <a16:creationId xmlns:a16="http://schemas.microsoft.com/office/drawing/2014/main" id="{3C591E8F-2DEA-4648-A65E-2F8B6184818C}"/>
                </a:ext>
              </a:extLst>
            </p:cNvPr>
            <p:cNvPicPr>
              <a:picLocks noChangeAspect="1"/>
            </p:cNvPicPr>
            <p:nvPr/>
          </p:nvPicPr>
          <p:blipFill rotWithShape="1">
            <a:blip r:embed="rId2"/>
            <a:srcRect b="48" t="-1"/>
            <a:stretch/>
          </p:blipFill>
          <p:spPr>
            <a:xfrm>
              <a:off x="4873787" y="4163598"/>
              <a:ext cx="3689189" cy="2109201"/>
            </a:xfrm>
            <a:prstGeom prst="rect">
              <a:avLst/>
            </a:prstGeom>
            <a:grpFill/>
          </p:spPr>
        </p:pic>
        <p:pic>
          <p:nvPicPr>
            <p:cNvPr descr="Diagram&#10;&#10;Description automatically generated" id="7" name="Picture 6">
              <a:extLst>
                <a:ext uri="{FF2B5EF4-FFF2-40B4-BE49-F238E27FC236}">
                  <a16:creationId xmlns:a16="http://schemas.microsoft.com/office/drawing/2014/main" id="{D8C24894-651D-2E43-8414-E1D36CBE84F0}"/>
                </a:ext>
              </a:extLst>
            </p:cNvPr>
            <p:cNvPicPr>
              <a:picLocks noChangeAspect="1"/>
            </p:cNvPicPr>
            <p:nvPr/>
          </p:nvPicPr>
          <p:blipFill rotWithShape="1">
            <a:blip r:embed="rId3"/>
            <a:stretch/>
          </p:blipFill>
          <p:spPr>
            <a:xfrm>
              <a:off x="768688" y="4163598"/>
              <a:ext cx="3803312" cy="2109201"/>
            </a:xfrm>
            <a:prstGeom prst="rect">
              <a:avLst/>
            </a:prstGeom>
            <a:grpFill/>
          </p:spPr>
        </p:pic>
      </p:grpSp>
      <p:sp>
        <p:nvSpPr>
          <p:cNvPr id="4" name="TextBox 3">
            <a:extLst>
              <a:ext uri="{FF2B5EF4-FFF2-40B4-BE49-F238E27FC236}">
                <a16:creationId xmlns:a16="http://schemas.microsoft.com/office/drawing/2014/main" id="{71FDA75D-05FE-804B-8829-AB3EDDF04F3F}"/>
              </a:ext>
            </a:extLst>
          </p:cNvPr>
          <p:cNvSpPr txBox="1"/>
          <p:nvPr/>
        </p:nvSpPr>
        <p:spPr>
          <a:xfrm>
            <a:off x="1250238" y="5951930"/>
            <a:ext cx="2425700" cy="176989"/>
          </a:xfrm>
          <a:prstGeom prst="rect">
            <a:avLst/>
          </a:prstGeom>
          <a:noFill/>
        </p:spPr>
        <p:txBody>
          <a:bodyPr bIns="0" lIns="0" rIns="0" rtlCol="0" tIns="0" wrap="square">
            <a:noAutofit/>
          </a:bodyPr>
          <a:lstStyle/>
          <a:p>
            <a:pPr algn="l"/>
            <a:endParaRPr dirty="0" err="1" lang="en-US" sz="1200">
              <a:solidFill>
                <a:srgbClr val="454E60"/>
              </a:solidFill>
              <a:latin typeface="+mn-lt"/>
            </a:endParaRPr>
          </a:p>
        </p:txBody>
      </p:sp>
    </p:spTree>
    <p:extLst>
      <p:ext uri="{BB962C8B-B14F-4D97-AF65-F5344CB8AC3E}">
        <p14:creationId xmlns:p14="http://schemas.microsoft.com/office/powerpoint/2010/main" val="3385171060"/>
      </p:ext>
    </p:extLst>
  </p:cSld>
  <p:clrMapOvr>
    <a:masterClrMapping/>
  </p:clrMapOvr>
  <p:transition spd="med">
    <p:fade/>
  </p:transition>
</p:sld>
</file>

<file path=ppt/slides/slide57.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CF5F4AB-07C6-2143-80E3-3C748A5439D4}"/>
              </a:ext>
            </a:extLst>
          </p:cNvPr>
          <p:cNvSpPr/>
          <p:nvPr/>
        </p:nvSpPr>
        <p:spPr>
          <a:xfrm>
            <a:off x="-1" y="1977606"/>
            <a:ext cx="9144001" cy="4118393"/>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rtlCol="0"/>
          <a:lstStyle/>
          <a:p>
            <a:pPr algn="ctr"/>
            <a:endParaRPr lang="en-US"/>
          </a:p>
        </p:txBody>
      </p:sp>
      <p:sp>
        <p:nvSpPr>
          <p:cNvPr id="2" name="Text Placeholder 1">
            <a:extLst>
              <a:ext uri="{FF2B5EF4-FFF2-40B4-BE49-F238E27FC236}">
                <a16:creationId xmlns:a16="http://schemas.microsoft.com/office/drawing/2014/main" id="{19B7E71F-BEC5-ED49-9983-F4A3D8A69054}"/>
              </a:ext>
            </a:extLst>
          </p:cNvPr>
          <p:cNvSpPr>
            <a:spLocks noGrp="1"/>
          </p:cNvSpPr>
          <p:nvPr>
            <p:ph idx="13" sz="quarter" type="body"/>
          </p:nvPr>
        </p:nvSpPr>
        <p:spPr>
          <a:xfrm>
            <a:off x="205636" y="2271041"/>
            <a:ext cx="4724400" cy="3387725"/>
          </a:xfrm>
        </p:spPr>
        <p:txBody>
          <a:bodyPr>
            <a:noAutofit/>
          </a:bodyPr>
          <a:lstStyle/>
          <a:p>
            <a:pPr algn="just" indent="-214313" marL="214313">
              <a:buClr>
                <a:schemeClr val="bg1"/>
              </a:buClr>
              <a:buFont charset="0" panose="020B0604020202020204" pitchFamily="34" typeface="Arial"/>
              <a:buChar char="•"/>
            </a:pPr>
            <a:r>
              <a:rPr dirty="0" lang="en-IN" sz="1600">
                <a:solidFill>
                  <a:schemeClr val="bg1"/>
                </a:solidFill>
                <a:latin charset="0" panose="020F0502020204030204" pitchFamily="34" typeface="Calibri"/>
              </a:rPr>
              <a:t>Customer installations generally include a tank, vaporizer, and pressure control manifold.</a:t>
            </a:r>
          </a:p>
          <a:p>
            <a:pPr algn="just" indent="-214313" marL="214313">
              <a:buClr>
                <a:schemeClr val="bg1"/>
              </a:buClr>
              <a:buFont charset="0" panose="020B0604020202020204" pitchFamily="34" typeface="Arial"/>
              <a:buChar char="•"/>
            </a:pPr>
            <a:r>
              <a:rPr dirty="0" lang="en-IN" sz="1600">
                <a:solidFill>
                  <a:schemeClr val="bg1"/>
                </a:solidFill>
                <a:latin charset="0" panose="020F0502020204030204" pitchFamily="34" typeface="Calibri"/>
              </a:rPr>
              <a:t>Tanks are generally cylindrical in shape and are mounted in fixed locations as stationary vessels or on railcar or truck chassis for easy transportation. </a:t>
            </a:r>
          </a:p>
          <a:p>
            <a:pPr algn="just" indent="-214313" marL="214313">
              <a:buClr>
                <a:schemeClr val="bg1"/>
              </a:buClr>
              <a:buFont charset="0" panose="020B0604020202020204" pitchFamily="34" typeface="Arial"/>
              <a:buChar char="•"/>
            </a:pPr>
            <a:r>
              <a:rPr dirty="0" lang="en-IN" sz="1600">
                <a:solidFill>
                  <a:schemeClr val="bg1"/>
                </a:solidFill>
                <a:latin charset="0" panose="020F0502020204030204" pitchFamily="34" typeface="Calibri"/>
              </a:rPr>
              <a:t>All tanks are powder- and vacuum-insulated in the annular space and equipped with various circuits to control product fill, pressure </a:t>
            </a:r>
            <a:r>
              <a:rPr dirty="0" err="1" lang="en-IN" sz="1600">
                <a:solidFill>
                  <a:schemeClr val="bg1"/>
                </a:solidFill>
                <a:latin charset="0" panose="020F0502020204030204" pitchFamily="34" typeface="Calibri"/>
              </a:rPr>
              <a:t>buildup</a:t>
            </a:r>
            <a:r>
              <a:rPr dirty="0" lang="en-IN" sz="1600">
                <a:solidFill>
                  <a:schemeClr val="bg1"/>
                </a:solidFill>
                <a:latin charset="0" panose="020F0502020204030204" pitchFamily="34" typeface="Calibri"/>
              </a:rPr>
              <a:t>, pressure-relief, product withdrawal, and tank vacuum.</a:t>
            </a:r>
          </a:p>
          <a:p>
            <a:pPr algn="just" indent="-214313" marL="214313">
              <a:buClr>
                <a:schemeClr val="bg1"/>
              </a:buClr>
              <a:buFont charset="0" panose="020B0604020202020204" pitchFamily="34" typeface="Arial"/>
              <a:buChar char="•"/>
            </a:pPr>
            <a:r>
              <a:rPr dirty="0" lang="en-IN" sz="1600">
                <a:solidFill>
                  <a:schemeClr val="bg1"/>
                </a:solidFill>
                <a:latin charset="0" panose="020F0502020204030204" pitchFamily="34" typeface="Calibri"/>
              </a:rPr>
              <a:t>Tanks are designed to national and international specifications for the pressures and</a:t>
            </a:r>
          </a:p>
          <a:p>
            <a:endParaRPr dirty="0" lang="en-US" sz="1600">
              <a:latin charset="0" panose="020F0502020204030204" pitchFamily="34" typeface="Calibri"/>
            </a:endParaRPr>
          </a:p>
        </p:txBody>
      </p:sp>
      <p:sp>
        <p:nvSpPr>
          <p:cNvPr id="3" name="Text Placeholder 2">
            <a:extLst>
              <a:ext uri="{FF2B5EF4-FFF2-40B4-BE49-F238E27FC236}">
                <a16:creationId xmlns:a16="http://schemas.microsoft.com/office/drawing/2014/main" id="{074059ED-C430-2640-A9B7-428F948210F5}"/>
              </a:ext>
            </a:extLst>
          </p:cNvPr>
          <p:cNvSpPr>
            <a:spLocks noGrp="1"/>
          </p:cNvSpPr>
          <p:nvPr>
            <p:ph idx="14" sz="quarter" type="body"/>
          </p:nvPr>
        </p:nvSpPr>
        <p:spPr>
          <a:xfrm>
            <a:off x="873124" y="632702"/>
            <a:ext cx="7397749" cy="1095876"/>
          </a:xfrm>
        </p:spPr>
        <p:txBody>
          <a:bodyPr anchor="b"/>
          <a:lstStyle/>
          <a:p>
            <a:pPr algn="ctr"/>
            <a:r>
              <a:rPr b="1" dirty="0" lang="en-IN" spc="-50" sz="3600">
                <a:solidFill>
                  <a:schemeClr val="accent2">
                    <a:lumMod val="75000"/>
                  </a:schemeClr>
                </a:solidFill>
                <a:ea typeface="+mj-ea"/>
                <a:cs typeface="+mj-cs"/>
              </a:rPr>
              <a:t>Cryogenic Storage Tanks</a:t>
            </a:r>
          </a:p>
        </p:txBody>
      </p:sp>
      <p:pic>
        <p:nvPicPr>
          <p:cNvPr descr="Diagram&#10;&#10;Description automatically generated" id="5" name="Picture 4">
            <a:extLst>
              <a:ext uri="{FF2B5EF4-FFF2-40B4-BE49-F238E27FC236}">
                <a16:creationId xmlns:a16="http://schemas.microsoft.com/office/drawing/2014/main" id="{9AEE1577-4FAC-0942-B0FE-F71541D9B9AA}"/>
              </a:ext>
            </a:extLst>
          </p:cNvPr>
          <p:cNvPicPr>
            <a:picLocks noChangeAspect="1"/>
          </p:cNvPicPr>
          <p:nvPr/>
        </p:nvPicPr>
        <p:blipFill rotWithShape="1">
          <a:blip r:embed="rId3"/>
          <a:srcRect b="40"/>
          <a:stretch/>
        </p:blipFill>
        <p:spPr>
          <a:xfrm>
            <a:off x="5080000" y="2347703"/>
            <a:ext cx="3937000" cy="3311063"/>
          </a:xfrm>
          <a:prstGeom prst="rect">
            <a:avLst/>
          </a:prstGeom>
          <a:solidFill>
            <a:srgbClr val="FF0000"/>
          </a:solidFill>
          <a:ln w="28575">
            <a:noFill/>
            <a:prstDash val="sysDot"/>
          </a:ln>
        </p:spPr>
      </p:pic>
    </p:spTree>
    <p:extLst>
      <p:ext uri="{BB962C8B-B14F-4D97-AF65-F5344CB8AC3E}">
        <p14:creationId xmlns:p14="http://schemas.microsoft.com/office/powerpoint/2010/main" val="847923543"/>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2101748-4962-C640-AEDD-27666E6BEB54}"/>
              </a:ext>
            </a:extLst>
          </p:cNvPr>
          <p:cNvSpPr>
            <a:spLocks noGrp="1"/>
          </p:cNvSpPr>
          <p:nvPr>
            <p:ph type="body" sz="quarter" idx="14"/>
          </p:nvPr>
        </p:nvSpPr>
        <p:spPr>
          <a:xfrm>
            <a:off x="819150" y="740193"/>
            <a:ext cx="7562850" cy="974307"/>
          </a:xfrm>
        </p:spPr>
        <p:txBody>
          <a:bodyPr anchor="b"/>
          <a:lstStyle/>
          <a:p>
            <a:pPr algn="ctr"/>
            <a:r>
              <a:rPr lang="en-US" sz="3600" b="1" spc="-50" dirty="0">
                <a:solidFill>
                  <a:schemeClr val="accent2">
                    <a:lumMod val="75000"/>
                  </a:schemeClr>
                </a:solidFill>
                <a:ea typeface="+mj-ea"/>
                <a:cs typeface="+mj-cs"/>
              </a:rPr>
              <a:t>LMO - Pros &amp; Cons</a:t>
            </a:r>
          </a:p>
        </p:txBody>
      </p:sp>
      <p:graphicFrame>
        <p:nvGraphicFramePr>
          <p:cNvPr id="4" name="Diagram 3">
            <a:extLst>
              <a:ext uri="{FF2B5EF4-FFF2-40B4-BE49-F238E27FC236}">
                <a16:creationId xmlns:a16="http://schemas.microsoft.com/office/drawing/2014/main" id="{9FBEE60B-458E-E142-8DC2-16E96B15E78A}"/>
              </a:ext>
            </a:extLst>
          </p:cNvPr>
          <p:cNvGraphicFramePr/>
          <p:nvPr>
            <p:extLst>
              <p:ext uri="{D42A27DB-BD31-4B8C-83A1-F6EECF244321}">
                <p14:modId xmlns:p14="http://schemas.microsoft.com/office/powerpoint/2010/main" val="52533900"/>
              </p:ext>
            </p:extLst>
          </p:nvPr>
        </p:nvGraphicFramePr>
        <p:xfrm>
          <a:off x="819150" y="1981200"/>
          <a:ext cx="7562850" cy="419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7589655"/>
      </p:ext>
    </p:extLst>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CD0FFF-A0A3-7F4E-907E-CC323AAC2FB7}"/>
              </a:ext>
            </a:extLst>
          </p:cNvPr>
          <p:cNvSpPr>
            <a:spLocks noGrp="1"/>
          </p:cNvSpPr>
          <p:nvPr>
            <p:ph type="body" sz="quarter" idx="16"/>
          </p:nvPr>
        </p:nvSpPr>
        <p:spPr>
          <a:xfrm>
            <a:off x="842962" y="991432"/>
            <a:ext cx="7458075" cy="761168"/>
          </a:xfrm>
        </p:spPr>
        <p:txBody>
          <a:bodyPr anchor="b">
            <a:normAutofit/>
          </a:bodyPr>
          <a:lstStyle/>
          <a:p>
            <a:pPr algn="ctr">
              <a:lnSpc>
                <a:spcPts val="3000"/>
              </a:lnSpc>
              <a:spcAft>
                <a:spcPts val="1350"/>
              </a:spcAft>
            </a:pPr>
            <a:r>
              <a:rPr lang="en-US" sz="3600" b="1" spc="-50" dirty="0">
                <a:solidFill>
                  <a:schemeClr val="accent2">
                    <a:lumMod val="75000"/>
                  </a:schemeClr>
                </a:solidFill>
                <a:latin typeface="Calibri" panose="020F0502020204030204" pitchFamily="34" charset="0"/>
                <a:ea typeface="+mj-ea"/>
                <a:cs typeface="+mj-cs"/>
              </a:rPr>
              <a:t>Oxygen Cylinders</a:t>
            </a:r>
          </a:p>
        </p:txBody>
      </p:sp>
      <p:sp>
        <p:nvSpPr>
          <p:cNvPr id="2" name="Text Placeholder 1">
            <a:extLst>
              <a:ext uri="{FF2B5EF4-FFF2-40B4-BE49-F238E27FC236}">
                <a16:creationId xmlns:a16="http://schemas.microsoft.com/office/drawing/2014/main" id="{DEAC6EC4-0624-3B46-B1B3-BCF5CF49B4FD}"/>
              </a:ext>
            </a:extLst>
          </p:cNvPr>
          <p:cNvSpPr>
            <a:spLocks noGrp="1"/>
          </p:cNvSpPr>
          <p:nvPr>
            <p:ph type="body" sz="quarter" idx="17"/>
          </p:nvPr>
        </p:nvSpPr>
        <p:spPr>
          <a:xfrm>
            <a:off x="380999" y="1752600"/>
            <a:ext cx="6301967" cy="4495800"/>
          </a:xfrm>
        </p:spPr>
        <p:txBody>
          <a:bodyPr>
            <a:noAutofit/>
          </a:bodyPr>
          <a:lstStyle/>
          <a:p>
            <a:pPr marL="285750" indent="-285750" algn="just">
              <a:lnSpc>
                <a:spcPct val="90000"/>
              </a:lnSpc>
              <a:spcAft>
                <a:spcPts val="900"/>
              </a:spcAft>
              <a:buFont typeface="Arial" panose="020B0604020202020204" pitchFamily="34" charset="0"/>
              <a:buChar char="•"/>
            </a:pPr>
            <a:r>
              <a:rPr lang="en-US" sz="1800" dirty="0">
                <a:latin typeface="Calibri" panose="020F0502020204030204" pitchFamily="34" charset="0"/>
              </a:rPr>
              <a:t>Oxygen gas can be compressed and stored in cylinders.</a:t>
            </a:r>
          </a:p>
          <a:p>
            <a:pPr marL="285750" indent="-285750" algn="just">
              <a:lnSpc>
                <a:spcPct val="90000"/>
              </a:lnSpc>
              <a:spcAft>
                <a:spcPts val="900"/>
              </a:spcAft>
              <a:buFont typeface="Arial" panose="020B0604020202020204" pitchFamily="34" charset="0"/>
              <a:buChar char="•"/>
            </a:pPr>
            <a:r>
              <a:rPr lang="en-US" sz="1800" dirty="0">
                <a:latin typeface="Calibri" panose="020F0502020204030204" pitchFamily="34" charset="0"/>
              </a:rPr>
              <a:t>These cylinders are filled at a gas manufacturing plant, </a:t>
            </a:r>
          </a:p>
          <a:p>
            <a:pPr marL="573088" lvl="1" indent="-285750" algn="just">
              <a:spcAft>
                <a:spcPts val="900"/>
              </a:spcAft>
              <a:buFont typeface="Arial" panose="020B0604020202020204" pitchFamily="34" charset="0"/>
              <a:buChar char="•"/>
            </a:pPr>
            <a:r>
              <a:rPr lang="en-US" sz="1800" dirty="0">
                <a:latin typeface="Calibri" panose="020F0502020204030204" pitchFamily="34" charset="0"/>
              </a:rPr>
              <a:t>a cryogenic distillation/ASUs in liquid oxygen form or a </a:t>
            </a:r>
            <a:r>
              <a:rPr lang="en-US" sz="1800" dirty="0" err="1">
                <a:latin typeface="Calibri" panose="020F0502020204030204" pitchFamily="34" charset="0"/>
              </a:rPr>
              <a:t>processss</a:t>
            </a:r>
            <a:r>
              <a:rPr lang="en-US" sz="1800" dirty="0">
                <a:latin typeface="Calibri" panose="020F0502020204030204" pitchFamily="34" charset="0"/>
              </a:rPr>
              <a:t> known as pressure swing adsorption (PSA) in gaseous oxygen form </a:t>
            </a:r>
          </a:p>
          <a:p>
            <a:pPr marL="573088" lvl="1" indent="-285750" algn="just">
              <a:spcAft>
                <a:spcPts val="900"/>
              </a:spcAft>
              <a:buFont typeface="Arial" panose="020B0604020202020204" pitchFamily="34" charset="0"/>
              <a:buChar char="•"/>
            </a:pPr>
            <a:r>
              <a:rPr lang="en-US" sz="1800" dirty="0">
                <a:latin typeface="Calibri" panose="020F0502020204030204" pitchFamily="34" charset="0"/>
              </a:rPr>
              <a:t>or by an LMO-based re-filler and transported to health facilities to be connected to manifold systems (groups of cylinders linked in parallel) </a:t>
            </a:r>
          </a:p>
          <a:p>
            <a:pPr marL="285750" indent="-285750" algn="just">
              <a:spcAft>
                <a:spcPts val="900"/>
              </a:spcAft>
              <a:buFont typeface="Arial" panose="020B0604020202020204" pitchFamily="34" charset="0"/>
              <a:buChar char="•"/>
            </a:pPr>
            <a:r>
              <a:rPr lang="en-US" sz="1800" dirty="0">
                <a:solidFill>
                  <a:schemeClr val="tx1"/>
                </a:solidFill>
                <a:latin typeface="Calibri" panose="020F0502020204030204" pitchFamily="34" charset="0"/>
              </a:rPr>
              <a:t>These are piped to areas of the health facility; or cylinders can be used directly within patient areas. </a:t>
            </a:r>
          </a:p>
          <a:p>
            <a:pPr marL="285750" indent="-285750" algn="just">
              <a:lnSpc>
                <a:spcPct val="90000"/>
              </a:lnSpc>
              <a:spcAft>
                <a:spcPts val="900"/>
              </a:spcAft>
              <a:buFont typeface="Arial" panose="020B0604020202020204" pitchFamily="34" charset="0"/>
              <a:buChar char="•"/>
            </a:pPr>
            <a:r>
              <a:rPr lang="en-US" sz="1800" dirty="0">
                <a:latin typeface="Calibri" panose="020F0502020204030204" pitchFamily="34" charset="0"/>
              </a:rPr>
              <a:t>Cylinders do not require electricity, but they do require several accessories and fittings to deliver oxygen, such as pressure gauges, regulators, flowmeters, and, in some cases, humidifiers.</a:t>
            </a:r>
          </a:p>
          <a:p>
            <a:pPr marL="285750" indent="-285750" algn="just">
              <a:lnSpc>
                <a:spcPct val="90000"/>
              </a:lnSpc>
              <a:spcAft>
                <a:spcPts val="900"/>
              </a:spcAft>
              <a:buFont typeface="Arial" panose="020B0604020202020204" pitchFamily="34" charset="0"/>
              <a:buChar char="•"/>
            </a:pPr>
            <a:r>
              <a:rPr lang="en-US" sz="1800" dirty="0">
                <a:latin typeface="Calibri" panose="020F0502020204030204" pitchFamily="34" charset="0"/>
              </a:rPr>
              <a:t>Cylinders also require periodic maintenance, commonly provided by gas suppliers at the point of refilling. </a:t>
            </a:r>
          </a:p>
        </p:txBody>
      </p:sp>
      <p:pic>
        <p:nvPicPr>
          <p:cNvPr id="5" name="Picture 4">
            <a:extLst>
              <a:ext uri="{FF2B5EF4-FFF2-40B4-BE49-F238E27FC236}">
                <a16:creationId xmlns:a16="http://schemas.microsoft.com/office/drawing/2014/main" id="{187F9123-E87D-4FDF-B14E-E170FB0E34F7}"/>
              </a:ext>
            </a:extLst>
          </p:cNvPr>
          <p:cNvPicPr>
            <a:picLocks noChangeAspect="1"/>
          </p:cNvPicPr>
          <p:nvPr/>
        </p:nvPicPr>
        <p:blipFill>
          <a:blip r:embed="rId2"/>
          <a:stretch>
            <a:fillRect/>
          </a:stretch>
        </p:blipFill>
        <p:spPr>
          <a:xfrm>
            <a:off x="6682967" y="2895600"/>
            <a:ext cx="2308634" cy="2590800"/>
          </a:xfrm>
          <a:prstGeom prst="rect">
            <a:avLst/>
          </a:prstGeom>
        </p:spPr>
      </p:pic>
    </p:spTree>
    <p:extLst>
      <p:ext uri="{BB962C8B-B14F-4D97-AF65-F5344CB8AC3E}">
        <p14:creationId xmlns:p14="http://schemas.microsoft.com/office/powerpoint/2010/main" val="3261198376"/>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29"/>
        <p:cNvGrpSpPr/>
        <p:nvPr/>
      </p:nvGrpSpPr>
      <p:grpSpPr>
        <a:xfrm>
          <a:off x="0" y="0"/>
          <a:ext cx="0" cy="0"/>
          <a:chOff x="0" y="0"/>
          <a:chExt cx="0" cy="0"/>
        </a:xfrm>
      </p:grpSpPr>
      <p:sp>
        <p:nvSpPr>
          <p:cNvPr id="530" name="Google Shape;530;p2"/>
          <p:cNvSpPr txBox="1"/>
          <p:nvPr/>
        </p:nvSpPr>
        <p:spPr>
          <a:xfrm>
            <a:off x="869668" y="659123"/>
            <a:ext cx="7512332" cy="1020297"/>
          </a:xfrm>
          <a:prstGeom prst="rect">
            <a:avLst/>
          </a:prstGeom>
          <a:noFill/>
          <a:ln>
            <a:noFill/>
          </a:ln>
        </p:spPr>
        <p:txBody>
          <a:bodyPr spcFirstLastPara="1" wrap="square" lIns="0" tIns="0" rIns="0" bIns="0" anchor="b" anchorCtr="0">
            <a:noAutofit/>
          </a:bodyPr>
          <a:lstStyle/>
          <a:p>
            <a:pPr algn="ctr" eaLnBrk="1" fontAlgn="auto" hangingPunct="1">
              <a:lnSpc>
                <a:spcPct val="85000"/>
              </a:lnSpc>
              <a:spcAft>
                <a:spcPts val="0"/>
              </a:spcAft>
              <a:buClr>
                <a:schemeClr val="accent1"/>
              </a:buClr>
              <a:buSzPts val="3200"/>
              <a:defRPr/>
            </a:pPr>
            <a:r>
              <a:rPr lang="en-US" sz="3600" b="1" spc="-50" dirty="0">
                <a:solidFill>
                  <a:schemeClr val="accent2">
                    <a:lumMod val="75000"/>
                  </a:schemeClr>
                </a:solidFill>
                <a:latin typeface="+mn-lt"/>
                <a:ea typeface="+mj-ea"/>
                <a:cs typeface="+mj-cs"/>
                <a:sym typeface="Arial"/>
              </a:rPr>
              <a:t>Session Overview</a:t>
            </a:r>
          </a:p>
        </p:txBody>
      </p:sp>
      <p:sp>
        <p:nvSpPr>
          <p:cNvPr id="532" name="Google Shape;532;p2"/>
          <p:cNvSpPr txBox="1"/>
          <p:nvPr/>
        </p:nvSpPr>
        <p:spPr>
          <a:xfrm>
            <a:off x="4325657" y="2514868"/>
            <a:ext cx="3312675" cy="20160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ea typeface="Arial"/>
                <a:cs typeface="Arial"/>
                <a:sym typeface="Arial"/>
              </a:rPr>
              <a:t>What is </a:t>
            </a:r>
            <a:r>
              <a:rPr lang="en-US" dirty="0">
                <a:solidFill>
                  <a:schemeClr val="dk2"/>
                </a:solidFill>
                <a:latin typeface="+mn-lt"/>
              </a:rPr>
              <a:t>Medical Oxygen</a:t>
            </a:r>
            <a:r>
              <a:rPr lang="en-US" dirty="0">
                <a:solidFill>
                  <a:schemeClr val="dk2"/>
                </a:solidFill>
                <a:latin typeface="+mn-lt"/>
                <a:ea typeface="Arial"/>
                <a:cs typeface="Arial"/>
                <a:sym typeface="Arial"/>
              </a:rPr>
              <a:t>?</a:t>
            </a:r>
            <a:endParaRPr dirty="0">
              <a:solidFill>
                <a:schemeClr val="dk2"/>
              </a:solidFill>
              <a:latin typeface="+mn-lt"/>
              <a:ea typeface="Arial"/>
              <a:cs typeface="Arial"/>
              <a:sym typeface="Arial"/>
            </a:endParaRPr>
          </a:p>
        </p:txBody>
      </p:sp>
      <p:sp>
        <p:nvSpPr>
          <p:cNvPr id="533" name="Google Shape;533;p2"/>
          <p:cNvSpPr txBox="1"/>
          <p:nvPr/>
        </p:nvSpPr>
        <p:spPr>
          <a:xfrm>
            <a:off x="951723" y="3775289"/>
            <a:ext cx="2594062" cy="466561"/>
          </a:xfrm>
          <a:prstGeom prst="rect">
            <a:avLst/>
          </a:prstGeom>
          <a:noFill/>
          <a:ln>
            <a:noFill/>
          </a:ln>
        </p:spPr>
        <p:txBody>
          <a:bodyPr spcFirstLastPara="1" wrap="square" lIns="0" tIns="0" rIns="0" bIns="0" anchor="t" anchorCtr="0">
            <a:noAutofit/>
          </a:bodyPr>
          <a:lstStyle/>
          <a:p>
            <a:pPr algn="just">
              <a:lnSpc>
                <a:spcPct val="110000"/>
              </a:lnSpc>
              <a:spcBef>
                <a:spcPts val="0"/>
              </a:spcBef>
              <a:spcAft>
                <a:spcPts val="0"/>
              </a:spcAft>
              <a:buClr>
                <a:schemeClr val="accent1"/>
              </a:buClr>
              <a:buSzPts val="2000"/>
            </a:pPr>
            <a:r>
              <a:rPr lang="en-US" b="1" spc="-50" dirty="0">
                <a:solidFill>
                  <a:schemeClr val="accent2"/>
                </a:solidFill>
                <a:latin typeface="+mn-lt"/>
                <a:ea typeface="+mj-ea"/>
                <a:cs typeface="+mj-cs"/>
                <a:sym typeface="Arial"/>
              </a:rPr>
              <a:t>KEY TOPICS THAT WILL BE COVERED IN THIS SESSION</a:t>
            </a:r>
            <a:endParaRPr b="1" spc="-50" dirty="0">
              <a:solidFill>
                <a:schemeClr val="accent2"/>
              </a:solidFill>
              <a:latin typeface="+mn-lt"/>
              <a:ea typeface="+mj-ea"/>
              <a:cs typeface="+mj-cs"/>
              <a:sym typeface="Arial"/>
            </a:endParaRPr>
          </a:p>
        </p:txBody>
      </p:sp>
      <p:cxnSp>
        <p:nvCxnSpPr>
          <p:cNvPr id="534" name="Google Shape;534;p2"/>
          <p:cNvCxnSpPr>
            <a:cxnSpLocks/>
          </p:cNvCxnSpPr>
          <p:nvPr/>
        </p:nvCxnSpPr>
        <p:spPr>
          <a:xfrm>
            <a:off x="3545786" y="2444218"/>
            <a:ext cx="0" cy="2948940"/>
          </a:xfrm>
          <a:prstGeom prst="straightConnector1">
            <a:avLst/>
          </a:prstGeom>
          <a:noFill/>
          <a:ln w="9525" cap="flat" cmpd="sng">
            <a:solidFill>
              <a:srgbClr val="D7D9E1"/>
            </a:solidFill>
            <a:prstDash val="solid"/>
            <a:round/>
            <a:headEnd type="none" w="sm" len="sm"/>
            <a:tailEnd type="none" w="sm" len="sm"/>
          </a:ln>
        </p:spPr>
      </p:cxnSp>
      <p:sp>
        <p:nvSpPr>
          <p:cNvPr id="535" name="Google Shape;535;p2"/>
          <p:cNvSpPr txBox="1"/>
          <p:nvPr/>
        </p:nvSpPr>
        <p:spPr>
          <a:xfrm>
            <a:off x="3808610" y="2479295"/>
            <a:ext cx="255599" cy="342900"/>
          </a:xfrm>
          <a:prstGeom prst="rect">
            <a:avLst/>
          </a:prstGeom>
          <a:noFill/>
          <a:ln>
            <a:noFill/>
          </a:ln>
        </p:spPr>
        <p:txBody>
          <a:bodyPr spcFirstLastPara="1" wrap="square" lIns="0" tIns="0" rIns="0" bIns="0" anchor="t" anchorCtr="0">
            <a:normAutofit fontScale="92500"/>
          </a:bodyPr>
          <a:lstStyle/>
          <a:p>
            <a:pPr>
              <a:lnSpc>
                <a:spcPct val="110000"/>
              </a:lnSpc>
              <a:spcBef>
                <a:spcPts val="0"/>
              </a:spcBef>
              <a:spcAft>
                <a:spcPts val="0"/>
              </a:spcAft>
              <a:buClr>
                <a:schemeClr val="accent1"/>
              </a:buClr>
              <a:buSzPts val="2800"/>
            </a:pPr>
            <a:r>
              <a:rPr lang="en-US" sz="2100" b="1" dirty="0">
                <a:solidFill>
                  <a:srgbClr val="2683C6"/>
                </a:solidFill>
                <a:latin typeface="+mn-lt"/>
                <a:ea typeface="Arial Narrow"/>
                <a:cs typeface="Arial Narrow"/>
                <a:sym typeface="Arial Narrow"/>
              </a:rPr>
              <a:t>01</a:t>
            </a:r>
            <a:endParaRPr sz="1500" b="1" dirty="0">
              <a:solidFill>
                <a:srgbClr val="2683C6"/>
              </a:solidFill>
              <a:latin typeface="+mn-lt"/>
              <a:ea typeface="Arial Narrow"/>
              <a:cs typeface="Arial Narrow"/>
              <a:sym typeface="Arial Narrow"/>
            </a:endParaRPr>
          </a:p>
        </p:txBody>
      </p:sp>
      <p:sp>
        <p:nvSpPr>
          <p:cNvPr id="536" name="Google Shape;536;p2"/>
          <p:cNvSpPr txBox="1"/>
          <p:nvPr/>
        </p:nvSpPr>
        <p:spPr>
          <a:xfrm>
            <a:off x="3806117" y="3514696"/>
            <a:ext cx="342450" cy="342900"/>
          </a:xfrm>
          <a:prstGeom prst="rect">
            <a:avLst/>
          </a:prstGeom>
          <a:noFill/>
          <a:ln>
            <a:noFill/>
          </a:ln>
        </p:spPr>
        <p:txBody>
          <a:bodyPr spcFirstLastPara="1" wrap="square" lIns="0" tIns="0" rIns="0" bIns="0" anchor="t" anchorCtr="0">
            <a:normAutofit lnSpcReduction="10000"/>
          </a:bodyPr>
          <a:lstStyle/>
          <a:p>
            <a:pPr>
              <a:lnSpc>
                <a:spcPct val="110000"/>
              </a:lnSpc>
              <a:spcBef>
                <a:spcPts val="0"/>
              </a:spcBef>
              <a:spcAft>
                <a:spcPts val="0"/>
              </a:spcAft>
              <a:buClr>
                <a:schemeClr val="accent1"/>
              </a:buClr>
              <a:buSzPts val="2800"/>
            </a:pPr>
            <a:r>
              <a:rPr lang="en-US" sz="2100" dirty="0">
                <a:solidFill>
                  <a:srgbClr val="2683C6"/>
                </a:solidFill>
                <a:latin typeface="+mn-lt"/>
                <a:ea typeface="Arial Narrow"/>
                <a:cs typeface="Arial Narrow"/>
                <a:sym typeface="Arial Narrow"/>
              </a:rPr>
              <a:t>03</a:t>
            </a:r>
            <a:endParaRPr sz="1500" dirty="0">
              <a:solidFill>
                <a:srgbClr val="2683C6"/>
              </a:solidFill>
              <a:latin typeface="+mn-lt"/>
              <a:ea typeface="Arial Narrow"/>
              <a:cs typeface="Arial Narrow"/>
              <a:sym typeface="Arial Narrow"/>
            </a:endParaRPr>
          </a:p>
        </p:txBody>
      </p:sp>
      <p:sp>
        <p:nvSpPr>
          <p:cNvPr id="539" name="Google Shape;539;p2"/>
          <p:cNvSpPr txBox="1"/>
          <p:nvPr/>
        </p:nvSpPr>
        <p:spPr>
          <a:xfrm>
            <a:off x="4325657" y="3036076"/>
            <a:ext cx="3312675" cy="20160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rPr>
              <a:t>What is Oxygen Therapy</a:t>
            </a:r>
            <a:r>
              <a:rPr lang="en-US" dirty="0">
                <a:solidFill>
                  <a:schemeClr val="dk2"/>
                </a:solidFill>
                <a:latin typeface="+mn-lt"/>
                <a:sym typeface="Arial"/>
              </a:rPr>
              <a:t>?</a:t>
            </a:r>
            <a:endParaRPr dirty="0">
              <a:solidFill>
                <a:schemeClr val="dk2"/>
              </a:solidFill>
              <a:latin typeface="+mn-lt"/>
              <a:sym typeface="Arial"/>
            </a:endParaRPr>
          </a:p>
        </p:txBody>
      </p:sp>
      <p:sp>
        <p:nvSpPr>
          <p:cNvPr id="540" name="Google Shape;540;p2"/>
          <p:cNvSpPr txBox="1"/>
          <p:nvPr/>
        </p:nvSpPr>
        <p:spPr>
          <a:xfrm>
            <a:off x="4325657" y="3556214"/>
            <a:ext cx="3575700" cy="20160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rPr>
              <a:t>Indications for Oxygen Therapy</a:t>
            </a:r>
            <a:endParaRPr dirty="0">
              <a:solidFill>
                <a:srgbClr val="000000"/>
              </a:solidFill>
              <a:latin typeface="+mn-lt"/>
              <a:ea typeface="Arial"/>
              <a:cs typeface="Arial"/>
              <a:sym typeface="Arial"/>
            </a:endParaRPr>
          </a:p>
        </p:txBody>
      </p:sp>
      <p:sp>
        <p:nvSpPr>
          <p:cNvPr id="541" name="Google Shape;541;p2"/>
          <p:cNvSpPr txBox="1"/>
          <p:nvPr/>
        </p:nvSpPr>
        <p:spPr>
          <a:xfrm>
            <a:off x="4325667" y="4078492"/>
            <a:ext cx="3656025" cy="201600"/>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ea typeface="Arial"/>
                <a:cs typeface="Arial"/>
                <a:sym typeface="Arial"/>
              </a:rPr>
              <a:t>Oxygen </a:t>
            </a:r>
            <a:r>
              <a:rPr lang="en-US" dirty="0">
                <a:solidFill>
                  <a:schemeClr val="dk2"/>
                </a:solidFill>
                <a:latin typeface="+mn-lt"/>
              </a:rPr>
              <a:t>therapy devices</a:t>
            </a:r>
            <a:endParaRPr dirty="0">
              <a:solidFill>
                <a:srgbClr val="000000"/>
              </a:solidFill>
              <a:latin typeface="+mn-lt"/>
              <a:ea typeface="Arial"/>
              <a:cs typeface="Arial"/>
              <a:sym typeface="Arial"/>
            </a:endParaRPr>
          </a:p>
        </p:txBody>
      </p:sp>
      <p:sp>
        <p:nvSpPr>
          <p:cNvPr id="542" name="Google Shape;542;p2"/>
          <p:cNvSpPr txBox="1">
            <a:spLocks noGrp="1"/>
          </p:cNvSpPr>
          <p:nvPr>
            <p:ph type="sldNum" idx="12"/>
          </p:nvPr>
        </p:nvSpPr>
        <p:spPr>
          <a:xfrm>
            <a:off x="657116" y="6091091"/>
            <a:ext cx="135862" cy="123444"/>
          </a:xfrm>
          <a:prstGeom prst="rect">
            <a:avLst/>
          </a:prstGeom>
          <a:noFill/>
          <a:ln>
            <a:noFill/>
          </a:ln>
        </p:spPr>
        <p:txBody>
          <a:bodyPr spcFirstLastPara="1" vert="horz" wrap="square" lIns="0" tIns="0" rIns="0" bIns="0" numCol="1" anchor="ctr" anchorCtr="0" compatLnSpc="1">
            <a:prstTxWarp prst="textNoShape">
              <a:avLst/>
            </a:prstTxWarp>
            <a:noAutofit/>
          </a:bodyPr>
          <a:lstStyle/>
          <a:p>
            <a:fld id="{00000000-1234-1234-1234-123412341234}" type="slidenum">
              <a:rPr lang="en-US">
                <a:latin typeface="+mn-lt"/>
              </a:rPr>
              <a:pPr/>
              <a:t>6</a:t>
            </a:fld>
            <a:endParaRPr>
              <a:latin typeface="+mn-lt"/>
            </a:endParaRPr>
          </a:p>
        </p:txBody>
      </p:sp>
      <p:sp>
        <p:nvSpPr>
          <p:cNvPr id="543" name="Google Shape;543;p2"/>
          <p:cNvSpPr txBox="1"/>
          <p:nvPr/>
        </p:nvSpPr>
        <p:spPr>
          <a:xfrm>
            <a:off x="3806117" y="5050258"/>
            <a:ext cx="342450" cy="342900"/>
          </a:xfrm>
          <a:prstGeom prst="rect">
            <a:avLst/>
          </a:prstGeom>
          <a:noFill/>
          <a:ln>
            <a:noFill/>
          </a:ln>
        </p:spPr>
        <p:txBody>
          <a:bodyPr spcFirstLastPara="1" wrap="square" lIns="0" tIns="0" rIns="0" bIns="0" anchor="t" anchorCtr="0">
            <a:normAutofit lnSpcReduction="10000"/>
          </a:bodyPr>
          <a:lstStyle/>
          <a:p>
            <a:pPr>
              <a:lnSpc>
                <a:spcPct val="110000"/>
              </a:lnSpc>
              <a:spcBef>
                <a:spcPts val="0"/>
              </a:spcBef>
              <a:spcAft>
                <a:spcPts val="0"/>
              </a:spcAft>
              <a:buClr>
                <a:schemeClr val="accent1"/>
              </a:buClr>
              <a:buSzPts val="2800"/>
            </a:pPr>
            <a:r>
              <a:rPr lang="en-US" sz="2100" dirty="0">
                <a:solidFill>
                  <a:srgbClr val="2683C6"/>
                </a:solidFill>
                <a:latin typeface="+mn-lt"/>
                <a:ea typeface="Arial Narrow"/>
                <a:cs typeface="Arial Narrow"/>
                <a:sym typeface="Arial Narrow"/>
              </a:rPr>
              <a:t>06</a:t>
            </a:r>
            <a:endParaRPr sz="1500" dirty="0">
              <a:solidFill>
                <a:srgbClr val="2683C6"/>
              </a:solidFill>
              <a:latin typeface="+mn-lt"/>
              <a:ea typeface="Arial Narrow"/>
              <a:cs typeface="Arial Narrow"/>
              <a:sym typeface="Arial Narrow"/>
            </a:endParaRPr>
          </a:p>
        </p:txBody>
      </p:sp>
      <p:sp>
        <p:nvSpPr>
          <p:cNvPr id="546" name="Google Shape;546;p2"/>
          <p:cNvSpPr txBox="1"/>
          <p:nvPr/>
        </p:nvSpPr>
        <p:spPr>
          <a:xfrm>
            <a:off x="4325646" y="4559048"/>
            <a:ext cx="4065749" cy="266448"/>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rPr>
              <a:t>Oxygen usage and judicious use of oxygen</a:t>
            </a:r>
            <a:endParaRPr dirty="0">
              <a:solidFill>
                <a:srgbClr val="000000"/>
              </a:solidFill>
              <a:latin typeface="+mn-lt"/>
              <a:ea typeface="Arial"/>
              <a:cs typeface="Arial"/>
              <a:sym typeface="Arial"/>
            </a:endParaRPr>
          </a:p>
        </p:txBody>
      </p:sp>
      <p:sp>
        <p:nvSpPr>
          <p:cNvPr id="21" name="Google Shape;535;p2">
            <a:extLst>
              <a:ext uri="{FF2B5EF4-FFF2-40B4-BE49-F238E27FC236}">
                <a16:creationId xmlns:a16="http://schemas.microsoft.com/office/drawing/2014/main" id="{526CE2A1-5BF0-4B99-B9BF-0721F3CE9D3B}"/>
              </a:ext>
            </a:extLst>
          </p:cNvPr>
          <p:cNvSpPr txBox="1"/>
          <p:nvPr/>
        </p:nvSpPr>
        <p:spPr>
          <a:xfrm>
            <a:off x="3805562" y="2979457"/>
            <a:ext cx="342450" cy="342900"/>
          </a:xfrm>
          <a:prstGeom prst="rect">
            <a:avLst/>
          </a:prstGeom>
          <a:noFill/>
          <a:ln>
            <a:noFill/>
          </a:ln>
        </p:spPr>
        <p:txBody>
          <a:bodyPr spcFirstLastPara="1" wrap="square" lIns="0" tIns="0" rIns="0" bIns="0" anchor="t" anchorCtr="0">
            <a:normAutofit lnSpcReduction="10000"/>
          </a:bodyPr>
          <a:lstStyle/>
          <a:p>
            <a:pPr>
              <a:lnSpc>
                <a:spcPct val="110000"/>
              </a:lnSpc>
              <a:spcBef>
                <a:spcPts val="0"/>
              </a:spcBef>
              <a:spcAft>
                <a:spcPts val="0"/>
              </a:spcAft>
              <a:buClr>
                <a:schemeClr val="accent1"/>
              </a:buClr>
              <a:buSzPts val="2800"/>
            </a:pPr>
            <a:r>
              <a:rPr lang="en-US" sz="2100" dirty="0">
                <a:solidFill>
                  <a:srgbClr val="2683C6"/>
                </a:solidFill>
                <a:latin typeface="+mn-lt"/>
                <a:ea typeface="Arial Narrow"/>
                <a:cs typeface="Arial Narrow"/>
                <a:sym typeface="Arial Narrow"/>
              </a:rPr>
              <a:t>02</a:t>
            </a:r>
            <a:endParaRPr sz="1500" dirty="0">
              <a:solidFill>
                <a:srgbClr val="2683C6"/>
              </a:solidFill>
              <a:latin typeface="+mn-lt"/>
              <a:ea typeface="Arial Narrow"/>
              <a:cs typeface="Arial Narrow"/>
              <a:sym typeface="Arial Narrow"/>
            </a:endParaRPr>
          </a:p>
        </p:txBody>
      </p:sp>
      <p:sp>
        <p:nvSpPr>
          <p:cNvPr id="23" name="Google Shape;537;p2">
            <a:extLst>
              <a:ext uri="{FF2B5EF4-FFF2-40B4-BE49-F238E27FC236}">
                <a16:creationId xmlns:a16="http://schemas.microsoft.com/office/drawing/2014/main" id="{04AF50F2-D5D3-48D6-B173-938A31D19EC1}"/>
              </a:ext>
            </a:extLst>
          </p:cNvPr>
          <p:cNvSpPr txBox="1"/>
          <p:nvPr/>
        </p:nvSpPr>
        <p:spPr>
          <a:xfrm>
            <a:off x="3799725" y="4004215"/>
            <a:ext cx="339047" cy="354458"/>
          </a:xfrm>
          <a:prstGeom prst="rect">
            <a:avLst/>
          </a:prstGeom>
          <a:noFill/>
          <a:ln>
            <a:noFill/>
          </a:ln>
        </p:spPr>
        <p:txBody>
          <a:bodyPr spcFirstLastPara="1" wrap="square" lIns="0" tIns="0" rIns="0" bIns="0" anchor="t" anchorCtr="0">
            <a:normAutofit fontScale="92500" lnSpcReduction="10000"/>
          </a:bodyPr>
          <a:lstStyle/>
          <a:p>
            <a:pPr>
              <a:lnSpc>
                <a:spcPct val="110000"/>
              </a:lnSpc>
              <a:spcBef>
                <a:spcPts val="0"/>
              </a:spcBef>
              <a:spcAft>
                <a:spcPts val="0"/>
              </a:spcAft>
              <a:buClr>
                <a:schemeClr val="accent1"/>
              </a:buClr>
              <a:buSzPts val="2800"/>
            </a:pPr>
            <a:r>
              <a:rPr lang="en-US" sz="2400" dirty="0">
                <a:solidFill>
                  <a:srgbClr val="2683C6"/>
                </a:solidFill>
                <a:latin typeface="+mn-lt"/>
                <a:ea typeface="Arial Narrow"/>
                <a:cs typeface="Arial Narrow"/>
                <a:sym typeface="Arial Narrow"/>
              </a:rPr>
              <a:t>04</a:t>
            </a:r>
            <a:endParaRPr dirty="0">
              <a:solidFill>
                <a:srgbClr val="2683C6"/>
              </a:solidFill>
              <a:latin typeface="+mn-lt"/>
              <a:ea typeface="Arial Narrow"/>
              <a:cs typeface="Arial Narrow"/>
              <a:sym typeface="Arial Narrow"/>
            </a:endParaRPr>
          </a:p>
        </p:txBody>
      </p:sp>
      <p:sp>
        <p:nvSpPr>
          <p:cNvPr id="24" name="Google Shape;538;p2">
            <a:extLst>
              <a:ext uri="{FF2B5EF4-FFF2-40B4-BE49-F238E27FC236}">
                <a16:creationId xmlns:a16="http://schemas.microsoft.com/office/drawing/2014/main" id="{189A973E-B648-48E2-BCDB-C1FEE025B47C}"/>
              </a:ext>
            </a:extLst>
          </p:cNvPr>
          <p:cNvSpPr txBox="1"/>
          <p:nvPr/>
        </p:nvSpPr>
        <p:spPr>
          <a:xfrm>
            <a:off x="3805562" y="4515020"/>
            <a:ext cx="342450" cy="342900"/>
          </a:xfrm>
          <a:prstGeom prst="rect">
            <a:avLst/>
          </a:prstGeom>
          <a:noFill/>
          <a:ln>
            <a:noFill/>
          </a:ln>
        </p:spPr>
        <p:txBody>
          <a:bodyPr spcFirstLastPara="1" wrap="square" lIns="0" tIns="0" rIns="0" bIns="0" anchor="t" anchorCtr="0">
            <a:normAutofit lnSpcReduction="10000"/>
          </a:bodyPr>
          <a:lstStyle/>
          <a:p>
            <a:pPr>
              <a:lnSpc>
                <a:spcPct val="110000"/>
              </a:lnSpc>
              <a:spcBef>
                <a:spcPts val="0"/>
              </a:spcBef>
              <a:spcAft>
                <a:spcPts val="0"/>
              </a:spcAft>
              <a:buClr>
                <a:schemeClr val="accent1"/>
              </a:buClr>
              <a:buSzPts val="2800"/>
            </a:pPr>
            <a:r>
              <a:rPr lang="en-US" sz="2100" dirty="0">
                <a:solidFill>
                  <a:srgbClr val="2683C6"/>
                </a:solidFill>
                <a:latin typeface="+mn-lt"/>
                <a:ea typeface="Arial Narrow"/>
                <a:cs typeface="Arial Narrow"/>
                <a:sym typeface="Arial Narrow"/>
              </a:rPr>
              <a:t>05</a:t>
            </a:r>
            <a:endParaRPr sz="1500" dirty="0">
              <a:solidFill>
                <a:srgbClr val="2683C6"/>
              </a:solidFill>
              <a:latin typeface="+mn-lt"/>
              <a:ea typeface="Arial Narrow"/>
              <a:cs typeface="Arial Narrow"/>
              <a:sym typeface="Arial Narrow"/>
            </a:endParaRPr>
          </a:p>
        </p:txBody>
      </p:sp>
      <p:sp>
        <p:nvSpPr>
          <p:cNvPr id="25" name="Google Shape;546;p2">
            <a:extLst>
              <a:ext uri="{FF2B5EF4-FFF2-40B4-BE49-F238E27FC236}">
                <a16:creationId xmlns:a16="http://schemas.microsoft.com/office/drawing/2014/main" id="{0F734A50-E171-409F-BF9A-5FB1FD1C3963}"/>
              </a:ext>
            </a:extLst>
          </p:cNvPr>
          <p:cNvSpPr txBox="1"/>
          <p:nvPr/>
        </p:nvSpPr>
        <p:spPr>
          <a:xfrm>
            <a:off x="4325656" y="5104452"/>
            <a:ext cx="4065739" cy="266448"/>
          </a:xfrm>
          <a:prstGeom prst="rect">
            <a:avLst/>
          </a:prstGeom>
          <a:noFill/>
          <a:ln>
            <a:noFill/>
          </a:ln>
        </p:spPr>
        <p:txBody>
          <a:bodyPr spcFirstLastPara="1" wrap="square" lIns="0" tIns="0" rIns="0" bIns="0" anchor="ctr" anchorCtr="0">
            <a:noAutofit/>
          </a:bodyPr>
          <a:lstStyle/>
          <a:p>
            <a:pPr>
              <a:spcBef>
                <a:spcPts val="0"/>
              </a:spcBef>
              <a:spcAft>
                <a:spcPts val="0"/>
              </a:spcAft>
              <a:buClr>
                <a:schemeClr val="dk2"/>
              </a:buClr>
              <a:buSzPts val="1800"/>
            </a:pPr>
            <a:r>
              <a:rPr lang="en-US" dirty="0">
                <a:solidFill>
                  <a:schemeClr val="dk2"/>
                </a:solidFill>
                <a:latin typeface="+mn-lt"/>
              </a:rPr>
              <a:t>Oxygen usage and rational use of oxygen</a:t>
            </a:r>
            <a:endParaRPr dirty="0">
              <a:solidFill>
                <a:srgbClr val="000000"/>
              </a:solidFill>
              <a:latin typeface="+mn-lt"/>
              <a:ea typeface="Arial"/>
              <a:cs typeface="Arial"/>
              <a:sym typeface="Arial"/>
            </a:endParaRPr>
          </a:p>
        </p:txBody>
      </p:sp>
      <p:sp>
        <p:nvSpPr>
          <p:cNvPr id="27" name="Google Shape;536;p2">
            <a:extLst>
              <a:ext uri="{FF2B5EF4-FFF2-40B4-BE49-F238E27FC236}">
                <a16:creationId xmlns:a16="http://schemas.microsoft.com/office/drawing/2014/main" id="{7EE7424C-0445-434E-9CF5-4C8309CEC668}"/>
              </a:ext>
            </a:extLst>
          </p:cNvPr>
          <p:cNvSpPr txBox="1"/>
          <p:nvPr/>
        </p:nvSpPr>
        <p:spPr>
          <a:xfrm>
            <a:off x="3806116" y="3514696"/>
            <a:ext cx="342450" cy="342900"/>
          </a:xfrm>
          <a:prstGeom prst="rect">
            <a:avLst/>
          </a:prstGeom>
          <a:noFill/>
          <a:ln>
            <a:noFill/>
          </a:ln>
        </p:spPr>
        <p:txBody>
          <a:bodyPr spcFirstLastPara="1" wrap="square" lIns="0" tIns="0" rIns="0" bIns="0" anchor="t" anchorCtr="0">
            <a:normAutofit lnSpcReduction="10000"/>
          </a:bodyPr>
          <a:lstStyle/>
          <a:p>
            <a:pPr>
              <a:lnSpc>
                <a:spcPct val="110000"/>
              </a:lnSpc>
              <a:spcBef>
                <a:spcPts val="0"/>
              </a:spcBef>
              <a:spcAft>
                <a:spcPts val="0"/>
              </a:spcAft>
              <a:buClr>
                <a:schemeClr val="accent1"/>
              </a:buClr>
              <a:buSzPts val="2800"/>
            </a:pPr>
            <a:r>
              <a:rPr lang="en-US" sz="2100" dirty="0">
                <a:solidFill>
                  <a:srgbClr val="2683C6"/>
                </a:solidFill>
                <a:latin typeface="+mn-lt"/>
                <a:ea typeface="Arial Narrow"/>
                <a:cs typeface="Arial Narrow"/>
                <a:sym typeface="Arial Narrow"/>
              </a:rPr>
              <a:t>03</a:t>
            </a:r>
            <a:endParaRPr sz="1500" dirty="0">
              <a:solidFill>
                <a:srgbClr val="2683C6"/>
              </a:solidFill>
              <a:latin typeface="+mn-lt"/>
              <a:ea typeface="Arial Narrow"/>
              <a:cs typeface="Arial Narrow"/>
              <a:sym typeface="Arial Narrow"/>
            </a:endParaRPr>
          </a:p>
        </p:txBody>
      </p:sp>
      <p:sp>
        <p:nvSpPr>
          <p:cNvPr id="28" name="Google Shape;535;p2">
            <a:extLst>
              <a:ext uri="{FF2B5EF4-FFF2-40B4-BE49-F238E27FC236}">
                <a16:creationId xmlns:a16="http://schemas.microsoft.com/office/drawing/2014/main" id="{EAA55A77-F2C3-4597-9696-259C0999A39D}"/>
              </a:ext>
            </a:extLst>
          </p:cNvPr>
          <p:cNvSpPr txBox="1"/>
          <p:nvPr/>
        </p:nvSpPr>
        <p:spPr>
          <a:xfrm>
            <a:off x="3805561" y="2979457"/>
            <a:ext cx="342450" cy="342900"/>
          </a:xfrm>
          <a:prstGeom prst="rect">
            <a:avLst/>
          </a:prstGeom>
          <a:noFill/>
          <a:ln>
            <a:noFill/>
          </a:ln>
        </p:spPr>
        <p:txBody>
          <a:bodyPr spcFirstLastPara="1" wrap="square" lIns="0" tIns="0" rIns="0" bIns="0" anchor="t" anchorCtr="0">
            <a:normAutofit lnSpcReduction="10000"/>
          </a:bodyPr>
          <a:lstStyle/>
          <a:p>
            <a:pPr>
              <a:lnSpc>
                <a:spcPct val="110000"/>
              </a:lnSpc>
              <a:spcBef>
                <a:spcPts val="0"/>
              </a:spcBef>
              <a:spcAft>
                <a:spcPts val="0"/>
              </a:spcAft>
              <a:buClr>
                <a:schemeClr val="accent1"/>
              </a:buClr>
              <a:buSzPts val="2800"/>
            </a:pPr>
            <a:r>
              <a:rPr lang="en-US" sz="2100" dirty="0">
                <a:solidFill>
                  <a:srgbClr val="2683C6"/>
                </a:solidFill>
                <a:latin typeface="+mn-lt"/>
                <a:ea typeface="Arial Narrow"/>
                <a:cs typeface="Arial Narrow"/>
                <a:sym typeface="Arial Narrow"/>
              </a:rPr>
              <a:t>02</a:t>
            </a:r>
            <a:endParaRPr sz="1500" dirty="0">
              <a:solidFill>
                <a:srgbClr val="2683C6"/>
              </a:solidFill>
              <a:latin typeface="+mn-lt"/>
              <a:ea typeface="Arial Narrow"/>
              <a:cs typeface="Arial Narrow"/>
              <a:sym typeface="Arial Narrow"/>
            </a:endParaRPr>
          </a:p>
        </p:txBody>
      </p:sp>
      <p:sp>
        <p:nvSpPr>
          <p:cNvPr id="29" name="Google Shape;537;p2">
            <a:extLst>
              <a:ext uri="{FF2B5EF4-FFF2-40B4-BE49-F238E27FC236}">
                <a16:creationId xmlns:a16="http://schemas.microsoft.com/office/drawing/2014/main" id="{1EDBE54C-2066-4E35-A8B8-F097B9DCA523}"/>
              </a:ext>
            </a:extLst>
          </p:cNvPr>
          <p:cNvSpPr txBox="1"/>
          <p:nvPr/>
        </p:nvSpPr>
        <p:spPr>
          <a:xfrm>
            <a:off x="3799724" y="4004215"/>
            <a:ext cx="339047" cy="354458"/>
          </a:xfrm>
          <a:prstGeom prst="rect">
            <a:avLst/>
          </a:prstGeom>
          <a:noFill/>
          <a:ln>
            <a:noFill/>
          </a:ln>
        </p:spPr>
        <p:txBody>
          <a:bodyPr spcFirstLastPara="1" wrap="square" lIns="0" tIns="0" rIns="0" bIns="0" anchor="t" anchorCtr="0">
            <a:normAutofit fontScale="92500" lnSpcReduction="10000"/>
          </a:bodyPr>
          <a:lstStyle/>
          <a:p>
            <a:pPr>
              <a:lnSpc>
                <a:spcPct val="110000"/>
              </a:lnSpc>
              <a:spcBef>
                <a:spcPts val="0"/>
              </a:spcBef>
              <a:spcAft>
                <a:spcPts val="0"/>
              </a:spcAft>
              <a:buClr>
                <a:schemeClr val="accent1"/>
              </a:buClr>
              <a:buSzPts val="2800"/>
            </a:pPr>
            <a:r>
              <a:rPr lang="en-US" sz="2400" dirty="0">
                <a:solidFill>
                  <a:srgbClr val="2683C6"/>
                </a:solidFill>
                <a:latin typeface="+mn-lt"/>
                <a:ea typeface="Arial Narrow"/>
                <a:cs typeface="Arial Narrow"/>
                <a:sym typeface="Arial Narrow"/>
              </a:rPr>
              <a:t>04</a:t>
            </a:r>
            <a:endParaRPr dirty="0">
              <a:solidFill>
                <a:srgbClr val="2683C6"/>
              </a:solidFill>
              <a:latin typeface="+mn-lt"/>
              <a:ea typeface="Arial Narrow"/>
              <a:cs typeface="Arial Narrow"/>
              <a:sym typeface="Arial Narrow"/>
            </a:endParaRPr>
          </a:p>
        </p:txBody>
      </p:sp>
      <p:sp>
        <p:nvSpPr>
          <p:cNvPr id="30" name="Google Shape;538;p2">
            <a:extLst>
              <a:ext uri="{FF2B5EF4-FFF2-40B4-BE49-F238E27FC236}">
                <a16:creationId xmlns:a16="http://schemas.microsoft.com/office/drawing/2014/main" id="{A563FD60-BB87-491E-8674-B8EB9669126C}"/>
              </a:ext>
            </a:extLst>
          </p:cNvPr>
          <p:cNvSpPr txBox="1"/>
          <p:nvPr/>
        </p:nvSpPr>
        <p:spPr>
          <a:xfrm>
            <a:off x="3805561" y="4515020"/>
            <a:ext cx="342450" cy="342900"/>
          </a:xfrm>
          <a:prstGeom prst="rect">
            <a:avLst/>
          </a:prstGeom>
          <a:noFill/>
          <a:ln>
            <a:noFill/>
          </a:ln>
        </p:spPr>
        <p:txBody>
          <a:bodyPr spcFirstLastPara="1" wrap="square" lIns="0" tIns="0" rIns="0" bIns="0" anchor="t" anchorCtr="0">
            <a:normAutofit lnSpcReduction="10000"/>
          </a:bodyPr>
          <a:lstStyle/>
          <a:p>
            <a:pPr>
              <a:lnSpc>
                <a:spcPct val="110000"/>
              </a:lnSpc>
              <a:spcBef>
                <a:spcPts val="0"/>
              </a:spcBef>
              <a:spcAft>
                <a:spcPts val="0"/>
              </a:spcAft>
              <a:buClr>
                <a:schemeClr val="accent1"/>
              </a:buClr>
              <a:buSzPts val="2800"/>
            </a:pPr>
            <a:r>
              <a:rPr lang="en-US" sz="2100" dirty="0">
                <a:solidFill>
                  <a:srgbClr val="2683C6"/>
                </a:solidFill>
                <a:latin typeface="+mn-lt"/>
                <a:ea typeface="Arial Narrow"/>
                <a:cs typeface="Arial Narrow"/>
                <a:sym typeface="Arial Narrow"/>
              </a:rPr>
              <a:t>05</a:t>
            </a:r>
            <a:endParaRPr sz="1500" dirty="0">
              <a:solidFill>
                <a:srgbClr val="2683C6"/>
              </a:solidFill>
              <a:latin typeface="+mn-lt"/>
              <a:ea typeface="Arial Narrow"/>
              <a:cs typeface="Arial Narrow"/>
              <a:sym typeface="Arial Narrow"/>
            </a:endParaRPr>
          </a:p>
        </p:txBody>
      </p:sp>
    </p:spTree>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40 Litre Oxygen Cylinder, Rs 14000 /piece Rama Electric &amp;amp; Machinery Stores  | ID: 23399685012">
            <a:extLst>
              <a:ext uri="{FF2B5EF4-FFF2-40B4-BE49-F238E27FC236}">
                <a16:creationId xmlns:a16="http://schemas.microsoft.com/office/drawing/2014/main" id="{30B541B2-8440-4B45-B6ED-B255161F4D62}"/>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0" y="2020128"/>
            <a:ext cx="9144000" cy="3980622"/>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8F7CE998-D787-A045-A909-C458402F949C}"/>
              </a:ext>
            </a:extLst>
          </p:cNvPr>
          <p:cNvSpPr>
            <a:spLocks noGrp="1"/>
          </p:cNvSpPr>
          <p:nvPr>
            <p:ph type="body" sz="quarter" idx="14"/>
          </p:nvPr>
        </p:nvSpPr>
        <p:spPr>
          <a:xfrm>
            <a:off x="914400" y="643849"/>
            <a:ext cx="7467600" cy="1095876"/>
          </a:xfrm>
        </p:spPr>
        <p:txBody>
          <a:bodyPr anchor="b"/>
          <a:lstStyle/>
          <a:p>
            <a:pPr algn="ctr"/>
            <a:r>
              <a:rPr lang="en-IN" sz="3600" b="1" spc="-50" dirty="0">
                <a:solidFill>
                  <a:schemeClr val="accent2">
                    <a:lumMod val="75000"/>
                  </a:schemeClr>
                </a:solidFill>
                <a:latin typeface="Calibri" panose="020F0502020204030204" pitchFamily="34" charset="0"/>
                <a:ea typeface="+mj-ea"/>
                <a:cs typeface="+mj-cs"/>
              </a:rPr>
              <a:t>Oxygen Cylinder – Pros and Cons</a:t>
            </a:r>
          </a:p>
        </p:txBody>
      </p:sp>
      <p:graphicFrame>
        <p:nvGraphicFramePr>
          <p:cNvPr id="5" name="Diagram 4">
            <a:extLst>
              <a:ext uri="{FF2B5EF4-FFF2-40B4-BE49-F238E27FC236}">
                <a16:creationId xmlns:a16="http://schemas.microsoft.com/office/drawing/2014/main" id="{586A4C0C-F721-2D42-B5DB-B1E3E0ACEA54}"/>
              </a:ext>
            </a:extLst>
          </p:cNvPr>
          <p:cNvGraphicFramePr/>
          <p:nvPr/>
        </p:nvGraphicFramePr>
        <p:xfrm>
          <a:off x="1219200" y="2438400"/>
          <a:ext cx="6858000" cy="3657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21177510"/>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F3DB6C-9F36-AF4F-B09A-A0575AE06A43}"/>
              </a:ext>
            </a:extLst>
          </p:cNvPr>
          <p:cNvPicPr>
            <a:picLocks noChangeAspect="1"/>
          </p:cNvPicPr>
          <p:nvPr/>
        </p:nvPicPr>
        <p:blipFill>
          <a:blip r:embed="rId2"/>
          <a:stretch>
            <a:fillRect/>
          </a:stretch>
        </p:blipFill>
        <p:spPr>
          <a:xfrm>
            <a:off x="1185457" y="2181001"/>
            <a:ext cx="2526598" cy="2695590"/>
          </a:xfrm>
          <a:prstGeom prst="rect">
            <a:avLst/>
          </a:prstGeom>
        </p:spPr>
      </p:pic>
      <p:sp>
        <p:nvSpPr>
          <p:cNvPr id="3" name="Text Placeholder 2">
            <a:extLst>
              <a:ext uri="{FF2B5EF4-FFF2-40B4-BE49-F238E27FC236}">
                <a16:creationId xmlns:a16="http://schemas.microsoft.com/office/drawing/2014/main" id="{9DB7E4B4-CD81-034D-93C1-97CC69E3B7E1}"/>
              </a:ext>
            </a:extLst>
          </p:cNvPr>
          <p:cNvSpPr>
            <a:spLocks noGrp="1"/>
          </p:cNvSpPr>
          <p:nvPr>
            <p:ph type="body" sz="quarter" idx="14"/>
          </p:nvPr>
        </p:nvSpPr>
        <p:spPr>
          <a:xfrm>
            <a:off x="838200" y="585674"/>
            <a:ext cx="7543800" cy="1095876"/>
          </a:xfrm>
        </p:spPr>
        <p:txBody>
          <a:bodyPr anchor="b"/>
          <a:lstStyle/>
          <a:p>
            <a:pPr algn="ctr"/>
            <a:r>
              <a:rPr lang="en-IN" sz="3600" b="1" spc="-50" dirty="0">
                <a:solidFill>
                  <a:schemeClr val="accent2">
                    <a:lumMod val="75000"/>
                  </a:schemeClr>
                </a:solidFill>
                <a:latin typeface="Calibri" panose="020F0502020204030204" pitchFamily="34" charset="0"/>
                <a:ea typeface="+mj-ea"/>
                <a:cs typeface="+mj-cs"/>
              </a:rPr>
              <a:t>Oxygen Cylinders Types </a:t>
            </a:r>
          </a:p>
        </p:txBody>
      </p:sp>
      <p:pic>
        <p:nvPicPr>
          <p:cNvPr id="5" name="Picture 4">
            <a:extLst>
              <a:ext uri="{FF2B5EF4-FFF2-40B4-BE49-F238E27FC236}">
                <a16:creationId xmlns:a16="http://schemas.microsoft.com/office/drawing/2014/main" id="{3DFC1298-B5F2-FF4C-8726-78DC98D52728}"/>
              </a:ext>
            </a:extLst>
          </p:cNvPr>
          <p:cNvPicPr>
            <a:picLocks noChangeAspect="1"/>
          </p:cNvPicPr>
          <p:nvPr/>
        </p:nvPicPr>
        <p:blipFill>
          <a:blip r:embed="rId3"/>
          <a:stretch>
            <a:fillRect/>
          </a:stretch>
        </p:blipFill>
        <p:spPr>
          <a:xfrm>
            <a:off x="6153650" y="1988925"/>
            <a:ext cx="1540465" cy="2983127"/>
          </a:xfrm>
          <a:prstGeom prst="rect">
            <a:avLst/>
          </a:prstGeom>
        </p:spPr>
      </p:pic>
      <p:sp>
        <p:nvSpPr>
          <p:cNvPr id="8" name="Rectangle 7">
            <a:extLst>
              <a:ext uri="{FF2B5EF4-FFF2-40B4-BE49-F238E27FC236}">
                <a16:creationId xmlns:a16="http://schemas.microsoft.com/office/drawing/2014/main" id="{5C0CE026-7C6C-214C-BFAC-D58CF8D063C2}"/>
              </a:ext>
            </a:extLst>
          </p:cNvPr>
          <p:cNvSpPr/>
          <p:nvPr/>
        </p:nvSpPr>
        <p:spPr>
          <a:xfrm>
            <a:off x="838200" y="5016502"/>
            <a:ext cx="3047995" cy="707886"/>
          </a:xfrm>
          <a:prstGeom prst="rect">
            <a:avLst/>
          </a:prstGeom>
        </p:spPr>
        <p:txBody>
          <a:bodyPr wrap="square">
            <a:spAutoFit/>
          </a:bodyPr>
          <a:lstStyle/>
          <a:p>
            <a:pPr algn="ctr"/>
            <a:r>
              <a:rPr lang="en-IN" sz="2000" dirty="0">
                <a:solidFill>
                  <a:schemeClr val="accent2"/>
                </a:solidFill>
                <a:latin typeface="Calibri" panose="020F0502020204030204" pitchFamily="34" charset="0"/>
              </a:rPr>
              <a:t>Cylinders type</a:t>
            </a:r>
          </a:p>
          <a:p>
            <a:pPr algn="ctr"/>
            <a:r>
              <a:rPr lang="en-IN" sz="2000" dirty="0">
                <a:solidFill>
                  <a:schemeClr val="accent2"/>
                </a:solidFill>
                <a:latin typeface="Calibri" panose="020F0502020204030204" pitchFamily="34" charset="0"/>
              </a:rPr>
              <a:t>(Gaseous Medical Oxygen)</a:t>
            </a:r>
          </a:p>
        </p:txBody>
      </p:sp>
      <p:sp>
        <p:nvSpPr>
          <p:cNvPr id="2" name="TextBox 1">
            <a:extLst>
              <a:ext uri="{FF2B5EF4-FFF2-40B4-BE49-F238E27FC236}">
                <a16:creationId xmlns:a16="http://schemas.microsoft.com/office/drawing/2014/main" id="{2104AD38-59F7-BB4D-AD59-2E1942CF06A0}"/>
              </a:ext>
            </a:extLst>
          </p:cNvPr>
          <p:cNvSpPr txBox="1"/>
          <p:nvPr/>
        </p:nvSpPr>
        <p:spPr>
          <a:xfrm>
            <a:off x="5384800" y="5016502"/>
            <a:ext cx="3275234" cy="546098"/>
          </a:xfrm>
          <a:prstGeom prst="rect">
            <a:avLst/>
          </a:prstGeom>
          <a:noFill/>
        </p:spPr>
        <p:txBody>
          <a:bodyPr wrap="square" lIns="0" tIns="0" rIns="0" bIns="0" rtlCol="0">
            <a:noAutofit/>
          </a:bodyPr>
          <a:lstStyle/>
          <a:p>
            <a:pPr algn="ctr"/>
            <a:r>
              <a:rPr lang="en-IN" sz="2000" dirty="0">
                <a:solidFill>
                  <a:schemeClr val="accent2"/>
                </a:solidFill>
                <a:latin typeface="Calibri" panose="020F0502020204030204" pitchFamily="34" charset="0"/>
              </a:rPr>
              <a:t>Dura Cylinder</a:t>
            </a:r>
          </a:p>
          <a:p>
            <a:pPr algn="ctr"/>
            <a:r>
              <a:rPr lang="en-IN" sz="2000" dirty="0">
                <a:solidFill>
                  <a:schemeClr val="accent2"/>
                </a:solidFill>
                <a:latin typeface="Calibri" panose="020F0502020204030204" pitchFamily="34" charset="0"/>
              </a:rPr>
              <a:t>(Liquid Medical Oxygen</a:t>
            </a:r>
          </a:p>
          <a:p>
            <a:pPr algn="ctr"/>
            <a:endParaRPr lang="en-US" sz="2000" dirty="0" err="1">
              <a:solidFill>
                <a:srgbClr val="FF0000"/>
              </a:solidFill>
              <a:latin typeface="Calibri" panose="020F0502020204030204" pitchFamily="34" charset="0"/>
            </a:endParaRPr>
          </a:p>
        </p:txBody>
      </p:sp>
      <p:cxnSp>
        <p:nvCxnSpPr>
          <p:cNvPr id="11" name="Straight Connector 10">
            <a:extLst>
              <a:ext uri="{FF2B5EF4-FFF2-40B4-BE49-F238E27FC236}">
                <a16:creationId xmlns:a16="http://schemas.microsoft.com/office/drawing/2014/main" id="{B227EE52-4DD7-BF43-BCB2-F11B4DB1F194}"/>
              </a:ext>
            </a:extLst>
          </p:cNvPr>
          <p:cNvCxnSpPr/>
          <p:nvPr/>
        </p:nvCxnSpPr>
        <p:spPr>
          <a:xfrm>
            <a:off x="4800600" y="2414495"/>
            <a:ext cx="0" cy="260200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2467790"/>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C45FB02-B765-EC47-BFE9-9825EAA005E1}"/>
              </a:ext>
            </a:extLst>
          </p:cNvPr>
          <p:cNvSpPr/>
          <p:nvPr/>
        </p:nvSpPr>
        <p:spPr>
          <a:xfrm>
            <a:off x="4737541" y="2284969"/>
            <a:ext cx="4182447" cy="326535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94D8D44-76E8-874D-9547-93490567A467}"/>
              </a:ext>
            </a:extLst>
          </p:cNvPr>
          <p:cNvSpPr/>
          <p:nvPr/>
        </p:nvSpPr>
        <p:spPr>
          <a:xfrm>
            <a:off x="224012" y="2268187"/>
            <a:ext cx="4413678" cy="3282132"/>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5667AD08-5EE6-CC4D-9AA5-322404DAFB59}"/>
              </a:ext>
            </a:extLst>
          </p:cNvPr>
          <p:cNvSpPr>
            <a:spLocks noGrp="1"/>
          </p:cNvSpPr>
          <p:nvPr>
            <p:ph type="body" sz="quarter" idx="13"/>
          </p:nvPr>
        </p:nvSpPr>
        <p:spPr>
          <a:xfrm>
            <a:off x="469031" y="2438889"/>
            <a:ext cx="4023491" cy="2943225"/>
          </a:xfrm>
        </p:spPr>
        <p:txBody>
          <a:bodyPr>
            <a:normAutofit lnSpcReduction="10000"/>
          </a:bodyPr>
          <a:lstStyle/>
          <a:p>
            <a:pPr>
              <a:spcAft>
                <a:spcPts val="0"/>
              </a:spcAft>
            </a:pPr>
            <a:r>
              <a:rPr lang="en-IN" b="1" dirty="0">
                <a:solidFill>
                  <a:schemeClr val="bg1"/>
                </a:solidFill>
                <a:latin typeface="Calibri" panose="020F0502020204030204" pitchFamily="34" charset="0"/>
              </a:rPr>
              <a:t>B-Type Small Medical Oxygen Cylinder (1.5 CU.M.)</a:t>
            </a:r>
          </a:p>
          <a:p>
            <a:pPr marL="214313" indent="-214313">
              <a:spcAft>
                <a:spcPts val="0"/>
              </a:spcAft>
              <a:buFont typeface="Arial" panose="020B0604020202020204" pitchFamily="34" charset="0"/>
              <a:buChar char="•"/>
            </a:pPr>
            <a:r>
              <a:rPr lang="en-IN" dirty="0">
                <a:solidFill>
                  <a:schemeClr val="bg1"/>
                </a:solidFill>
                <a:latin typeface="Calibri" panose="020F0502020204030204" pitchFamily="34" charset="0"/>
              </a:rPr>
              <a:t>B-type high pressure seamless cylinder for medical oxygen gas, cylinder is ISI marked conforming to IS:7285 part 2, certified by the Bureau of Indian Standards (BIS) and approved by the chief controller of explosive (CCOE) Government of India.</a:t>
            </a:r>
          </a:p>
          <a:p>
            <a:pPr marL="214313" indent="-214313">
              <a:spcAft>
                <a:spcPts val="0"/>
              </a:spcAft>
              <a:buFont typeface="Arial" panose="020B0604020202020204" pitchFamily="34" charset="0"/>
              <a:buChar char="•"/>
            </a:pPr>
            <a:r>
              <a:rPr lang="en-IN" dirty="0">
                <a:solidFill>
                  <a:schemeClr val="bg1"/>
                </a:solidFill>
                <a:latin typeface="Calibri" panose="020F0502020204030204" pitchFamily="34" charset="0"/>
              </a:rPr>
              <a:t>Cylinder made from manganese steel.</a:t>
            </a:r>
          </a:p>
          <a:p>
            <a:pPr marL="214313" indent="-214313">
              <a:spcAft>
                <a:spcPts val="0"/>
              </a:spcAft>
              <a:buFont typeface="Arial" panose="020B0604020202020204" pitchFamily="34" charset="0"/>
              <a:buChar char="•"/>
            </a:pPr>
            <a:r>
              <a:rPr lang="en-IN" dirty="0">
                <a:solidFill>
                  <a:schemeClr val="bg1"/>
                </a:solidFill>
                <a:latin typeface="Calibri" panose="020F0502020204030204" pitchFamily="34" charset="0"/>
              </a:rPr>
              <a:t>10.2 </a:t>
            </a:r>
            <a:r>
              <a:rPr lang="en-IN" dirty="0" err="1">
                <a:solidFill>
                  <a:schemeClr val="bg1"/>
                </a:solidFill>
                <a:latin typeface="Calibri" panose="020F0502020204030204" pitchFamily="34" charset="0"/>
              </a:rPr>
              <a:t>ltr</a:t>
            </a:r>
            <a:r>
              <a:rPr lang="en-IN" dirty="0">
                <a:solidFill>
                  <a:schemeClr val="bg1"/>
                </a:solidFill>
                <a:latin typeface="Calibri" panose="020F0502020204030204" pitchFamily="34" charset="0"/>
              </a:rPr>
              <a:t>. Water capacity (40 </a:t>
            </a:r>
            <a:r>
              <a:rPr lang="en-IN" dirty="0" err="1">
                <a:solidFill>
                  <a:schemeClr val="bg1"/>
                </a:solidFill>
                <a:latin typeface="Calibri" panose="020F0502020204030204" pitchFamily="34" charset="0"/>
              </a:rPr>
              <a:t>cu.ft</a:t>
            </a:r>
            <a:r>
              <a:rPr lang="en-IN" dirty="0">
                <a:solidFill>
                  <a:schemeClr val="bg1"/>
                </a:solidFill>
                <a:latin typeface="Calibri" panose="020F0502020204030204" pitchFamily="34" charset="0"/>
              </a:rPr>
              <a:t>.).</a:t>
            </a:r>
          </a:p>
          <a:p>
            <a:pPr marL="214313" indent="-214313">
              <a:spcAft>
                <a:spcPts val="0"/>
              </a:spcAft>
              <a:buFont typeface="Arial" panose="020B0604020202020204" pitchFamily="34" charset="0"/>
              <a:buChar char="•"/>
            </a:pPr>
            <a:r>
              <a:rPr lang="en-IN" dirty="0">
                <a:solidFill>
                  <a:schemeClr val="bg1"/>
                </a:solidFill>
                <a:latin typeface="Calibri" panose="020F0502020204030204" pitchFamily="34" charset="0"/>
              </a:rPr>
              <a:t>Valve made of brass and chrome plated.</a:t>
            </a:r>
          </a:p>
          <a:p>
            <a:pPr marL="214313" indent="-214313">
              <a:spcAft>
                <a:spcPts val="0"/>
              </a:spcAft>
              <a:buFont typeface="Arial" panose="020B0604020202020204" pitchFamily="34" charset="0"/>
              <a:buChar char="•"/>
            </a:pPr>
            <a:r>
              <a:rPr lang="en-IN" dirty="0">
                <a:solidFill>
                  <a:schemeClr val="bg1"/>
                </a:solidFill>
                <a:latin typeface="Calibri" panose="020F0502020204030204" pitchFamily="34" charset="0"/>
              </a:rPr>
              <a:t>Working pressure 150 kg. F/cm at 15 deg. C.</a:t>
            </a:r>
          </a:p>
          <a:p>
            <a:pPr marL="214313" indent="-214313">
              <a:spcAft>
                <a:spcPts val="0"/>
              </a:spcAft>
              <a:buFont typeface="Arial" panose="020B0604020202020204" pitchFamily="34" charset="0"/>
              <a:buChar char="•"/>
            </a:pPr>
            <a:r>
              <a:rPr lang="en-IN" dirty="0">
                <a:solidFill>
                  <a:schemeClr val="bg1"/>
                </a:solidFill>
                <a:latin typeface="Calibri" panose="020F0502020204030204" pitchFamily="34" charset="0"/>
              </a:rPr>
              <a:t>Hydraulic test pressure 250 kg. F/cm .</a:t>
            </a:r>
          </a:p>
          <a:p>
            <a:pPr marL="214313" indent="-214313">
              <a:spcAft>
                <a:spcPts val="0"/>
              </a:spcAft>
              <a:buFont typeface="Arial" panose="020B0604020202020204" pitchFamily="34" charset="0"/>
              <a:buChar char="•"/>
            </a:pPr>
            <a:r>
              <a:rPr lang="en-IN" dirty="0">
                <a:solidFill>
                  <a:schemeClr val="bg1"/>
                </a:solidFill>
                <a:latin typeface="Calibri" panose="020F0502020204030204" pitchFamily="34" charset="0"/>
              </a:rPr>
              <a:t>Colour code of the cylinder should be as per IS: 3933-1966 with updating till date.</a:t>
            </a:r>
          </a:p>
          <a:p>
            <a:pPr marL="214313" indent="-214313">
              <a:spcAft>
                <a:spcPts val="0"/>
              </a:spcAft>
              <a:buFont typeface="Arial" panose="020B0604020202020204" pitchFamily="34" charset="0"/>
              <a:buChar char="•"/>
            </a:pPr>
            <a:r>
              <a:rPr lang="en-IN" dirty="0">
                <a:solidFill>
                  <a:schemeClr val="bg1"/>
                </a:solidFill>
                <a:latin typeface="Calibri" panose="020F0502020204030204" pitchFamily="34" charset="0"/>
              </a:rPr>
              <a:t>Filled with medical oxygen gas of medical grade.</a:t>
            </a:r>
          </a:p>
          <a:p>
            <a:pPr marL="214313" indent="-214313">
              <a:spcAft>
                <a:spcPts val="0"/>
              </a:spcAft>
              <a:buFont typeface="Arial" panose="020B0604020202020204" pitchFamily="34" charset="0"/>
              <a:buChar char="•"/>
            </a:pPr>
            <a:r>
              <a:rPr lang="en-IN" dirty="0">
                <a:solidFill>
                  <a:schemeClr val="bg1"/>
                </a:solidFill>
                <a:latin typeface="Calibri" panose="020F0502020204030204" pitchFamily="34" charset="0"/>
              </a:rPr>
              <a:t>Matching key cum spanner to release oxygen for each cylinder separately.</a:t>
            </a:r>
          </a:p>
          <a:p>
            <a:pPr marL="214313" indent="-214313">
              <a:spcAft>
                <a:spcPts val="0"/>
              </a:spcAft>
              <a:buFont typeface="Arial" panose="020B0604020202020204" pitchFamily="34" charset="0"/>
              <a:buChar char="•"/>
            </a:pPr>
            <a:r>
              <a:rPr lang="en-IN" dirty="0">
                <a:solidFill>
                  <a:schemeClr val="bg1"/>
                </a:solidFill>
                <a:latin typeface="Calibri" panose="020F0502020204030204" pitchFamily="34" charset="0"/>
              </a:rPr>
              <a:t>Minimum two years guarantee for cylinder.</a:t>
            </a:r>
          </a:p>
          <a:p>
            <a:pPr>
              <a:spcAft>
                <a:spcPts val="0"/>
              </a:spcAft>
            </a:pPr>
            <a:endParaRPr lang="en-US" sz="1050" dirty="0">
              <a:solidFill>
                <a:schemeClr val="bg1"/>
              </a:solidFill>
              <a:latin typeface="Calibri" panose="020F0502020204030204" pitchFamily="34" charset="0"/>
            </a:endParaRPr>
          </a:p>
        </p:txBody>
      </p:sp>
      <p:sp>
        <p:nvSpPr>
          <p:cNvPr id="3" name="Text Placeholder 2">
            <a:extLst>
              <a:ext uri="{FF2B5EF4-FFF2-40B4-BE49-F238E27FC236}">
                <a16:creationId xmlns:a16="http://schemas.microsoft.com/office/drawing/2014/main" id="{837C9F34-2CEE-1841-93C4-D1D0B0DC4125}"/>
              </a:ext>
            </a:extLst>
          </p:cNvPr>
          <p:cNvSpPr>
            <a:spLocks noGrp="1"/>
          </p:cNvSpPr>
          <p:nvPr>
            <p:ph type="body" sz="quarter" idx="14"/>
          </p:nvPr>
        </p:nvSpPr>
        <p:spPr>
          <a:xfrm>
            <a:off x="903890" y="622778"/>
            <a:ext cx="7467600" cy="1095876"/>
          </a:xfrm>
        </p:spPr>
        <p:txBody>
          <a:bodyPr anchor="b"/>
          <a:lstStyle/>
          <a:p>
            <a:pPr algn="ctr"/>
            <a:r>
              <a:rPr lang="en-US" sz="3600" b="1" spc="-50" dirty="0">
                <a:solidFill>
                  <a:schemeClr val="accent2">
                    <a:lumMod val="75000"/>
                  </a:schemeClr>
                </a:solidFill>
                <a:latin typeface="Calibri" panose="020F0502020204030204" pitchFamily="34" charset="0"/>
                <a:ea typeface="+mj-ea"/>
                <a:cs typeface="+mj-cs"/>
              </a:rPr>
              <a:t>Oxygen Cylinder Type B &amp; D</a:t>
            </a:r>
          </a:p>
        </p:txBody>
      </p:sp>
      <p:sp>
        <p:nvSpPr>
          <p:cNvPr id="4" name="Rectangle 3">
            <a:extLst>
              <a:ext uri="{FF2B5EF4-FFF2-40B4-BE49-F238E27FC236}">
                <a16:creationId xmlns:a16="http://schemas.microsoft.com/office/drawing/2014/main" id="{CA24B858-29C3-AB45-BC17-04FEEC7A7D37}"/>
              </a:ext>
            </a:extLst>
          </p:cNvPr>
          <p:cNvSpPr/>
          <p:nvPr/>
        </p:nvSpPr>
        <p:spPr>
          <a:xfrm>
            <a:off x="4882709" y="2528754"/>
            <a:ext cx="3792260" cy="2677656"/>
          </a:xfrm>
          <a:prstGeom prst="rect">
            <a:avLst/>
          </a:prstGeom>
        </p:spPr>
        <p:txBody>
          <a:bodyPr wrap="square">
            <a:spAutoFit/>
          </a:bodyPr>
          <a:lstStyle/>
          <a:p>
            <a:pPr>
              <a:spcAft>
                <a:spcPts val="0"/>
              </a:spcAft>
            </a:pPr>
            <a:r>
              <a:rPr lang="en-IN" sz="1400" b="1" dirty="0">
                <a:solidFill>
                  <a:schemeClr val="bg1"/>
                </a:solidFill>
                <a:latin typeface="Calibri" panose="020F0502020204030204" pitchFamily="34" charset="0"/>
              </a:rPr>
              <a:t>D-Type Jumbo Medical Oxygen cylinder (7 CU.F.M.)</a:t>
            </a:r>
          </a:p>
          <a:p>
            <a:pPr marL="214313" indent="-214313">
              <a:spcAft>
                <a:spcPts val="0"/>
              </a:spcAft>
              <a:buFont typeface="Arial" panose="020B0604020202020204" pitchFamily="34" charset="0"/>
              <a:buChar char="•"/>
            </a:pPr>
            <a:r>
              <a:rPr lang="en-IN" sz="1400" dirty="0">
                <a:solidFill>
                  <a:schemeClr val="bg1"/>
                </a:solidFill>
                <a:latin typeface="Calibri" panose="020F0502020204030204" pitchFamily="34" charset="0"/>
              </a:rPr>
              <a:t>Cylinder made from manganese steel.</a:t>
            </a:r>
          </a:p>
          <a:p>
            <a:pPr marL="214313" indent="-214313">
              <a:spcAft>
                <a:spcPts val="0"/>
              </a:spcAft>
              <a:buFont typeface="Arial" panose="020B0604020202020204" pitchFamily="34" charset="0"/>
              <a:buChar char="•"/>
            </a:pPr>
            <a:r>
              <a:rPr lang="en-IN" sz="1400" dirty="0">
                <a:solidFill>
                  <a:schemeClr val="bg1"/>
                </a:solidFill>
                <a:latin typeface="Calibri" panose="020F0502020204030204" pitchFamily="34" charset="0"/>
              </a:rPr>
              <a:t>46.7 </a:t>
            </a:r>
            <a:r>
              <a:rPr lang="en-IN" sz="1400" dirty="0" err="1">
                <a:solidFill>
                  <a:schemeClr val="bg1"/>
                </a:solidFill>
                <a:latin typeface="Calibri" panose="020F0502020204030204" pitchFamily="34" charset="0"/>
              </a:rPr>
              <a:t>Ltr</a:t>
            </a:r>
            <a:r>
              <a:rPr lang="en-IN" sz="1400" dirty="0">
                <a:solidFill>
                  <a:schemeClr val="bg1"/>
                </a:solidFill>
                <a:latin typeface="Calibri" panose="020F0502020204030204" pitchFamily="34" charset="0"/>
              </a:rPr>
              <a:t>. water capacity (220 CU.FT.).</a:t>
            </a:r>
          </a:p>
          <a:p>
            <a:pPr marL="214313" indent="-214313">
              <a:spcAft>
                <a:spcPts val="0"/>
              </a:spcAft>
              <a:buFont typeface="Arial" panose="020B0604020202020204" pitchFamily="34" charset="0"/>
              <a:buChar char="•"/>
            </a:pPr>
            <a:r>
              <a:rPr lang="en-IN" sz="1400" dirty="0">
                <a:solidFill>
                  <a:schemeClr val="bg1"/>
                </a:solidFill>
                <a:latin typeface="Calibri" panose="020F0502020204030204" pitchFamily="34" charset="0"/>
              </a:rPr>
              <a:t>Valve made of brass and chrome plated.</a:t>
            </a:r>
          </a:p>
          <a:p>
            <a:pPr marL="214313" indent="-214313">
              <a:spcAft>
                <a:spcPts val="0"/>
              </a:spcAft>
              <a:buFont typeface="Arial" panose="020B0604020202020204" pitchFamily="34" charset="0"/>
              <a:buChar char="•"/>
            </a:pPr>
            <a:r>
              <a:rPr lang="en-IN" sz="1400" dirty="0">
                <a:solidFill>
                  <a:schemeClr val="bg1"/>
                </a:solidFill>
                <a:latin typeface="Calibri" panose="020F0502020204030204" pitchFamily="34" charset="0"/>
              </a:rPr>
              <a:t>Working pressure 150 Kg. f/cm at 15 deg. C.</a:t>
            </a:r>
          </a:p>
          <a:p>
            <a:pPr marL="214313" indent="-214313">
              <a:spcAft>
                <a:spcPts val="0"/>
              </a:spcAft>
              <a:buFont typeface="Arial" panose="020B0604020202020204" pitchFamily="34" charset="0"/>
              <a:buChar char="•"/>
            </a:pPr>
            <a:r>
              <a:rPr lang="en-IN" sz="1400" dirty="0">
                <a:solidFill>
                  <a:schemeClr val="bg1"/>
                </a:solidFill>
                <a:latin typeface="Calibri" panose="020F0502020204030204" pitchFamily="34" charset="0"/>
              </a:rPr>
              <a:t>Hydraulic test pressure 250 Kg. f/cm .</a:t>
            </a:r>
          </a:p>
          <a:p>
            <a:pPr marL="214313" indent="-214313">
              <a:spcAft>
                <a:spcPts val="0"/>
              </a:spcAft>
              <a:buFont typeface="Arial" panose="020B0604020202020204" pitchFamily="34" charset="0"/>
              <a:buChar char="•"/>
            </a:pPr>
            <a:r>
              <a:rPr lang="en-IN" sz="1400" dirty="0">
                <a:solidFill>
                  <a:schemeClr val="bg1"/>
                </a:solidFill>
                <a:latin typeface="Calibri" panose="020F0502020204030204" pitchFamily="34" charset="0"/>
              </a:rPr>
              <a:t>Filled with medical oxygen gas of medical grade.</a:t>
            </a:r>
          </a:p>
          <a:p>
            <a:pPr marL="214313" indent="-214313">
              <a:spcAft>
                <a:spcPts val="0"/>
              </a:spcAft>
              <a:buFont typeface="Arial" panose="020B0604020202020204" pitchFamily="34" charset="0"/>
              <a:buChar char="•"/>
            </a:pPr>
            <a:r>
              <a:rPr lang="en-IN" sz="1400" dirty="0">
                <a:solidFill>
                  <a:schemeClr val="bg1"/>
                </a:solidFill>
                <a:latin typeface="Calibri" panose="020F0502020204030204" pitchFamily="34" charset="0"/>
              </a:rPr>
              <a:t>Matching key cum spanner to release oxygen for each cylinder separately.</a:t>
            </a:r>
          </a:p>
          <a:p>
            <a:pPr marL="214313" indent="-214313">
              <a:spcAft>
                <a:spcPts val="0"/>
              </a:spcAft>
              <a:buFont typeface="Arial" panose="020B0604020202020204" pitchFamily="34" charset="0"/>
              <a:buChar char="•"/>
            </a:pPr>
            <a:r>
              <a:rPr lang="en-IN" sz="1400" dirty="0">
                <a:solidFill>
                  <a:schemeClr val="bg1"/>
                </a:solidFill>
                <a:latin typeface="Calibri" panose="020F0502020204030204" pitchFamily="34" charset="0"/>
              </a:rPr>
              <a:t>Minimum two years guarantee for cylinder</a:t>
            </a:r>
            <a:r>
              <a:rPr lang="en-IN" sz="1200" dirty="0">
                <a:solidFill>
                  <a:schemeClr val="bg1"/>
                </a:solidFill>
                <a:latin typeface="Calibri" panose="020F0502020204030204" pitchFamily="34" charset="0"/>
              </a:rPr>
              <a:t>.</a:t>
            </a:r>
          </a:p>
        </p:txBody>
      </p:sp>
      <p:sp>
        <p:nvSpPr>
          <p:cNvPr id="5" name="Oval 4">
            <a:extLst>
              <a:ext uri="{FF2B5EF4-FFF2-40B4-BE49-F238E27FC236}">
                <a16:creationId xmlns:a16="http://schemas.microsoft.com/office/drawing/2014/main" id="{60FD5198-7044-4B40-952D-80B22603D07B}"/>
              </a:ext>
            </a:extLst>
          </p:cNvPr>
          <p:cNvSpPr/>
          <p:nvPr/>
        </p:nvSpPr>
        <p:spPr>
          <a:xfrm>
            <a:off x="1748272" y="1828800"/>
            <a:ext cx="621168" cy="59639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sp>
        <p:nvSpPr>
          <p:cNvPr id="6" name="Rectangle 5">
            <a:extLst>
              <a:ext uri="{FF2B5EF4-FFF2-40B4-BE49-F238E27FC236}">
                <a16:creationId xmlns:a16="http://schemas.microsoft.com/office/drawing/2014/main" id="{4DDE4E84-7608-614B-9B9C-9CAF72A3C2C3}"/>
              </a:ext>
            </a:extLst>
          </p:cNvPr>
          <p:cNvSpPr/>
          <p:nvPr/>
        </p:nvSpPr>
        <p:spPr>
          <a:xfrm>
            <a:off x="1918021" y="1905000"/>
            <a:ext cx="34289" cy="461665"/>
          </a:xfrm>
          <a:prstGeom prst="rect">
            <a:avLst/>
          </a:prstGeom>
        </p:spPr>
        <p:txBody>
          <a:bodyPr wrap="square">
            <a:spAutoFit/>
          </a:bodyPr>
          <a:lstStyle/>
          <a:p>
            <a:r>
              <a:rPr lang="en-US" sz="2400" b="1" dirty="0">
                <a:solidFill>
                  <a:schemeClr val="bg1"/>
                </a:solidFill>
              </a:rPr>
              <a:t>B</a:t>
            </a:r>
          </a:p>
        </p:txBody>
      </p:sp>
      <p:sp>
        <p:nvSpPr>
          <p:cNvPr id="7" name="Oval 6">
            <a:extLst>
              <a:ext uri="{FF2B5EF4-FFF2-40B4-BE49-F238E27FC236}">
                <a16:creationId xmlns:a16="http://schemas.microsoft.com/office/drawing/2014/main" id="{695827F0-C6E1-7A4C-A1CF-382F4F11CFAA}"/>
              </a:ext>
            </a:extLst>
          </p:cNvPr>
          <p:cNvSpPr/>
          <p:nvPr/>
        </p:nvSpPr>
        <p:spPr>
          <a:xfrm>
            <a:off x="6615604" y="1828800"/>
            <a:ext cx="621168" cy="59639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sp>
        <p:nvSpPr>
          <p:cNvPr id="8" name="Rectangle 7">
            <a:extLst>
              <a:ext uri="{FF2B5EF4-FFF2-40B4-BE49-F238E27FC236}">
                <a16:creationId xmlns:a16="http://schemas.microsoft.com/office/drawing/2014/main" id="{1120AE2D-C584-B64F-858D-C15D78C4578F}"/>
              </a:ext>
            </a:extLst>
          </p:cNvPr>
          <p:cNvSpPr/>
          <p:nvPr/>
        </p:nvSpPr>
        <p:spPr>
          <a:xfrm>
            <a:off x="6736661" y="1905000"/>
            <a:ext cx="407484" cy="461665"/>
          </a:xfrm>
          <a:prstGeom prst="rect">
            <a:avLst/>
          </a:prstGeom>
        </p:spPr>
        <p:txBody>
          <a:bodyPr wrap="none">
            <a:spAutoFit/>
          </a:bodyPr>
          <a:lstStyle/>
          <a:p>
            <a:r>
              <a:rPr lang="en-US" sz="2400" b="1" dirty="0">
                <a:solidFill>
                  <a:schemeClr val="bg1"/>
                </a:solidFill>
              </a:rPr>
              <a:t>D</a:t>
            </a:r>
          </a:p>
        </p:txBody>
      </p:sp>
    </p:spTree>
    <p:extLst>
      <p:ext uri="{BB962C8B-B14F-4D97-AF65-F5344CB8AC3E}">
        <p14:creationId xmlns:p14="http://schemas.microsoft.com/office/powerpoint/2010/main" val="849767554"/>
      </p:ext>
    </p:extLst>
  </p:cSld>
  <p:clrMapOvr>
    <a:masterClrMapping/>
  </p:clrMapOvr>
  <p:transition spd="med">
    <p:fade/>
  </p:transition>
</p:sld>
</file>

<file path=ppt/slides/slide63.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BD9C4D-DC05-D342-98DA-8013E1617EE8}"/>
              </a:ext>
            </a:extLst>
          </p:cNvPr>
          <p:cNvSpPr>
            <a:spLocks noGrp="1"/>
          </p:cNvSpPr>
          <p:nvPr>
            <p:ph idx="13" sz="quarter" type="body"/>
          </p:nvPr>
        </p:nvSpPr>
        <p:spPr>
          <a:xfrm>
            <a:off x="762000" y="1828800"/>
            <a:ext cx="4648200" cy="4419599"/>
          </a:xfrm>
        </p:spPr>
        <p:txBody>
          <a:bodyPr>
            <a:normAutofit fontScale="85000" lnSpcReduction="10000"/>
          </a:bodyPr>
          <a:lstStyle/>
          <a:p>
            <a:pPr algn="just" indent="-214313" marL="214313">
              <a:spcAft>
                <a:spcPts val="900"/>
              </a:spcAft>
              <a:buFont charset="0" panose="020B0604020202020204" pitchFamily="34" typeface="Arial"/>
              <a:buChar char="•"/>
            </a:pPr>
            <a:r>
              <a:rPr dirty="0" lang="en-IN" sz="1600">
                <a:latin charset="0" panose="020F0502020204030204" pitchFamily="34" typeface="Calibri"/>
              </a:rPr>
              <a:t>Oxygen cylinders are of different sizes.</a:t>
            </a:r>
          </a:p>
          <a:p>
            <a:pPr algn="just" indent="-214313" marL="214313">
              <a:spcAft>
                <a:spcPts val="900"/>
              </a:spcAft>
              <a:buFont charset="0" panose="020B0604020202020204" pitchFamily="34" typeface="Arial"/>
              <a:buChar char="•"/>
            </a:pPr>
            <a:r>
              <a:rPr dirty="0" lang="en-IN" sz="1600">
                <a:latin charset="0" panose="020F0502020204030204" pitchFamily="34" typeface="Calibri"/>
              </a:rPr>
              <a:t>Cylinder sizes for medical gases are named alphabetically, unlike industrial cylinders which are numbered. </a:t>
            </a:r>
          </a:p>
          <a:p>
            <a:pPr algn="just" indent="-214313" marL="214313">
              <a:spcAft>
                <a:spcPts val="900"/>
              </a:spcAft>
              <a:buFont charset="0" panose="020B0604020202020204" pitchFamily="34" typeface="Arial"/>
              <a:buChar char="•"/>
            </a:pPr>
            <a:r>
              <a:rPr dirty="0" lang="en-IN" sz="1600">
                <a:latin charset="0" panose="020F0502020204030204" pitchFamily="34" typeface="Calibri"/>
              </a:rPr>
              <a:t>In India most commonly used cylinders are D type (Jumbo) and B type (Portable) cylinders which contains gaseous oxygen. Dura cylinders with liquid oxygen are also used in the region.</a:t>
            </a:r>
          </a:p>
          <a:p>
            <a:pPr algn="just" indent="-214313" marL="214313">
              <a:spcAft>
                <a:spcPts val="900"/>
              </a:spcAft>
              <a:buFont charset="0" panose="020B0604020202020204" pitchFamily="34" typeface="Arial"/>
              <a:buChar char="•"/>
            </a:pPr>
            <a:r>
              <a:rPr dirty="0" lang="en-IN" sz="1600">
                <a:latin charset="0" panose="020F0502020204030204" pitchFamily="34" typeface="Calibri"/>
              </a:rPr>
              <a:t>Cylinders are fitted with customized valves (either pin index or bullnose type) that are opened with valve keys, and with valve guards for safety. </a:t>
            </a:r>
          </a:p>
          <a:p>
            <a:pPr algn="just" indent="-214313" marL="214313">
              <a:spcAft>
                <a:spcPts val="900"/>
              </a:spcAft>
              <a:buFont charset="0" panose="020B0604020202020204" pitchFamily="34" typeface="Arial"/>
              <a:buChar char="•"/>
            </a:pPr>
            <a:r>
              <a:rPr dirty="0" lang="en-IN" sz="1600">
                <a:latin charset="0" panose="020F0502020204030204" pitchFamily="34" typeface="Calibri"/>
              </a:rPr>
              <a:t>The Pin Index Safety System (PISS) is designed to ensure the correct gas is connected to the regulator or other equipment. </a:t>
            </a:r>
          </a:p>
          <a:p>
            <a:pPr algn="just" indent="-214313" marL="214313">
              <a:spcAft>
                <a:spcPts val="900"/>
              </a:spcAft>
              <a:buFont charset="0" panose="020B0604020202020204" pitchFamily="34" typeface="Arial"/>
              <a:buChar char="•"/>
            </a:pPr>
            <a:r>
              <a:rPr dirty="0" lang="en-IN" sz="1600">
                <a:latin charset="0" panose="020F0502020204030204" pitchFamily="34" typeface="Calibri"/>
              </a:rPr>
              <a:t>The arrangement of the pins is unique for each gas, and the positions of the holes on the cylinder valve must correspond with the pins to prevent the use of the wrong gas. </a:t>
            </a:r>
          </a:p>
          <a:p>
            <a:pPr algn="just" indent="-214313" marL="214313">
              <a:spcAft>
                <a:spcPts val="900"/>
              </a:spcAft>
              <a:buFont charset="0" panose="020B0604020202020204" pitchFamily="34" typeface="Arial"/>
              <a:buChar char="•"/>
            </a:pPr>
            <a:r>
              <a:rPr dirty="0" lang="en-IN" sz="1600">
                <a:latin charset="0" panose="020F0502020204030204" pitchFamily="34" typeface="Calibri"/>
              </a:rPr>
              <a:t>Some cylinders have built-in, integral pressure regulators, which do not require a separate pressure regulator to be fitted to the cylinder valve before use.</a:t>
            </a:r>
          </a:p>
          <a:p>
            <a:pPr>
              <a:spcAft>
                <a:spcPts val="900"/>
              </a:spcAft>
            </a:pPr>
            <a:endParaRPr dirty="0" lang="en-US">
              <a:latin charset="0" panose="020F0502020204030204" pitchFamily="34" typeface="Calibri"/>
            </a:endParaRPr>
          </a:p>
        </p:txBody>
      </p:sp>
      <p:sp>
        <p:nvSpPr>
          <p:cNvPr id="3" name="Text Placeholder 2">
            <a:extLst>
              <a:ext uri="{FF2B5EF4-FFF2-40B4-BE49-F238E27FC236}">
                <a16:creationId xmlns:a16="http://schemas.microsoft.com/office/drawing/2014/main" id="{EC08E9C4-BB5B-9C45-94B9-2E5DA49652E7}"/>
              </a:ext>
            </a:extLst>
          </p:cNvPr>
          <p:cNvSpPr>
            <a:spLocks noGrp="1"/>
          </p:cNvSpPr>
          <p:nvPr>
            <p:ph idx="14" sz="quarter" type="body"/>
          </p:nvPr>
        </p:nvSpPr>
        <p:spPr>
          <a:xfrm>
            <a:off x="820464" y="669022"/>
            <a:ext cx="7503072" cy="1095876"/>
          </a:xfrm>
        </p:spPr>
        <p:txBody>
          <a:bodyPr anchor="b"/>
          <a:lstStyle/>
          <a:p>
            <a:pPr algn="ctr"/>
            <a:r>
              <a:rPr b="1" dirty="0" lang="en-IN" spc="-50" sz="3600">
                <a:solidFill>
                  <a:schemeClr val="accent2">
                    <a:lumMod val="75000"/>
                  </a:schemeClr>
                </a:solidFill>
                <a:latin charset="0" panose="020F0502020204030204" pitchFamily="34" typeface="Calibri"/>
                <a:ea typeface="+mj-ea"/>
                <a:cs typeface="+mj-cs"/>
              </a:rPr>
              <a:t>Cylinder Naming &amp; Sizing</a:t>
            </a:r>
          </a:p>
        </p:txBody>
      </p:sp>
      <p:pic>
        <p:nvPicPr>
          <p:cNvPr descr="Table&#10;&#10;Description automatically generated" id="5" name="Picture 4">
            <a:extLst>
              <a:ext uri="{FF2B5EF4-FFF2-40B4-BE49-F238E27FC236}">
                <a16:creationId xmlns:a16="http://schemas.microsoft.com/office/drawing/2014/main" id="{5739326F-4C92-D941-85FE-46738FC03CB9}"/>
              </a:ext>
            </a:extLst>
          </p:cNvPr>
          <p:cNvPicPr>
            <a:picLocks noChangeAspect="1"/>
          </p:cNvPicPr>
          <p:nvPr/>
        </p:nvPicPr>
        <p:blipFill rotWithShape="1">
          <a:blip r:embed="rId2">
            <a:duotone>
              <a:schemeClr val="accent2">
                <a:shade val="45000"/>
                <a:satMod val="135000"/>
              </a:schemeClr>
              <a:prstClr val="white"/>
            </a:duotone>
          </a:blip>
          <a:srcRect b="42" r="11"/>
          <a:stretch/>
        </p:blipFill>
        <p:spPr>
          <a:xfrm>
            <a:off x="5410200" y="1956605"/>
            <a:ext cx="3494076" cy="3654273"/>
          </a:xfrm>
          <a:prstGeom prst="rect">
            <a:avLst/>
          </a:prstGeom>
        </p:spPr>
      </p:pic>
    </p:spTree>
    <p:extLst>
      <p:ext uri="{BB962C8B-B14F-4D97-AF65-F5344CB8AC3E}">
        <p14:creationId xmlns:p14="http://schemas.microsoft.com/office/powerpoint/2010/main" val="2952736568"/>
      </p:ext>
    </p:extLst>
  </p:cSld>
  <p:clrMapOvr>
    <a:masterClrMapping/>
  </p:clrMapOvr>
  <p:transition spd="med">
    <p:fade/>
  </p:transition>
</p:sld>
</file>

<file path=ppt/slides/slide64.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91ADAA9-7878-0748-976B-F251ED230E58}"/>
              </a:ext>
            </a:extLst>
          </p:cNvPr>
          <p:cNvSpPr/>
          <p:nvPr/>
        </p:nvSpPr>
        <p:spPr>
          <a:xfrm>
            <a:off x="4191000" y="0"/>
            <a:ext cx="4953000" cy="6324600"/>
          </a:xfrm>
          <a:prstGeom prst="rect">
            <a:avLst/>
          </a:prstGeom>
          <a:solidFill>
            <a:schemeClr val="accent2"/>
          </a:solidFill>
          <a:ln>
            <a:noFill/>
          </a:ln>
        </p:spPr>
        <p:style>
          <a:lnRef idx="0">
            <a:scrgbClr b="0" g="0" r="0"/>
          </a:lnRef>
          <a:fillRef idx="0">
            <a:scrgbClr b="0" g="0" r="0"/>
          </a:fillRef>
          <a:effectRef idx="0">
            <a:scrgbClr b="0" g="0" r="0"/>
          </a:effectRef>
          <a:fontRef idx="minor">
            <a:schemeClr val="lt1"/>
          </a:fontRef>
        </p:style>
        <p:txBody>
          <a:bodyPr anchor="ctr" rtlCol="0"/>
          <a:lstStyle/>
          <a:p>
            <a:pPr algn="ctr"/>
            <a:endParaRPr lang="en-US"/>
          </a:p>
        </p:txBody>
      </p:sp>
      <p:sp>
        <p:nvSpPr>
          <p:cNvPr id="2" name="Text Placeholder 1">
            <a:extLst>
              <a:ext uri="{FF2B5EF4-FFF2-40B4-BE49-F238E27FC236}">
                <a16:creationId xmlns:a16="http://schemas.microsoft.com/office/drawing/2014/main" id="{077A60F4-B6F1-F646-8857-491694944B72}"/>
              </a:ext>
            </a:extLst>
          </p:cNvPr>
          <p:cNvSpPr>
            <a:spLocks noGrp="1"/>
          </p:cNvSpPr>
          <p:nvPr>
            <p:ph idx="4294967295" sz="quarter" type="body"/>
          </p:nvPr>
        </p:nvSpPr>
        <p:spPr>
          <a:xfrm>
            <a:off x="4267200" y="152400"/>
            <a:ext cx="4876800" cy="5789613"/>
          </a:xfrm>
        </p:spPr>
        <p:txBody>
          <a:bodyPr>
            <a:normAutofit fontScale="55000" lnSpcReduction="20000"/>
          </a:bodyPr>
          <a:lstStyle/>
          <a:p>
            <a:pPr indent="-257175" marL="257175">
              <a:lnSpc>
                <a:spcPct val="120000"/>
              </a:lnSpc>
              <a:spcAft>
                <a:spcPts val="450"/>
              </a:spcAft>
              <a:buClr>
                <a:schemeClr val="bg1"/>
              </a:buClr>
              <a:buFont typeface="+mj-lt"/>
              <a:buAutoNum type="alphaUcPeriod"/>
            </a:pPr>
            <a:r>
              <a:rPr dirty="0" lang="en-IN" sz="2600">
                <a:solidFill>
                  <a:schemeClr val="bg1"/>
                </a:solidFill>
                <a:latin charset="0" panose="020F0502020204030204" pitchFamily="34" typeface="Calibri"/>
              </a:rPr>
              <a:t>Diamond hazard label: displaying the primary hazard with additional hazard labels displaying any subsidiary hazards. These labels will display the dangerous goods classification number.</a:t>
            </a:r>
          </a:p>
          <a:p>
            <a:pPr indent="-257175" marL="257175">
              <a:lnSpc>
                <a:spcPct val="120000"/>
              </a:lnSpc>
              <a:spcAft>
                <a:spcPts val="450"/>
              </a:spcAft>
              <a:buClr>
                <a:schemeClr val="bg1"/>
              </a:buClr>
              <a:buFont typeface="+mj-lt"/>
              <a:buAutoNum type="alphaUcPeriod"/>
            </a:pPr>
            <a:r>
              <a:rPr dirty="0" lang="en-IN" sz="2600">
                <a:solidFill>
                  <a:schemeClr val="bg1"/>
                </a:solidFill>
                <a:latin charset="0" panose="020F0502020204030204" pitchFamily="34" typeface="Calibri"/>
              </a:rPr>
              <a:t>UN number: preceded by the letters UN. The UN number is a number assigned by the United Nations Committee of Experts on the Transport of Dangerous Goods. The UN number for compressed oxygen is UN 1072.</a:t>
            </a:r>
          </a:p>
          <a:p>
            <a:pPr indent="-257175" marL="257175">
              <a:lnSpc>
                <a:spcPct val="120000"/>
              </a:lnSpc>
              <a:spcAft>
                <a:spcPts val="450"/>
              </a:spcAft>
              <a:buClr>
                <a:schemeClr val="bg1"/>
              </a:buClr>
              <a:buFont typeface="+mj-lt"/>
              <a:buAutoNum type="alphaUcPeriod"/>
            </a:pPr>
            <a:r>
              <a:rPr dirty="0" lang="en-IN" sz="2600">
                <a:solidFill>
                  <a:schemeClr val="bg1"/>
                </a:solidFill>
                <a:latin charset="0" panose="020F0502020204030204" pitchFamily="34" typeface="Calibri"/>
              </a:rPr>
              <a:t>Proper shipping name.</a:t>
            </a:r>
          </a:p>
          <a:p>
            <a:pPr indent="-257175" marL="257175">
              <a:lnSpc>
                <a:spcPct val="120000"/>
              </a:lnSpc>
              <a:spcAft>
                <a:spcPts val="450"/>
              </a:spcAft>
              <a:buClr>
                <a:schemeClr val="bg1"/>
              </a:buClr>
              <a:buFont typeface="+mj-lt"/>
              <a:buAutoNum type="alphaUcPeriod"/>
            </a:pPr>
            <a:r>
              <a:rPr dirty="0" lang="en-IN" sz="2600">
                <a:solidFill>
                  <a:schemeClr val="bg1"/>
                </a:solidFill>
                <a:latin charset="0" panose="020F0502020204030204" pitchFamily="34" typeface="Calibri"/>
              </a:rPr>
              <a:t>Product name (may be omitted if the proper shipping name is identical).</a:t>
            </a:r>
          </a:p>
          <a:p>
            <a:pPr indent="-257175" marL="257175">
              <a:lnSpc>
                <a:spcPct val="120000"/>
              </a:lnSpc>
              <a:spcAft>
                <a:spcPts val="450"/>
              </a:spcAft>
              <a:buClr>
                <a:schemeClr val="bg1"/>
              </a:buClr>
              <a:buFont typeface="+mj-lt"/>
              <a:buAutoNum type="alphaUcPeriod"/>
            </a:pPr>
            <a:r>
              <a:rPr dirty="0" lang="en-IN" sz="2600">
                <a:solidFill>
                  <a:schemeClr val="bg1"/>
                </a:solidFill>
                <a:latin charset="0" panose="020F0502020204030204" pitchFamily="34" typeface="Calibri"/>
              </a:rPr>
              <a:t>Signal word, hazard and precautionary statements.</a:t>
            </a:r>
          </a:p>
          <a:p>
            <a:pPr indent="-257175" marL="257175">
              <a:lnSpc>
                <a:spcPct val="120000"/>
              </a:lnSpc>
              <a:spcAft>
                <a:spcPts val="450"/>
              </a:spcAft>
              <a:buClr>
                <a:schemeClr val="bg1"/>
              </a:buClr>
              <a:buFont typeface="+mj-lt"/>
              <a:buAutoNum type="alphaUcPeriod"/>
            </a:pPr>
            <a:r>
              <a:rPr dirty="0" lang="en-IN" sz="2600">
                <a:solidFill>
                  <a:schemeClr val="bg1"/>
                </a:solidFill>
                <a:latin charset="0" panose="020F0502020204030204" pitchFamily="34" typeface="Calibri"/>
              </a:rPr>
              <a:t>EC number (if applicable).</a:t>
            </a:r>
          </a:p>
          <a:p>
            <a:pPr indent="-257175" marL="257175">
              <a:lnSpc>
                <a:spcPct val="120000"/>
              </a:lnSpc>
              <a:spcAft>
                <a:spcPts val="450"/>
              </a:spcAft>
              <a:buClr>
                <a:schemeClr val="bg1"/>
              </a:buClr>
              <a:buFont typeface="+mj-lt"/>
              <a:buAutoNum type="alphaUcPeriod"/>
            </a:pPr>
            <a:r>
              <a:rPr dirty="0" lang="en-IN" sz="2600">
                <a:solidFill>
                  <a:schemeClr val="bg1"/>
                </a:solidFill>
                <a:latin charset="0" panose="020F0502020204030204" pitchFamily="34" typeface="Calibri"/>
              </a:rPr>
              <a:t>Package size and pressure.</a:t>
            </a:r>
          </a:p>
          <a:p>
            <a:pPr indent="-257175" marL="257175">
              <a:lnSpc>
                <a:spcPct val="120000"/>
              </a:lnSpc>
              <a:spcAft>
                <a:spcPts val="450"/>
              </a:spcAft>
              <a:buClr>
                <a:schemeClr val="bg1"/>
              </a:buClr>
              <a:buFont typeface="+mj-lt"/>
              <a:buAutoNum type="alphaUcPeriod"/>
            </a:pPr>
            <a:r>
              <a:rPr dirty="0" lang="en-IN" sz="2600">
                <a:solidFill>
                  <a:schemeClr val="bg1"/>
                </a:solidFill>
                <a:latin charset="0" panose="020F0502020204030204" pitchFamily="34" typeface="Calibri"/>
              </a:rPr>
              <a:t>Company name.</a:t>
            </a:r>
          </a:p>
          <a:p>
            <a:pPr indent="-257175" marL="257175">
              <a:lnSpc>
                <a:spcPct val="120000"/>
              </a:lnSpc>
              <a:spcAft>
                <a:spcPts val="450"/>
              </a:spcAft>
              <a:buClr>
                <a:schemeClr val="bg1"/>
              </a:buClr>
              <a:buFont typeface="+mj-lt"/>
              <a:buAutoNum type="alphaUcPeriod"/>
            </a:pPr>
            <a:r>
              <a:rPr dirty="0" lang="en-IN" sz="2600">
                <a:solidFill>
                  <a:schemeClr val="bg1"/>
                </a:solidFill>
                <a:latin charset="0" panose="020F0502020204030204" pitchFamily="34" typeface="Calibri"/>
              </a:rPr>
              <a:t>Address of the gas company.</a:t>
            </a:r>
          </a:p>
          <a:p>
            <a:pPr indent="-257175" marL="257175">
              <a:lnSpc>
                <a:spcPct val="120000"/>
              </a:lnSpc>
              <a:spcAft>
                <a:spcPts val="450"/>
              </a:spcAft>
              <a:buClr>
                <a:schemeClr val="bg1"/>
              </a:buClr>
              <a:buFont typeface="+mj-lt"/>
              <a:buAutoNum type="alphaUcPeriod"/>
            </a:pPr>
            <a:r>
              <a:rPr dirty="0" lang="en-IN" sz="2600">
                <a:solidFill>
                  <a:schemeClr val="bg1"/>
                </a:solidFill>
                <a:latin charset="0" panose="020F0502020204030204" pitchFamily="34" typeface="Calibri"/>
              </a:rPr>
              <a:t>Additional company information.</a:t>
            </a:r>
          </a:p>
          <a:p>
            <a:pPr indent="-257175" marL="257175">
              <a:lnSpc>
                <a:spcPct val="120000"/>
              </a:lnSpc>
              <a:spcAft>
                <a:spcPts val="450"/>
              </a:spcAft>
              <a:buClr>
                <a:schemeClr val="bg1"/>
              </a:buClr>
              <a:buFont typeface="+mj-lt"/>
              <a:buAutoNum type="alphaUcPeriod"/>
            </a:pPr>
            <a:r>
              <a:rPr dirty="0" lang="en-IN" sz="2600">
                <a:solidFill>
                  <a:schemeClr val="bg1"/>
                </a:solidFill>
                <a:latin charset="0" panose="020F0502020204030204" pitchFamily="34" typeface="Calibri"/>
              </a:rPr>
              <a:t>Contact telephone number.</a:t>
            </a:r>
          </a:p>
          <a:p>
            <a:pPr>
              <a:spcAft>
                <a:spcPts val="450"/>
              </a:spcAft>
            </a:pPr>
            <a:endParaRPr dirty="0" lang="en-US"/>
          </a:p>
        </p:txBody>
      </p:sp>
      <p:pic>
        <p:nvPicPr>
          <p:cNvPr descr="Diagram&#10;&#10;Description automatically generated" id="4" name="Picture 3">
            <a:extLst>
              <a:ext uri="{FF2B5EF4-FFF2-40B4-BE49-F238E27FC236}">
                <a16:creationId xmlns:a16="http://schemas.microsoft.com/office/drawing/2014/main" id="{83BB1E60-4E4E-BD40-AC11-FA019FF27A06}"/>
              </a:ext>
            </a:extLst>
          </p:cNvPr>
          <p:cNvPicPr>
            <a:picLocks noChangeAspect="1"/>
          </p:cNvPicPr>
          <p:nvPr/>
        </p:nvPicPr>
        <p:blipFill rotWithShape="1">
          <a:blip r:embed="rId2"/>
          <a:srcRect b="96" t="-1"/>
          <a:stretch/>
        </p:blipFill>
        <p:spPr>
          <a:xfrm>
            <a:off x="216063" y="2130013"/>
            <a:ext cx="3944666" cy="2215001"/>
          </a:xfrm>
          <a:prstGeom prst="rect">
            <a:avLst/>
          </a:prstGeom>
        </p:spPr>
      </p:pic>
    </p:spTree>
    <p:extLst>
      <p:ext uri="{BB962C8B-B14F-4D97-AF65-F5344CB8AC3E}">
        <p14:creationId xmlns:p14="http://schemas.microsoft.com/office/powerpoint/2010/main" val="26010767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276600" y="2667000"/>
            <a:ext cx="4868863" cy="1257300"/>
          </a:xfrm>
        </p:spPr>
        <p:txBody>
          <a:bodyPr rtlCol="0">
            <a:noAutofit/>
          </a:bodyPr>
          <a:lstStyle/>
          <a:p>
            <a:pPr marL="0" indent="0" algn="ctr"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latin typeface="Calibri" panose="020F0502020204030204" pitchFamily="34" charset="0"/>
              </a:rPr>
              <a:t>Oxygen Delivery to Patients</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3600" b="1" dirty="0">
              <a:solidFill>
                <a:schemeClr val="accent2">
                  <a:lumMod val="75000"/>
                </a:schemeClr>
              </a:solidFill>
              <a:latin typeface="Calibri" panose="020F0502020204030204" pitchFamily="34" charset="0"/>
            </a:endParaRPr>
          </a:p>
        </p:txBody>
      </p:sp>
    </p:spTree>
    <p:extLst>
      <p:ext uri="{BB962C8B-B14F-4D97-AF65-F5344CB8AC3E}">
        <p14:creationId xmlns:p14="http://schemas.microsoft.com/office/powerpoint/2010/main" val="96892635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F386E5F-2DC8-F742-9F4A-81C0C960A7E1}"/>
              </a:ext>
            </a:extLst>
          </p:cNvPr>
          <p:cNvSpPr/>
          <p:nvPr/>
        </p:nvSpPr>
        <p:spPr>
          <a:xfrm>
            <a:off x="5410201" y="2438399"/>
            <a:ext cx="3581399" cy="3048001"/>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1CFB2001-B774-5E40-B935-AA6EF33EA7D1}"/>
              </a:ext>
            </a:extLst>
          </p:cNvPr>
          <p:cNvSpPr>
            <a:spLocks noGrp="1"/>
          </p:cNvSpPr>
          <p:nvPr>
            <p:ph type="body" sz="quarter" idx="13"/>
          </p:nvPr>
        </p:nvSpPr>
        <p:spPr>
          <a:xfrm>
            <a:off x="685800" y="1849530"/>
            <a:ext cx="4419600" cy="4204598"/>
          </a:xfrm>
        </p:spPr>
        <p:txBody>
          <a:bodyPr>
            <a:noAutofit/>
          </a:bodyPr>
          <a:lstStyle/>
          <a:p>
            <a:pPr marL="214313" indent="-214313">
              <a:spcAft>
                <a:spcPts val="450"/>
              </a:spcAft>
              <a:buClr>
                <a:schemeClr val="accent2"/>
              </a:buClr>
              <a:buFont typeface="Courier New" panose="02070309020205020404" pitchFamily="49" charset="0"/>
              <a:buChar char="o"/>
            </a:pPr>
            <a:r>
              <a:rPr lang="en-IN" sz="1600" dirty="0">
                <a:latin typeface="Calibri" panose="020F0502020204030204" pitchFamily="34" charset="0"/>
              </a:rPr>
              <a:t>MGPS is installed to provide a safe, convenient, and cost-effective system for the provision of medical gases to the clinical and nursing staff at the point-of-use. </a:t>
            </a:r>
          </a:p>
          <a:p>
            <a:pPr marL="214313" indent="-214313">
              <a:spcAft>
                <a:spcPts val="450"/>
              </a:spcAft>
              <a:buClr>
                <a:schemeClr val="accent2"/>
              </a:buClr>
              <a:buFont typeface="Courier New" panose="02070309020205020404" pitchFamily="49" charset="0"/>
              <a:buChar char="o"/>
            </a:pPr>
            <a:r>
              <a:rPr lang="en-IN" sz="1600" dirty="0">
                <a:latin typeface="Calibri" panose="020F0502020204030204" pitchFamily="34" charset="0"/>
              </a:rPr>
              <a:t>It reduces the problems associated with the use of gas cylinders such as safety, porterage, storage, and noise.</a:t>
            </a:r>
          </a:p>
          <a:p>
            <a:pPr marL="214313" indent="-214313">
              <a:spcAft>
                <a:spcPts val="450"/>
              </a:spcAft>
              <a:buClr>
                <a:schemeClr val="accent2"/>
              </a:buClr>
              <a:buFont typeface="Courier New" panose="02070309020205020404" pitchFamily="49" charset="0"/>
              <a:buChar char="o"/>
            </a:pPr>
            <a:r>
              <a:rPr lang="en-IN" sz="1600" dirty="0">
                <a:latin typeface="Calibri" panose="020F0502020204030204" pitchFamily="34" charset="0"/>
              </a:rPr>
              <a:t>Patient safety is paramount in the design, installation, commissioning, and operation of medical gas pipeline systems. </a:t>
            </a:r>
          </a:p>
          <a:p>
            <a:pPr marL="214313" indent="-214313">
              <a:spcAft>
                <a:spcPts val="450"/>
              </a:spcAft>
              <a:buClr>
                <a:schemeClr val="accent2"/>
              </a:buClr>
              <a:buFont typeface="Courier New" panose="02070309020205020404" pitchFamily="49" charset="0"/>
              <a:buChar char="o"/>
            </a:pPr>
            <a:r>
              <a:rPr lang="en-IN" sz="1600" dirty="0">
                <a:latin typeface="Calibri" panose="020F0502020204030204" pitchFamily="34" charset="0"/>
              </a:rPr>
              <a:t>The basic principles of safety are achieved by ensuring quantity of supply, identity of supply, continuity of supply and quality of supply. </a:t>
            </a:r>
          </a:p>
          <a:p>
            <a:pPr marL="214313" indent="-214313">
              <a:spcAft>
                <a:spcPts val="450"/>
              </a:spcAft>
              <a:buClr>
                <a:schemeClr val="accent2"/>
              </a:buClr>
              <a:buFont typeface="Courier New" panose="02070309020205020404" pitchFamily="49" charset="0"/>
              <a:buChar char="o"/>
            </a:pPr>
            <a:r>
              <a:rPr lang="en-IN" sz="1600" dirty="0">
                <a:latin typeface="Calibri" panose="020F0502020204030204" pitchFamily="34" charset="0"/>
              </a:rPr>
              <a:t>Pipeline systems supply oxygen at a high pressure to equipment such as anaesthetic machines and ventilators. </a:t>
            </a:r>
          </a:p>
          <a:p>
            <a:pPr>
              <a:spcAft>
                <a:spcPts val="0"/>
              </a:spcAft>
            </a:pPr>
            <a:endParaRPr lang="en-IN" sz="1600" dirty="0">
              <a:latin typeface="Calibri" panose="020F0502020204030204" pitchFamily="34" charset="0"/>
            </a:endParaRPr>
          </a:p>
          <a:p>
            <a:pPr>
              <a:spcAft>
                <a:spcPts val="0"/>
              </a:spcAft>
            </a:pPr>
            <a:endParaRPr lang="en-IN" sz="1600" dirty="0">
              <a:latin typeface="Calibri" panose="020F0502020204030204" pitchFamily="34" charset="0"/>
            </a:endParaRPr>
          </a:p>
          <a:p>
            <a:endParaRPr lang="en-US" sz="1600" dirty="0">
              <a:latin typeface="Calibri" panose="020F0502020204030204" pitchFamily="34" charset="0"/>
            </a:endParaRPr>
          </a:p>
        </p:txBody>
      </p:sp>
      <p:sp>
        <p:nvSpPr>
          <p:cNvPr id="3" name="Text Placeholder 2">
            <a:extLst>
              <a:ext uri="{FF2B5EF4-FFF2-40B4-BE49-F238E27FC236}">
                <a16:creationId xmlns:a16="http://schemas.microsoft.com/office/drawing/2014/main" id="{AC65330C-686E-D448-96F2-0B9E23EDB618}"/>
              </a:ext>
            </a:extLst>
          </p:cNvPr>
          <p:cNvSpPr>
            <a:spLocks noGrp="1"/>
          </p:cNvSpPr>
          <p:nvPr>
            <p:ph type="body" sz="quarter" idx="14"/>
          </p:nvPr>
        </p:nvSpPr>
        <p:spPr>
          <a:xfrm>
            <a:off x="552450" y="604086"/>
            <a:ext cx="8039100" cy="1095876"/>
          </a:xfrm>
        </p:spPr>
        <p:txBody>
          <a:bodyPr anchor="b">
            <a:normAutofit/>
          </a:bodyPr>
          <a:lstStyle/>
          <a:p>
            <a:pPr algn="ctr">
              <a:spcBef>
                <a:spcPts val="0"/>
              </a:spcBef>
              <a:spcAft>
                <a:spcPts val="0"/>
              </a:spcAft>
              <a:buSzPts val="3200"/>
            </a:pPr>
            <a:r>
              <a:rPr lang="en-IN" sz="3600" b="1" spc="-50" dirty="0">
                <a:solidFill>
                  <a:schemeClr val="accent2">
                    <a:lumMod val="75000"/>
                  </a:schemeClr>
                </a:solidFill>
                <a:latin typeface="Calibri" panose="020F0502020204030204" pitchFamily="34" charset="0"/>
                <a:ea typeface="+mj-ea"/>
                <a:cs typeface="+mj-cs"/>
              </a:rPr>
              <a:t>Medical Gas Pipeline System (MGPS)</a:t>
            </a:r>
          </a:p>
        </p:txBody>
      </p:sp>
      <p:sp>
        <p:nvSpPr>
          <p:cNvPr id="4" name="TextBox 3">
            <a:extLst>
              <a:ext uri="{FF2B5EF4-FFF2-40B4-BE49-F238E27FC236}">
                <a16:creationId xmlns:a16="http://schemas.microsoft.com/office/drawing/2014/main" id="{C0980C73-67E8-034E-B197-3DF288C437FC}"/>
              </a:ext>
            </a:extLst>
          </p:cNvPr>
          <p:cNvSpPr txBox="1"/>
          <p:nvPr/>
        </p:nvSpPr>
        <p:spPr>
          <a:xfrm>
            <a:off x="5562600" y="2667000"/>
            <a:ext cx="3245069" cy="2599489"/>
          </a:xfrm>
          <a:prstGeom prst="rect">
            <a:avLst/>
          </a:prstGeom>
          <a:solidFill>
            <a:schemeClr val="bg1"/>
          </a:solidFill>
        </p:spPr>
        <p:txBody>
          <a:bodyPr wrap="square" lIns="0" tIns="0" rIns="0" bIns="0" numCol="2" rtlCol="0">
            <a:noAutofit/>
          </a:bodyPr>
          <a:lstStyle/>
          <a:p>
            <a:pPr>
              <a:spcAft>
                <a:spcPts val="0"/>
              </a:spcAft>
            </a:pPr>
            <a:endParaRPr lang="en-IN" sz="1300" dirty="0">
              <a:solidFill>
                <a:schemeClr val="accent2"/>
              </a:solidFill>
              <a:latin typeface="Calibri" panose="020F0502020204030204" pitchFamily="34" charset="0"/>
            </a:endParaRPr>
          </a:p>
          <a:p>
            <a:pPr algn="ctr">
              <a:spcAft>
                <a:spcPts val="0"/>
              </a:spcAft>
            </a:pPr>
            <a:r>
              <a:rPr lang="en-IN" sz="1300" b="1" dirty="0">
                <a:solidFill>
                  <a:schemeClr val="accent2"/>
                </a:solidFill>
                <a:latin typeface="Calibri" panose="020F0502020204030204" pitchFamily="34" charset="0"/>
              </a:rPr>
              <a:t>Pro</a:t>
            </a:r>
          </a:p>
          <a:p>
            <a:pPr algn="ctr">
              <a:spcAft>
                <a:spcPts val="0"/>
              </a:spcAft>
            </a:pPr>
            <a:endParaRPr lang="en-IN" sz="1300" dirty="0">
              <a:solidFill>
                <a:schemeClr val="accent2"/>
              </a:solidFill>
              <a:latin typeface="Calibri" panose="020F0502020204030204" pitchFamily="34" charset="0"/>
            </a:endParaRPr>
          </a:p>
          <a:p>
            <a:pPr algn="ctr">
              <a:spcAft>
                <a:spcPts val="0"/>
              </a:spcAft>
            </a:pPr>
            <a:r>
              <a:rPr lang="en-IN" sz="1300" dirty="0">
                <a:solidFill>
                  <a:schemeClr val="accent2"/>
                </a:solidFill>
                <a:latin typeface="Calibri" panose="020F0502020204030204" pitchFamily="34" charset="0"/>
              </a:rPr>
              <a:t>They obviate the need for handling and transporting heavy cylinders between hospital wards</a:t>
            </a:r>
          </a:p>
          <a:p>
            <a:pPr algn="ctr"/>
            <a:endParaRPr lang="en-IN" sz="1300" dirty="0">
              <a:latin typeface="Calibri" panose="020F0502020204030204" pitchFamily="34" charset="0"/>
            </a:endParaRPr>
          </a:p>
          <a:p>
            <a:pPr algn="ctr"/>
            <a:endParaRPr lang="en-IN" sz="1300" dirty="0">
              <a:latin typeface="Calibri" panose="020F0502020204030204" pitchFamily="34" charset="0"/>
            </a:endParaRPr>
          </a:p>
          <a:p>
            <a:pPr algn="ctr"/>
            <a:endParaRPr lang="en-IN" sz="1300" dirty="0">
              <a:latin typeface="Calibri" panose="020F0502020204030204" pitchFamily="34" charset="0"/>
            </a:endParaRPr>
          </a:p>
          <a:p>
            <a:pPr algn="ctr"/>
            <a:endParaRPr lang="en-IN" sz="1300" dirty="0">
              <a:latin typeface="Calibri" panose="020F0502020204030204" pitchFamily="34" charset="0"/>
            </a:endParaRPr>
          </a:p>
          <a:p>
            <a:pPr algn="ctr"/>
            <a:endParaRPr lang="en-IN" sz="1300" dirty="0">
              <a:latin typeface="Calibri" panose="020F0502020204030204" pitchFamily="34" charset="0"/>
            </a:endParaRPr>
          </a:p>
          <a:p>
            <a:pPr algn="ctr"/>
            <a:endParaRPr lang="en-IN" sz="1300" dirty="0">
              <a:latin typeface="Calibri" panose="020F0502020204030204" pitchFamily="34" charset="0"/>
            </a:endParaRPr>
          </a:p>
          <a:p>
            <a:pPr algn="ctr"/>
            <a:endParaRPr lang="en-IN" sz="1300" b="1" dirty="0">
              <a:solidFill>
                <a:schemeClr val="accent2"/>
              </a:solidFill>
              <a:latin typeface="Calibri" panose="020F0502020204030204" pitchFamily="34" charset="0"/>
            </a:endParaRPr>
          </a:p>
          <a:p>
            <a:pPr algn="ctr"/>
            <a:r>
              <a:rPr lang="en-IN" sz="1300" b="1" dirty="0">
                <a:solidFill>
                  <a:schemeClr val="accent2"/>
                </a:solidFill>
                <a:latin typeface="Calibri" panose="020F0502020204030204" pitchFamily="34" charset="0"/>
              </a:rPr>
              <a:t>Cons</a:t>
            </a:r>
          </a:p>
          <a:p>
            <a:pPr algn="ctr"/>
            <a:endParaRPr lang="en-IN" sz="1300" dirty="0">
              <a:solidFill>
                <a:schemeClr val="accent2"/>
              </a:solidFill>
              <a:latin typeface="Calibri" panose="020F0502020204030204" pitchFamily="34" charset="0"/>
            </a:endParaRPr>
          </a:p>
          <a:p>
            <a:pPr algn="ctr"/>
            <a:r>
              <a:rPr lang="en-IN" sz="1300" dirty="0">
                <a:solidFill>
                  <a:schemeClr val="accent2"/>
                </a:solidFill>
                <a:latin typeface="Calibri" panose="020F0502020204030204" pitchFamily="34" charset="0"/>
              </a:rPr>
              <a:t>The high cost of installing centralized oxygen sources with copper pipelines and the high level of specialized maintenance may make these systems of unsuitable for many hospitals.</a:t>
            </a:r>
          </a:p>
          <a:p>
            <a:pPr algn="ctr"/>
            <a:r>
              <a:rPr lang="en-IN" sz="1300" dirty="0">
                <a:latin typeface="Calibri" panose="020F0502020204030204" pitchFamily="34" charset="0"/>
              </a:rPr>
              <a:t> </a:t>
            </a:r>
          </a:p>
        </p:txBody>
      </p:sp>
      <p:grpSp>
        <p:nvGrpSpPr>
          <p:cNvPr id="8" name="Group 7">
            <a:extLst>
              <a:ext uri="{FF2B5EF4-FFF2-40B4-BE49-F238E27FC236}">
                <a16:creationId xmlns:a16="http://schemas.microsoft.com/office/drawing/2014/main" id="{0422C282-9378-2646-A66D-786F32B531FE}"/>
              </a:ext>
            </a:extLst>
          </p:cNvPr>
          <p:cNvGrpSpPr/>
          <p:nvPr/>
        </p:nvGrpSpPr>
        <p:grpSpPr>
          <a:xfrm>
            <a:off x="6705600" y="2057400"/>
            <a:ext cx="1003301" cy="936207"/>
            <a:chOff x="9601197" y="771024"/>
            <a:chExt cx="1337735" cy="1248276"/>
          </a:xfrm>
          <a:solidFill>
            <a:schemeClr val="tx2"/>
          </a:solidFill>
        </p:grpSpPr>
        <p:sp>
          <p:nvSpPr>
            <p:cNvPr id="7" name="Oval 6">
              <a:extLst>
                <a:ext uri="{FF2B5EF4-FFF2-40B4-BE49-F238E27FC236}">
                  <a16:creationId xmlns:a16="http://schemas.microsoft.com/office/drawing/2014/main" id="{9F1BCD97-30AF-894E-B14D-E83425672020}"/>
                </a:ext>
              </a:extLst>
            </p:cNvPr>
            <p:cNvSpPr/>
            <p:nvPr/>
          </p:nvSpPr>
          <p:spPr>
            <a:xfrm>
              <a:off x="9601197" y="771024"/>
              <a:ext cx="1337735" cy="1248276"/>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0E4561A1-FC5D-1348-A7A9-4368BD809655}"/>
                </a:ext>
              </a:extLst>
            </p:cNvPr>
            <p:cNvPicPr>
              <a:picLocks noChangeAspect="1"/>
            </p:cNvPicPr>
            <p:nvPr/>
          </p:nvPicPr>
          <p:blipFill>
            <a:blip r:embed="rId2"/>
            <a:stretch>
              <a:fillRect/>
            </a:stretch>
          </p:blipFill>
          <p:spPr>
            <a:xfrm>
              <a:off x="9802922" y="965200"/>
              <a:ext cx="900419" cy="900419"/>
            </a:xfrm>
            <a:prstGeom prst="rect">
              <a:avLst/>
            </a:prstGeom>
            <a:grpFill/>
          </p:spPr>
        </p:pic>
      </p:grpSp>
    </p:spTree>
    <p:extLst>
      <p:ext uri="{BB962C8B-B14F-4D97-AF65-F5344CB8AC3E}">
        <p14:creationId xmlns:p14="http://schemas.microsoft.com/office/powerpoint/2010/main" val="1868298155"/>
      </p:ext>
    </p:extLst>
  </p:cSld>
  <p:clrMapOvr>
    <a:masterClrMapping/>
  </p:clrMapOvr>
  <p:transition spd="med">
    <p:fade/>
  </p:transition>
</p:sld>
</file>

<file path=ppt/slides/slide67.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DCF5D6B-6F1B-9E4A-BBA5-F4DB1CFDEA52}"/>
              </a:ext>
            </a:extLst>
          </p:cNvPr>
          <p:cNvSpPr>
            <a:spLocks noGrp="1"/>
          </p:cNvSpPr>
          <p:nvPr>
            <p:ph idx="13" sz="quarter" type="body"/>
          </p:nvPr>
        </p:nvSpPr>
        <p:spPr>
          <a:xfrm>
            <a:off x="685800" y="1981314"/>
            <a:ext cx="8153400" cy="1295285"/>
          </a:xfrm>
        </p:spPr>
        <p:txBody>
          <a:bodyPr>
            <a:noAutofit/>
          </a:bodyPr>
          <a:lstStyle/>
          <a:p>
            <a:pPr algn="just" indent="-214313" marL="214313">
              <a:lnSpc>
                <a:spcPct val="150000"/>
              </a:lnSpc>
              <a:spcAft>
                <a:spcPts val="0"/>
              </a:spcAft>
              <a:buClr>
                <a:schemeClr val="accent2"/>
              </a:buClr>
              <a:buFont charset="0" panose="020B0604020202020204" pitchFamily="34" typeface="Arial"/>
              <a:buChar char="•"/>
            </a:pPr>
            <a:r>
              <a:rPr dirty="0" lang="en-IN" sz="1800">
                <a:latin charset="0" panose="020F0502020204030204" pitchFamily="34" typeface="Calibri"/>
              </a:rPr>
              <a:t>According to the ISO standard, oxygen should be labelled as</a:t>
            </a:r>
            <a:r>
              <a:rPr b="1" dirty="0" lang="en-IN" sz="1800">
                <a:latin charset="0" panose="020F0502020204030204" pitchFamily="34" typeface="Calibri"/>
              </a:rPr>
              <a:t> white</a:t>
            </a:r>
            <a:r>
              <a:rPr dirty="0" lang="en-IN" sz="1800">
                <a:latin charset="0" panose="020F0502020204030204" pitchFamily="34" typeface="Calibri"/>
              </a:rPr>
              <a:t>. </a:t>
            </a:r>
          </a:p>
          <a:p>
            <a:pPr algn="just" indent="-214313" marL="214313">
              <a:lnSpc>
                <a:spcPct val="150000"/>
              </a:lnSpc>
              <a:spcAft>
                <a:spcPts val="0"/>
              </a:spcAft>
              <a:buClr>
                <a:schemeClr val="accent2"/>
              </a:buClr>
              <a:buFont charset="0" panose="020B0604020202020204" pitchFamily="34" typeface="Arial"/>
              <a:buChar char="•"/>
            </a:pPr>
            <a:r>
              <a:rPr dirty="0" lang="en-IN" sz="1800">
                <a:latin charset="0" panose="020F0502020204030204" pitchFamily="34" typeface="Calibri"/>
              </a:rPr>
              <a:t>The figure shows differences in gas cylinder colour coding between ISO and US standards.</a:t>
            </a:r>
          </a:p>
        </p:txBody>
      </p:sp>
      <p:sp>
        <p:nvSpPr>
          <p:cNvPr id="3" name="Text Placeholder 2">
            <a:extLst>
              <a:ext uri="{FF2B5EF4-FFF2-40B4-BE49-F238E27FC236}">
                <a16:creationId xmlns:a16="http://schemas.microsoft.com/office/drawing/2014/main" id="{179F57A1-E546-8848-AD6F-91E91D49B1EB}"/>
              </a:ext>
            </a:extLst>
          </p:cNvPr>
          <p:cNvSpPr>
            <a:spLocks noGrp="1"/>
          </p:cNvSpPr>
          <p:nvPr>
            <p:ph idx="14" sz="quarter" type="body"/>
          </p:nvPr>
        </p:nvSpPr>
        <p:spPr>
          <a:xfrm>
            <a:off x="457200" y="685874"/>
            <a:ext cx="8610600" cy="1095876"/>
          </a:xfrm>
        </p:spPr>
        <p:txBody>
          <a:bodyPr anchor="b"/>
          <a:lstStyle/>
          <a:p>
            <a:pPr algn="ctr"/>
            <a:r>
              <a:rPr b="1" dirty="0" lang="en-IN" spc="-50" sz="3600">
                <a:solidFill>
                  <a:schemeClr val="accent2">
                    <a:lumMod val="75000"/>
                  </a:schemeClr>
                </a:solidFill>
                <a:latin charset="0" panose="020F0502020204030204" pitchFamily="34" typeface="Calibri"/>
                <a:ea typeface="+mj-ea"/>
                <a:cs typeface="+mj-cs"/>
              </a:rPr>
              <a:t>Colour Coding for Medical Gas Pipelines</a:t>
            </a:r>
          </a:p>
        </p:txBody>
      </p:sp>
      <p:grpSp>
        <p:nvGrpSpPr>
          <p:cNvPr id="4" name="Group 3">
            <a:extLst>
              <a:ext uri="{FF2B5EF4-FFF2-40B4-BE49-F238E27FC236}">
                <a16:creationId xmlns:a16="http://schemas.microsoft.com/office/drawing/2014/main" id="{2A6C47E0-3271-41FF-9AA9-3E346F966A0C}"/>
              </a:ext>
            </a:extLst>
          </p:cNvPr>
          <p:cNvGrpSpPr/>
          <p:nvPr/>
        </p:nvGrpSpPr>
        <p:grpSpPr>
          <a:xfrm>
            <a:off x="0" y="3476163"/>
            <a:ext cx="9144000" cy="2391237"/>
            <a:chOff x="0" y="3139309"/>
            <a:chExt cx="9144000" cy="2391237"/>
          </a:xfrm>
          <a:solidFill>
            <a:schemeClr val="accent2">
              <a:lumMod val="75000"/>
            </a:schemeClr>
          </a:solidFill>
        </p:grpSpPr>
        <p:sp>
          <p:nvSpPr>
            <p:cNvPr id="6" name="Rectangle 5">
              <a:extLst>
                <a:ext uri="{FF2B5EF4-FFF2-40B4-BE49-F238E27FC236}">
                  <a16:creationId xmlns:a16="http://schemas.microsoft.com/office/drawing/2014/main" id="{89D52E6A-68E2-CD4A-ACB9-2387E187F0E4}"/>
                </a:ext>
              </a:extLst>
            </p:cNvPr>
            <p:cNvSpPr/>
            <p:nvPr/>
          </p:nvSpPr>
          <p:spPr>
            <a:xfrm>
              <a:off x="0" y="3139309"/>
              <a:ext cx="9144000" cy="2391237"/>
            </a:xfrm>
            <a:prstGeom prst="rect">
              <a:avLst/>
            </a:prstGeom>
            <a:grpFill/>
            <a:ln>
              <a:noFill/>
            </a:ln>
          </p:spPr>
          <p:style>
            <a:lnRef idx="0">
              <a:scrgbClr b="0" g="0" r="0"/>
            </a:lnRef>
            <a:fillRef idx="0">
              <a:scrgbClr b="0" g="0" r="0"/>
            </a:fillRef>
            <a:effectRef idx="0">
              <a:scrgbClr b="0" g="0" r="0"/>
            </a:effectRef>
            <a:fontRef idx="minor">
              <a:schemeClr val="lt1"/>
            </a:fontRef>
          </p:style>
          <p:txBody>
            <a:bodyPr anchor="ctr" rtlCol="0"/>
            <a:lstStyle/>
            <a:p>
              <a:pPr algn="ctr"/>
              <a:endParaRPr lang="en-US"/>
            </a:p>
          </p:txBody>
        </p:sp>
        <p:pic>
          <p:nvPicPr>
            <p:cNvPr descr="Chart, bar chart&#10;&#10;Description automatically generated" id="5" name="Picture 4">
              <a:extLst>
                <a:ext uri="{FF2B5EF4-FFF2-40B4-BE49-F238E27FC236}">
                  <a16:creationId xmlns:a16="http://schemas.microsoft.com/office/drawing/2014/main" id="{177FCB75-27A5-7E40-9B02-FB746AF5D43F}"/>
                </a:ext>
              </a:extLst>
            </p:cNvPr>
            <p:cNvPicPr>
              <a:picLocks noChangeAspect="1"/>
            </p:cNvPicPr>
            <p:nvPr/>
          </p:nvPicPr>
          <p:blipFill rotWithShape="1">
            <a:blip r:embed="rId2"/>
            <a:srcRect b="-66"/>
            <a:stretch/>
          </p:blipFill>
          <p:spPr>
            <a:xfrm>
              <a:off x="1942941" y="3235282"/>
              <a:ext cx="5051854" cy="2199290"/>
            </a:xfrm>
            <a:prstGeom prst="rect">
              <a:avLst/>
            </a:prstGeom>
            <a:grpFill/>
          </p:spPr>
        </p:pic>
      </p:grpSp>
    </p:spTree>
    <p:extLst>
      <p:ext uri="{BB962C8B-B14F-4D97-AF65-F5344CB8AC3E}">
        <p14:creationId xmlns:p14="http://schemas.microsoft.com/office/powerpoint/2010/main" val="2529896840"/>
      </p:ext>
    </p:extLst>
  </p:cSld>
  <p:clrMapOvr>
    <a:masterClrMapping/>
  </p:clrMapOvr>
  <p:transition spd="med">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19B5A32-221A-D241-8610-A77D36977638}"/>
              </a:ext>
            </a:extLst>
          </p:cNvPr>
          <p:cNvSpPr>
            <a:spLocks noGrp="1"/>
          </p:cNvSpPr>
          <p:nvPr>
            <p:ph type="body" sz="quarter" idx="13"/>
          </p:nvPr>
        </p:nvSpPr>
        <p:spPr>
          <a:xfrm>
            <a:off x="457200" y="1828800"/>
            <a:ext cx="5410199" cy="4648200"/>
          </a:xfrm>
        </p:spPr>
        <p:txBody>
          <a:bodyPr>
            <a:normAutofit fontScale="77500" lnSpcReduction="20000"/>
          </a:bodyPr>
          <a:lstStyle/>
          <a:p>
            <a:pPr marL="285750" indent="-285750" algn="just">
              <a:lnSpc>
                <a:spcPct val="110000"/>
              </a:lnSpc>
              <a:spcBef>
                <a:spcPts val="600"/>
              </a:spcBef>
              <a:spcAft>
                <a:spcPts val="600"/>
              </a:spcAft>
              <a:buClr>
                <a:schemeClr val="accent2"/>
              </a:buClr>
              <a:buFont typeface="Arial" panose="020B0604020202020204" pitchFamily="34" charset="0"/>
              <a:buChar char="•"/>
            </a:pPr>
            <a:r>
              <a:rPr lang="en-IN" sz="1900" dirty="0">
                <a:latin typeface="Calibri" panose="020F0502020204030204" pitchFamily="34" charset="0"/>
              </a:rPr>
              <a:t>Jumbo manifold system has two banks and one reserve bank.</a:t>
            </a:r>
          </a:p>
          <a:p>
            <a:pPr marL="285750" indent="-285750" algn="just">
              <a:lnSpc>
                <a:spcPct val="110000"/>
              </a:lnSpc>
              <a:spcBef>
                <a:spcPts val="600"/>
              </a:spcBef>
              <a:spcAft>
                <a:spcPts val="600"/>
              </a:spcAft>
              <a:buClr>
                <a:schemeClr val="accent2"/>
              </a:buClr>
              <a:buFont typeface="Arial" panose="020B0604020202020204" pitchFamily="34" charset="0"/>
              <a:buChar char="•"/>
            </a:pPr>
            <a:r>
              <a:rPr lang="en-IN" sz="1900" dirty="0">
                <a:latin typeface="Calibri" panose="020F0502020204030204" pitchFamily="34" charset="0"/>
              </a:rPr>
              <a:t>Each bank connected to a common header with a separate manifold pressure regulator &amp; and banks alternately supply the pipeline.</a:t>
            </a:r>
          </a:p>
          <a:p>
            <a:pPr marL="285750" indent="-285750" algn="just">
              <a:lnSpc>
                <a:spcPct val="110000"/>
              </a:lnSpc>
              <a:spcBef>
                <a:spcPts val="600"/>
              </a:spcBef>
              <a:spcAft>
                <a:spcPts val="600"/>
              </a:spcAft>
              <a:buClr>
                <a:schemeClr val="accent2"/>
              </a:buClr>
              <a:buFont typeface="Arial" panose="020B0604020202020204" pitchFamily="34" charset="0"/>
              <a:buChar char="•"/>
            </a:pPr>
            <a:r>
              <a:rPr lang="en-IN" sz="1900" dirty="0">
                <a:latin typeface="Calibri" panose="020F0502020204030204" pitchFamily="34" charset="0"/>
              </a:rPr>
              <a:t>Manifold system operates on differential pressure mechanism.</a:t>
            </a:r>
          </a:p>
          <a:p>
            <a:pPr marL="285750" indent="-285750" algn="just">
              <a:lnSpc>
                <a:spcPct val="110000"/>
              </a:lnSpc>
              <a:spcBef>
                <a:spcPts val="600"/>
              </a:spcBef>
              <a:spcAft>
                <a:spcPts val="600"/>
              </a:spcAft>
              <a:buClr>
                <a:schemeClr val="accent2"/>
              </a:buClr>
              <a:buFont typeface="Arial" panose="020B0604020202020204" pitchFamily="34" charset="0"/>
              <a:buChar char="•"/>
            </a:pPr>
            <a:r>
              <a:rPr lang="en-IN" sz="1900" dirty="0">
                <a:latin typeface="Calibri" panose="020F0502020204030204" pitchFamily="34" charset="0"/>
              </a:rPr>
              <a:t>The secondary bank comes into operation automatically when content of the primary bank is exhausted.</a:t>
            </a:r>
          </a:p>
          <a:p>
            <a:pPr marL="285750" indent="-285750" algn="just">
              <a:lnSpc>
                <a:spcPct val="110000"/>
              </a:lnSpc>
              <a:spcBef>
                <a:spcPts val="600"/>
              </a:spcBef>
              <a:spcAft>
                <a:spcPts val="600"/>
              </a:spcAft>
              <a:buClr>
                <a:schemeClr val="accent2"/>
              </a:buClr>
              <a:buFont typeface="Arial" panose="020B0604020202020204" pitchFamily="34" charset="0"/>
              <a:buChar char="•"/>
            </a:pPr>
            <a:r>
              <a:rPr lang="en-IN" sz="1900" dirty="0">
                <a:latin typeface="Calibri" panose="020F0502020204030204" pitchFamily="34" charset="0"/>
              </a:rPr>
              <a:t>Manifold control panel assists in switching automatically between left bank and right bank.</a:t>
            </a:r>
          </a:p>
          <a:p>
            <a:pPr marL="285750" indent="-285750" algn="just">
              <a:lnSpc>
                <a:spcPct val="110000"/>
              </a:lnSpc>
              <a:spcBef>
                <a:spcPts val="600"/>
              </a:spcBef>
              <a:spcAft>
                <a:spcPts val="600"/>
              </a:spcAft>
              <a:buClr>
                <a:schemeClr val="accent2"/>
              </a:buClr>
              <a:buFont typeface="Arial" panose="020B0604020202020204" pitchFamily="34" charset="0"/>
              <a:buChar char="•"/>
            </a:pPr>
            <a:r>
              <a:rPr lang="en-IN" sz="1900" dirty="0">
                <a:latin typeface="Calibri" panose="020F0502020204030204" pitchFamily="34" charset="0"/>
              </a:rPr>
              <a:t>Automatic control panel need no power or electricity requirement for operation.</a:t>
            </a:r>
          </a:p>
          <a:p>
            <a:pPr marL="285750" indent="-285750" algn="just">
              <a:lnSpc>
                <a:spcPct val="110000"/>
              </a:lnSpc>
              <a:spcBef>
                <a:spcPts val="600"/>
              </a:spcBef>
              <a:spcAft>
                <a:spcPts val="600"/>
              </a:spcAft>
              <a:buClr>
                <a:schemeClr val="accent2"/>
              </a:buClr>
              <a:buFont typeface="Arial" panose="020B0604020202020204" pitchFamily="34" charset="0"/>
              <a:buChar char="•"/>
            </a:pPr>
            <a:r>
              <a:rPr lang="en-IN" sz="1900" dirty="0">
                <a:latin typeface="Calibri" panose="020F0502020204030204" pitchFamily="34" charset="0"/>
              </a:rPr>
              <a:t>In case of power failure, control panel has fail-safe mechanism, if required.</a:t>
            </a:r>
          </a:p>
          <a:p>
            <a:pPr marL="285750" indent="-285750" algn="just">
              <a:lnSpc>
                <a:spcPct val="110000"/>
              </a:lnSpc>
              <a:spcBef>
                <a:spcPts val="600"/>
              </a:spcBef>
              <a:spcAft>
                <a:spcPts val="600"/>
              </a:spcAft>
              <a:buClr>
                <a:schemeClr val="accent2"/>
              </a:buClr>
              <a:buFont typeface="Arial" panose="020B0604020202020204" pitchFamily="34" charset="0"/>
              <a:buChar char="•"/>
            </a:pPr>
            <a:r>
              <a:rPr lang="en-IN" sz="1900" dirty="0">
                <a:latin typeface="Calibri" panose="020F0502020204030204" pitchFamily="34" charset="0"/>
              </a:rPr>
              <a:t>Both right and left bank opens in case of power failure and will ensure unobstructed flow to hospital on self-displacement method.</a:t>
            </a:r>
          </a:p>
          <a:p>
            <a:endParaRPr lang="en-US" dirty="0">
              <a:latin typeface="Calibri" panose="020F0502020204030204" pitchFamily="34" charset="0"/>
            </a:endParaRPr>
          </a:p>
        </p:txBody>
      </p:sp>
      <p:sp>
        <p:nvSpPr>
          <p:cNvPr id="3" name="Text Placeholder 2">
            <a:extLst>
              <a:ext uri="{FF2B5EF4-FFF2-40B4-BE49-F238E27FC236}">
                <a16:creationId xmlns:a16="http://schemas.microsoft.com/office/drawing/2014/main" id="{6527A665-9470-084F-BA29-1A3D8615C47B}"/>
              </a:ext>
            </a:extLst>
          </p:cNvPr>
          <p:cNvSpPr>
            <a:spLocks noGrp="1"/>
          </p:cNvSpPr>
          <p:nvPr>
            <p:ph type="body" sz="quarter" idx="14"/>
          </p:nvPr>
        </p:nvSpPr>
        <p:spPr>
          <a:xfrm>
            <a:off x="800100" y="584547"/>
            <a:ext cx="7543800" cy="1095876"/>
          </a:xfrm>
        </p:spPr>
        <p:txBody>
          <a:bodyPr anchor="b"/>
          <a:lstStyle/>
          <a:p>
            <a:pPr algn="ctr"/>
            <a:r>
              <a:rPr lang="en-IN" sz="3600" b="1" spc="-50" dirty="0">
                <a:solidFill>
                  <a:schemeClr val="accent2">
                    <a:lumMod val="75000"/>
                  </a:schemeClr>
                </a:solidFill>
                <a:latin typeface="Calibri" panose="020F0502020204030204" pitchFamily="34" charset="0"/>
                <a:ea typeface="+mj-ea"/>
                <a:cs typeface="+mj-cs"/>
              </a:rPr>
              <a:t>Working of Manifold</a:t>
            </a:r>
          </a:p>
        </p:txBody>
      </p:sp>
      <p:pic>
        <p:nvPicPr>
          <p:cNvPr id="6" name="Picture 5" descr="Diagram&#10;&#10;Description automatically generated">
            <a:extLst>
              <a:ext uri="{FF2B5EF4-FFF2-40B4-BE49-F238E27FC236}">
                <a16:creationId xmlns:a16="http://schemas.microsoft.com/office/drawing/2014/main" id="{6D76DF16-F69F-6B4D-AD2B-56D28917A10C}"/>
              </a:ext>
            </a:extLst>
          </p:cNvPr>
          <p:cNvPicPr>
            <a:picLocks noChangeAspect="1"/>
          </p:cNvPicPr>
          <p:nvPr/>
        </p:nvPicPr>
        <p:blipFill>
          <a:blip r:embed="rId2"/>
          <a:stretch>
            <a:fillRect/>
          </a:stretch>
        </p:blipFill>
        <p:spPr>
          <a:xfrm>
            <a:off x="6019800" y="2460625"/>
            <a:ext cx="2819400" cy="2409825"/>
          </a:xfrm>
          <a:prstGeom prst="rect">
            <a:avLst/>
          </a:prstGeom>
        </p:spPr>
      </p:pic>
    </p:spTree>
    <p:extLst>
      <p:ext uri="{BB962C8B-B14F-4D97-AF65-F5344CB8AC3E}">
        <p14:creationId xmlns:p14="http://schemas.microsoft.com/office/powerpoint/2010/main" val="4004704050"/>
      </p:ext>
    </p:extLst>
  </p:cSld>
  <p:clrMapOvr>
    <a:masterClrMapping/>
  </p:clrMapOvr>
  <p:transition spd="med">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6CCE8C-35DC-C84F-B578-13FAC8CC5774}"/>
              </a:ext>
            </a:extLst>
          </p:cNvPr>
          <p:cNvSpPr>
            <a:spLocks noGrp="1"/>
          </p:cNvSpPr>
          <p:nvPr>
            <p:ph type="body" sz="quarter" idx="13"/>
          </p:nvPr>
        </p:nvSpPr>
        <p:spPr>
          <a:xfrm>
            <a:off x="1084468" y="1828800"/>
            <a:ext cx="7696957" cy="4507490"/>
          </a:xfrm>
        </p:spPr>
        <p:txBody>
          <a:bodyPr>
            <a:noAutofit/>
          </a:bodyPr>
          <a:lstStyle/>
          <a:p>
            <a:pPr algn="just">
              <a:spcAft>
                <a:spcPts val="0"/>
              </a:spcAft>
            </a:pPr>
            <a:r>
              <a:rPr lang="en-IN" sz="1800" b="1" dirty="0">
                <a:latin typeface="Calibri" panose="020F0502020204030204" pitchFamily="34" charset="0"/>
              </a:rPr>
              <a:t>Options for dividing flow to multiple patients-</a:t>
            </a:r>
          </a:p>
          <a:p>
            <a:pPr algn="just">
              <a:spcAft>
                <a:spcPts val="0"/>
              </a:spcAft>
            </a:pPr>
            <a:endParaRPr lang="en-IN" sz="1800" dirty="0">
              <a:latin typeface="Calibri" panose="020F0502020204030204" pitchFamily="34" charset="0"/>
            </a:endParaRPr>
          </a:p>
          <a:p>
            <a:pPr marL="285750" indent="-285750" algn="just">
              <a:spcAft>
                <a:spcPts val="0"/>
              </a:spcAft>
              <a:buFont typeface="Arial" panose="020B0604020202020204" pitchFamily="34" charset="0"/>
              <a:buChar char="•"/>
            </a:pPr>
            <a:r>
              <a:rPr lang="en-IN" sz="1800" dirty="0">
                <a:latin typeface="Calibri" panose="020F0502020204030204" pitchFamily="34" charset="0"/>
              </a:rPr>
              <a:t>Some concentrators have </a:t>
            </a:r>
            <a:r>
              <a:rPr lang="en-IN" sz="1800" b="1" dirty="0">
                <a:latin typeface="Calibri" panose="020F0502020204030204" pitchFamily="34" charset="0"/>
              </a:rPr>
              <a:t>two built-in flowmeters</a:t>
            </a:r>
            <a:r>
              <a:rPr lang="en-IN" sz="1800" dirty="0">
                <a:latin typeface="Calibri" panose="020F0502020204030204" pitchFamily="34" charset="0"/>
              </a:rPr>
              <a:t>, with two corresponding oxygen outlets, to treat two patients simultaneously. </a:t>
            </a:r>
          </a:p>
          <a:p>
            <a:pPr marL="285750" indent="-285750" algn="just">
              <a:spcAft>
                <a:spcPts val="0"/>
              </a:spcAft>
              <a:buFont typeface="Arial" panose="020B0604020202020204" pitchFamily="34" charset="0"/>
              <a:buChar char="•"/>
            </a:pPr>
            <a:r>
              <a:rPr lang="en-IN" sz="1800" dirty="0">
                <a:latin typeface="Calibri" panose="020F0502020204030204" pitchFamily="34" charset="0"/>
              </a:rPr>
              <a:t>This avoids the need for additional user assembly but is limited to a </a:t>
            </a:r>
            <a:r>
              <a:rPr lang="en-IN" sz="1800" b="1" dirty="0">
                <a:latin typeface="Calibri" panose="020F0502020204030204" pitchFamily="34" charset="0"/>
              </a:rPr>
              <a:t>maximum of two patients </a:t>
            </a:r>
            <a:r>
              <a:rPr lang="en-IN" sz="1800" dirty="0">
                <a:latin typeface="Calibri" panose="020F0502020204030204" pitchFamily="34" charset="0"/>
              </a:rPr>
              <a:t>that can be treated at the same time. </a:t>
            </a:r>
          </a:p>
          <a:p>
            <a:pPr marL="285750" indent="-285750" algn="just">
              <a:spcAft>
                <a:spcPts val="0"/>
              </a:spcAft>
              <a:buFont typeface="Arial" panose="020B0604020202020204" pitchFamily="34" charset="0"/>
              <a:buChar char="•"/>
            </a:pPr>
            <a:r>
              <a:rPr lang="en-IN" sz="1800" dirty="0">
                <a:latin typeface="Calibri" panose="020F0502020204030204" pitchFamily="34" charset="0"/>
              </a:rPr>
              <a:t>Only some concentrators designated as paediatric have built-in flowmeters capable of titrating oxygen to very low flows (0.1–0.2 LPM). </a:t>
            </a:r>
          </a:p>
          <a:p>
            <a:pPr algn="just">
              <a:spcAft>
                <a:spcPts val="0"/>
              </a:spcAft>
            </a:pPr>
            <a:endParaRPr lang="en-IN" sz="1800" dirty="0">
              <a:latin typeface="Calibri" panose="020F0502020204030204" pitchFamily="34" charset="0"/>
            </a:endParaRPr>
          </a:p>
          <a:p>
            <a:pPr algn="just">
              <a:spcAft>
                <a:spcPts val="0"/>
              </a:spcAft>
            </a:pPr>
            <a:endParaRPr lang="en-IN" sz="1800" b="1" dirty="0">
              <a:latin typeface="Calibri" panose="020F0502020204030204" pitchFamily="34" charset="0"/>
            </a:endParaRPr>
          </a:p>
          <a:p>
            <a:pPr algn="just">
              <a:spcAft>
                <a:spcPts val="0"/>
              </a:spcAft>
            </a:pPr>
            <a:r>
              <a:rPr lang="en-IN" sz="1800" b="1" dirty="0">
                <a:latin typeface="Calibri" panose="020F0502020204030204" pitchFamily="34" charset="0"/>
              </a:rPr>
              <a:t>Flowmeter stands </a:t>
            </a:r>
            <a:r>
              <a:rPr lang="en-IN" sz="1800" dirty="0">
                <a:latin typeface="Calibri" panose="020F0502020204030204" pitchFamily="34" charset="0"/>
              </a:rPr>
              <a:t>consisting of from </a:t>
            </a:r>
            <a:r>
              <a:rPr lang="en-IN" sz="1800" b="1" dirty="0">
                <a:latin typeface="Calibri" panose="020F0502020204030204" pitchFamily="34" charset="0"/>
              </a:rPr>
              <a:t>two to five mounted meters </a:t>
            </a:r>
            <a:r>
              <a:rPr lang="en-IN" sz="1800" dirty="0">
                <a:latin typeface="Calibri" panose="020F0502020204030204" pitchFamily="34" charset="0"/>
              </a:rPr>
              <a:t>can be used. </a:t>
            </a:r>
          </a:p>
          <a:p>
            <a:pPr marL="285750" indent="-285750" algn="just">
              <a:spcAft>
                <a:spcPts val="0"/>
              </a:spcAft>
              <a:buFont typeface="Arial" panose="020B0604020202020204" pitchFamily="34" charset="0"/>
              <a:buChar char="•"/>
            </a:pPr>
            <a:r>
              <a:rPr lang="en-IN" sz="1800" dirty="0">
                <a:latin typeface="Calibri" panose="020F0502020204030204" pitchFamily="34" charset="0"/>
              </a:rPr>
              <a:t>This has advantage of being more familiar to clinical staff who are used to using flowmeters on cylinders and allows precise titration of flow to each individual patient (including down to 0.1 LPM). </a:t>
            </a:r>
          </a:p>
          <a:p>
            <a:endParaRPr lang="en-US" sz="1800" dirty="0">
              <a:latin typeface="Calibri" panose="020F0502020204030204" pitchFamily="34" charset="0"/>
            </a:endParaRPr>
          </a:p>
        </p:txBody>
      </p:sp>
      <p:pic>
        <p:nvPicPr>
          <p:cNvPr id="5" name="Graphic 4" descr="Badge 1 with solid fill">
            <a:extLst>
              <a:ext uri="{FF2B5EF4-FFF2-40B4-BE49-F238E27FC236}">
                <a16:creationId xmlns:a16="http://schemas.microsoft.com/office/drawing/2014/main" id="{914869D1-DA92-3F44-B6E5-E05DE708228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9526" y="1828800"/>
            <a:ext cx="404363" cy="404363"/>
          </a:xfrm>
          <a:prstGeom prst="rect">
            <a:avLst/>
          </a:prstGeom>
        </p:spPr>
      </p:pic>
      <p:pic>
        <p:nvPicPr>
          <p:cNvPr id="7" name="Graphic 6" descr="Badge with solid fill">
            <a:extLst>
              <a:ext uri="{FF2B5EF4-FFF2-40B4-BE49-F238E27FC236}">
                <a16:creationId xmlns:a16="http://schemas.microsoft.com/office/drawing/2014/main" id="{B43924B9-DF36-F345-88DD-5674E45A3269}"/>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9527" y="4513414"/>
            <a:ext cx="404363" cy="404363"/>
          </a:xfrm>
          <a:prstGeom prst="rect">
            <a:avLst/>
          </a:prstGeom>
        </p:spPr>
      </p:pic>
      <p:sp>
        <p:nvSpPr>
          <p:cNvPr id="6" name="Text Placeholder 2">
            <a:extLst>
              <a:ext uri="{FF2B5EF4-FFF2-40B4-BE49-F238E27FC236}">
                <a16:creationId xmlns:a16="http://schemas.microsoft.com/office/drawing/2014/main" id="{2CDBD312-C385-4CFB-B183-83E5D1792CAB}"/>
              </a:ext>
            </a:extLst>
          </p:cNvPr>
          <p:cNvSpPr>
            <a:spLocks noGrp="1"/>
          </p:cNvSpPr>
          <p:nvPr>
            <p:ph type="body" sz="quarter" idx="14"/>
          </p:nvPr>
        </p:nvSpPr>
        <p:spPr>
          <a:xfrm>
            <a:off x="914400" y="369782"/>
            <a:ext cx="7867025" cy="1303539"/>
          </a:xfrm>
        </p:spPr>
        <p:txBody>
          <a:bodyPr anchor="b">
            <a:normAutofit/>
          </a:bodyPr>
          <a:lstStyle/>
          <a:p>
            <a:pPr marL="0" indent="0" algn="ctr">
              <a:buNone/>
            </a:pPr>
            <a:r>
              <a:rPr lang="en-US" sz="3600" b="1" spc="-50" dirty="0">
                <a:solidFill>
                  <a:schemeClr val="accent2">
                    <a:lumMod val="75000"/>
                  </a:schemeClr>
                </a:solidFill>
                <a:latin typeface="Calibri" panose="020F0502020204030204" pitchFamily="34" charset="0"/>
                <a:ea typeface="+mj-ea"/>
                <a:cs typeface="+mj-cs"/>
              </a:rPr>
              <a:t>Oxygen Concentrators- Patient Delivery Consumables &amp; Accessories</a:t>
            </a:r>
          </a:p>
        </p:txBody>
      </p:sp>
    </p:spTree>
    <p:extLst>
      <p:ext uri="{BB962C8B-B14F-4D97-AF65-F5344CB8AC3E}">
        <p14:creationId xmlns:p14="http://schemas.microsoft.com/office/powerpoint/2010/main" val="3761275317"/>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52"/>
        <p:cNvGrpSpPr/>
        <p:nvPr/>
      </p:nvGrpSpPr>
      <p:grpSpPr>
        <a:xfrm>
          <a:off x="0" y="0"/>
          <a:ext cx="0" cy="0"/>
          <a:chOff x="0" y="0"/>
          <a:chExt cx="0" cy="0"/>
        </a:xfrm>
      </p:grpSpPr>
      <p:sp>
        <p:nvSpPr>
          <p:cNvPr id="553" name="Google Shape;553;p3"/>
          <p:cNvSpPr txBox="1"/>
          <p:nvPr/>
        </p:nvSpPr>
        <p:spPr>
          <a:xfrm>
            <a:off x="838200" y="617126"/>
            <a:ext cx="7467600" cy="1135474"/>
          </a:xfrm>
          <a:prstGeom prst="rect">
            <a:avLst/>
          </a:prstGeom>
          <a:noFill/>
          <a:ln>
            <a:noFill/>
          </a:ln>
        </p:spPr>
        <p:txBody>
          <a:bodyPr spcFirstLastPara="1" wrap="square" lIns="0" tIns="0" rIns="0" bIns="0" anchor="b" anchorCtr="0">
            <a:noAutofit/>
          </a:bodyPr>
          <a:lstStyle>
            <a:defPPr>
              <a:defRPr lang="en-US"/>
            </a:defPPr>
            <a:lvl1pPr eaLnBrk="1" fontAlgn="auto" hangingPunct="1">
              <a:lnSpc>
                <a:spcPct val="85000"/>
              </a:lnSpc>
              <a:spcAft>
                <a:spcPts val="0"/>
              </a:spcAft>
              <a:buClr>
                <a:schemeClr val="accent1"/>
              </a:buClr>
              <a:buSzPts val="3200"/>
              <a:defRPr sz="3200" b="1" spc="-50">
                <a:solidFill>
                  <a:schemeClr val="accent2">
                    <a:lumMod val="75000"/>
                  </a:schemeClr>
                </a:solidFill>
                <a:latin typeface="Gill Sans MT" panose="020B0502020104020203" pitchFamily="34" charset="0"/>
                <a:ea typeface="+mj-ea"/>
                <a:cs typeface="+mj-cs"/>
              </a:defRPr>
            </a:lvl1pPr>
          </a:lstStyle>
          <a:p>
            <a:pPr algn="ctr"/>
            <a:r>
              <a:rPr lang="en-US" sz="3600" dirty="0">
                <a:latin typeface="+mn-lt"/>
                <a:sym typeface="Arial"/>
              </a:rPr>
              <a:t>What is </a:t>
            </a:r>
            <a:r>
              <a:rPr lang="en-US" sz="3600" dirty="0">
                <a:latin typeface="+mn-lt"/>
              </a:rPr>
              <a:t>Medical Oxygen</a:t>
            </a:r>
            <a:r>
              <a:rPr lang="en-US" sz="3600" dirty="0">
                <a:latin typeface="+mn-lt"/>
                <a:sym typeface="Arial"/>
              </a:rPr>
              <a:t>?</a:t>
            </a:r>
          </a:p>
        </p:txBody>
      </p:sp>
      <p:sp>
        <p:nvSpPr>
          <p:cNvPr id="555" name="Google Shape;555;p3"/>
          <p:cNvSpPr txBox="1">
            <a:spLocks noGrp="1"/>
          </p:cNvSpPr>
          <p:nvPr>
            <p:ph type="sldNum" idx="12"/>
          </p:nvPr>
        </p:nvSpPr>
        <p:spPr>
          <a:xfrm>
            <a:off x="571500" y="5702738"/>
            <a:ext cx="135862" cy="123444"/>
          </a:xfrm>
          <a:prstGeom prst="rect">
            <a:avLst/>
          </a:prstGeom>
          <a:noFill/>
          <a:ln>
            <a:noFill/>
          </a:ln>
        </p:spPr>
        <p:txBody>
          <a:bodyPr spcFirstLastPara="1" vert="horz" wrap="square" lIns="0" tIns="0" rIns="0" bIns="0" numCol="1" anchor="ctr" anchorCtr="0" compatLnSpc="1">
            <a:prstTxWarp prst="textNoShape">
              <a:avLst/>
            </a:prstTxWarp>
            <a:noAutofit/>
          </a:bodyPr>
          <a:lstStyle/>
          <a:p>
            <a:fld id="{00000000-1234-1234-1234-123412341234}" type="slidenum">
              <a:rPr lang="en-US"/>
              <a:pPr/>
              <a:t>7</a:t>
            </a:fld>
            <a:endParaRPr/>
          </a:p>
        </p:txBody>
      </p:sp>
      <p:sp>
        <p:nvSpPr>
          <p:cNvPr id="556" name="Google Shape;556;p3"/>
          <p:cNvSpPr txBox="1"/>
          <p:nvPr/>
        </p:nvSpPr>
        <p:spPr>
          <a:xfrm>
            <a:off x="751562" y="1752600"/>
            <a:ext cx="5039637" cy="4648200"/>
          </a:xfrm>
          <a:prstGeom prst="rect">
            <a:avLst/>
          </a:prstGeom>
          <a:noFill/>
          <a:ln>
            <a:noFill/>
          </a:ln>
        </p:spPr>
        <p:txBody>
          <a:bodyPr spcFirstLastPara="1" wrap="square" lIns="0" tIns="0" rIns="0" bIns="0" anchor="t" anchorCtr="0">
            <a:noAutofit/>
          </a:bodyPr>
          <a:lstStyle/>
          <a:p>
            <a:pPr marL="381000" indent="-285750" algn="just">
              <a:lnSpc>
                <a:spcPct val="150000"/>
              </a:lnSpc>
              <a:spcBef>
                <a:spcPts val="0"/>
              </a:spcBef>
              <a:spcAft>
                <a:spcPts val="0"/>
              </a:spcAft>
              <a:buClr>
                <a:schemeClr val="accent2"/>
              </a:buClr>
              <a:buSzPts val="1600"/>
              <a:buFont typeface="Arial" panose="020B0604020202020204" pitchFamily="34" charset="0"/>
              <a:buChar char="•"/>
            </a:pPr>
            <a:r>
              <a:rPr lang="en-US" sz="2000" b="1" dirty="0">
                <a:latin typeface="+mn-lt"/>
              </a:rPr>
              <a:t>Medical oxygen</a:t>
            </a:r>
            <a:r>
              <a:rPr lang="en-US" sz="2000" dirty="0">
                <a:highlight>
                  <a:srgbClr val="FFFFFF"/>
                </a:highlight>
                <a:latin typeface="+mn-lt"/>
              </a:rPr>
              <a:t> is high purity oxygen that is used for medical treatments and is developed for use in the human body.</a:t>
            </a:r>
            <a:endParaRPr sz="2000" dirty="0">
              <a:highlight>
                <a:srgbClr val="FFFFFF"/>
              </a:highlight>
              <a:latin typeface="+mn-lt"/>
            </a:endParaRPr>
          </a:p>
          <a:p>
            <a:pPr marL="381000" indent="-285750" algn="just">
              <a:lnSpc>
                <a:spcPct val="150000"/>
              </a:lnSpc>
              <a:spcBef>
                <a:spcPts val="0"/>
              </a:spcBef>
              <a:spcAft>
                <a:spcPts val="0"/>
              </a:spcAft>
              <a:buClr>
                <a:schemeClr val="accent2"/>
              </a:buClr>
              <a:buSzPts val="1600"/>
              <a:buFont typeface="Arial" panose="020B0604020202020204" pitchFamily="34" charset="0"/>
              <a:buChar char="•"/>
            </a:pPr>
            <a:r>
              <a:rPr lang="en-GB" sz="2000" b="0" i="0" strike="noStrike" baseline="0" dirty="0">
                <a:latin typeface="+mn-lt"/>
              </a:rPr>
              <a:t>Oxygen is the </a:t>
            </a:r>
            <a:r>
              <a:rPr lang="en-GB" sz="2000" b="1" i="0" strike="noStrike" baseline="0" dirty="0">
                <a:latin typeface="+mn-lt"/>
              </a:rPr>
              <a:t>most important and essential </a:t>
            </a:r>
            <a:r>
              <a:rPr lang="en-GB" sz="2000" b="0" i="0" strike="noStrike" baseline="0" dirty="0">
                <a:latin typeface="+mn-lt"/>
              </a:rPr>
              <a:t>of the drugs for saving the lives of Covid-19 </a:t>
            </a:r>
            <a:r>
              <a:rPr lang="en-IN" sz="2000" b="0" i="0" strike="noStrike" baseline="0" dirty="0">
                <a:latin typeface="+mn-lt"/>
              </a:rPr>
              <a:t>patients.</a:t>
            </a:r>
            <a:endParaRPr lang="en-US" sz="2000" dirty="0">
              <a:latin typeface="+mn-lt"/>
            </a:endParaRPr>
          </a:p>
          <a:p>
            <a:pPr marL="381000" indent="-285750" algn="just">
              <a:lnSpc>
                <a:spcPct val="150000"/>
              </a:lnSpc>
              <a:spcBef>
                <a:spcPts val="0"/>
              </a:spcBef>
              <a:spcAft>
                <a:spcPts val="0"/>
              </a:spcAft>
              <a:buClr>
                <a:schemeClr val="accent2"/>
              </a:buClr>
              <a:buSzPts val="1600"/>
              <a:buFont typeface="Arial" panose="020B0604020202020204" pitchFamily="34" charset="0"/>
              <a:buChar char="•"/>
            </a:pPr>
            <a:r>
              <a:rPr lang="en-US" sz="2000" dirty="0">
                <a:latin typeface="+mn-lt"/>
              </a:rPr>
              <a:t>The </a:t>
            </a:r>
            <a:r>
              <a:rPr lang="en-US" sz="2000" b="1" dirty="0">
                <a:latin typeface="+mn-lt"/>
              </a:rPr>
              <a:t>COVID-19 pandemic</a:t>
            </a:r>
            <a:r>
              <a:rPr lang="en-US" sz="2000" dirty="0">
                <a:latin typeface="+mn-lt"/>
              </a:rPr>
              <a:t> has accelerated global demand for oxygen and made the delivery of oxygen supplies more urgent than ever. </a:t>
            </a:r>
          </a:p>
        </p:txBody>
      </p:sp>
      <p:pic>
        <p:nvPicPr>
          <p:cNvPr id="557" name="Google Shape;557;p3"/>
          <p:cNvPicPr preferRelativeResize="0"/>
          <p:nvPr/>
        </p:nvPicPr>
        <p:blipFill>
          <a:blip r:embed="rId3">
            <a:clrChange>
              <a:clrFrom>
                <a:srgbClr val="4348D7"/>
              </a:clrFrom>
              <a:clrTo>
                <a:srgbClr val="4348D7">
                  <a:alpha val="0"/>
                </a:srgbClr>
              </a:clrTo>
            </a:clrChange>
            <a:alphaModFix/>
          </a:blip>
          <a:stretch>
            <a:fillRect/>
          </a:stretch>
        </p:blipFill>
        <p:spPr>
          <a:xfrm>
            <a:off x="5638800" y="2194019"/>
            <a:ext cx="2743200" cy="3570441"/>
          </a:xfrm>
          <a:prstGeom prst="rect">
            <a:avLst/>
          </a:prstGeom>
          <a:noFill/>
          <a:ln>
            <a:noFill/>
          </a:ln>
        </p:spPr>
      </p:pic>
    </p:spTree>
  </p:cSld>
  <p:clrMapOvr>
    <a:masterClrMapping/>
  </p:clrMapOvr>
  <p:transition spd="med">
    <p:fade/>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DBC854-FC2E-504A-ADAA-5C69CE29577F}"/>
              </a:ext>
            </a:extLst>
          </p:cNvPr>
          <p:cNvSpPr/>
          <p:nvPr/>
        </p:nvSpPr>
        <p:spPr>
          <a:xfrm>
            <a:off x="838200" y="1752601"/>
            <a:ext cx="4246077" cy="4247317"/>
          </a:xfrm>
          <a:prstGeom prst="rect">
            <a:avLst/>
          </a:prstGeom>
        </p:spPr>
        <p:txBody>
          <a:bodyPr wrap="square">
            <a:spAutoFit/>
          </a:bodyPr>
          <a:lstStyle/>
          <a:p>
            <a:pPr marL="257175" indent="-257175" algn="just" defTabSz="685800" eaLnBrk="1" fontAlgn="auto" hangingPunct="1">
              <a:spcBef>
                <a:spcPts val="0"/>
              </a:spcBef>
              <a:spcAft>
                <a:spcPts val="0"/>
              </a:spcAft>
              <a:buClr>
                <a:schemeClr val="accent2"/>
              </a:buClr>
              <a:buFont typeface="Arial" panose="020B0604020202020204" pitchFamily="34" charset="0"/>
              <a:buChar char="•"/>
              <a:defRPr/>
            </a:pPr>
            <a:r>
              <a:rPr lang="en-IN" dirty="0">
                <a:solidFill>
                  <a:prstClr val="black"/>
                </a:solidFill>
                <a:latin typeface="Calibri" panose="020F0502020204030204" pitchFamily="34" charset="0"/>
                <a:ea typeface="+mn-ea"/>
              </a:rPr>
              <a:t>A </a:t>
            </a:r>
            <a:r>
              <a:rPr lang="en-IN" b="1" dirty="0">
                <a:solidFill>
                  <a:prstClr val="black"/>
                </a:solidFill>
                <a:latin typeface="Calibri" panose="020F0502020204030204" pitchFamily="34" charset="0"/>
                <a:ea typeface="+mn-ea"/>
              </a:rPr>
              <a:t>four-way flow splitter assembly </a:t>
            </a:r>
            <a:r>
              <a:rPr lang="en-IN" dirty="0">
                <a:solidFill>
                  <a:prstClr val="black"/>
                </a:solidFill>
                <a:latin typeface="Calibri" panose="020F0502020204030204" pitchFamily="34" charset="0"/>
                <a:ea typeface="+mn-ea"/>
              </a:rPr>
              <a:t>has been used as a method to split flow. </a:t>
            </a:r>
          </a:p>
          <a:p>
            <a:pPr marL="257175" indent="-257175" algn="just" defTabSz="685800" eaLnBrk="1" fontAlgn="auto" hangingPunct="1">
              <a:spcBef>
                <a:spcPts val="0"/>
              </a:spcBef>
              <a:spcAft>
                <a:spcPts val="0"/>
              </a:spcAft>
              <a:buClr>
                <a:schemeClr val="accent2"/>
              </a:buClr>
              <a:buFont typeface="Arial" panose="020B0604020202020204" pitchFamily="34" charset="0"/>
              <a:buChar char="•"/>
              <a:defRPr/>
            </a:pPr>
            <a:endParaRPr lang="en-IN" dirty="0">
              <a:solidFill>
                <a:prstClr val="black"/>
              </a:solidFill>
              <a:latin typeface="Calibri" panose="020F0502020204030204" pitchFamily="34" charset="0"/>
              <a:ea typeface="+mn-ea"/>
            </a:endParaRPr>
          </a:p>
          <a:p>
            <a:pPr marL="257175" indent="-257175" algn="just" defTabSz="685800" eaLnBrk="1" fontAlgn="auto" hangingPunct="1">
              <a:spcBef>
                <a:spcPts val="0"/>
              </a:spcBef>
              <a:spcAft>
                <a:spcPts val="0"/>
              </a:spcAft>
              <a:buClr>
                <a:schemeClr val="accent2"/>
              </a:buClr>
              <a:buFont typeface="Arial" panose="020B0604020202020204" pitchFamily="34" charset="0"/>
              <a:buChar char="•"/>
              <a:defRPr/>
            </a:pPr>
            <a:r>
              <a:rPr lang="en-IN" dirty="0">
                <a:solidFill>
                  <a:prstClr val="black"/>
                </a:solidFill>
                <a:latin typeface="Calibri" panose="020F0502020204030204" pitchFamily="34" charset="0"/>
                <a:ea typeface="+mn-ea"/>
              </a:rPr>
              <a:t>It consists of a </a:t>
            </a:r>
            <a:r>
              <a:rPr lang="en-IN" b="1" dirty="0">
                <a:solidFill>
                  <a:prstClr val="black"/>
                </a:solidFill>
                <a:latin typeface="Calibri" panose="020F0502020204030204" pitchFamily="34" charset="0"/>
                <a:ea typeface="+mn-ea"/>
              </a:rPr>
              <a:t>four-way flow splitter block, nozzles </a:t>
            </a:r>
            <a:r>
              <a:rPr lang="en-IN" dirty="0">
                <a:solidFill>
                  <a:prstClr val="black"/>
                </a:solidFill>
                <a:latin typeface="Calibri" panose="020F0502020204030204" pitchFamily="34" charset="0"/>
                <a:ea typeface="+mn-ea"/>
              </a:rPr>
              <a:t>for 0.5, 1 and 2 LPM and </a:t>
            </a:r>
            <a:r>
              <a:rPr lang="en-IN" b="1" dirty="0">
                <a:solidFill>
                  <a:prstClr val="black"/>
                </a:solidFill>
                <a:latin typeface="Calibri" panose="020F0502020204030204" pitchFamily="34" charset="0"/>
                <a:ea typeface="+mn-ea"/>
              </a:rPr>
              <a:t>blanking plugs.</a:t>
            </a:r>
          </a:p>
          <a:p>
            <a:pPr marL="257175" indent="-257175" algn="just" defTabSz="685800" eaLnBrk="1" fontAlgn="auto" hangingPunct="1">
              <a:spcBef>
                <a:spcPts val="0"/>
              </a:spcBef>
              <a:spcAft>
                <a:spcPts val="0"/>
              </a:spcAft>
              <a:buClr>
                <a:schemeClr val="accent2"/>
              </a:buClr>
              <a:buFont typeface="Arial" panose="020B0604020202020204" pitchFamily="34" charset="0"/>
              <a:buChar char="•"/>
              <a:defRPr/>
            </a:pPr>
            <a:endParaRPr lang="en-IN" dirty="0">
              <a:solidFill>
                <a:prstClr val="black"/>
              </a:solidFill>
              <a:latin typeface="Calibri" panose="020F0502020204030204" pitchFamily="34" charset="0"/>
              <a:ea typeface="+mn-ea"/>
            </a:endParaRPr>
          </a:p>
          <a:p>
            <a:pPr marL="257175" indent="-257175" algn="just" defTabSz="685800" eaLnBrk="1" fontAlgn="auto" hangingPunct="1">
              <a:spcBef>
                <a:spcPts val="0"/>
              </a:spcBef>
              <a:spcAft>
                <a:spcPts val="0"/>
              </a:spcAft>
              <a:buClr>
                <a:schemeClr val="accent2"/>
              </a:buClr>
              <a:buFont typeface="Arial" panose="020B0604020202020204" pitchFamily="34" charset="0"/>
              <a:buChar char="•"/>
              <a:defRPr/>
            </a:pPr>
            <a:r>
              <a:rPr lang="en-IN" dirty="0">
                <a:solidFill>
                  <a:prstClr val="black"/>
                </a:solidFill>
                <a:latin typeface="Calibri" panose="020F0502020204030204" pitchFamily="34" charset="0"/>
                <a:ea typeface="+mn-ea"/>
              </a:rPr>
              <a:t>Flow splitters are </a:t>
            </a:r>
            <a:r>
              <a:rPr lang="en-IN" b="1" dirty="0">
                <a:solidFill>
                  <a:prstClr val="black"/>
                </a:solidFill>
                <a:latin typeface="Calibri" panose="020F0502020204030204" pitchFamily="34" charset="0"/>
                <a:ea typeface="+mn-ea"/>
              </a:rPr>
              <a:t>less preferred </a:t>
            </a:r>
            <a:r>
              <a:rPr lang="en-IN" dirty="0">
                <a:solidFill>
                  <a:prstClr val="black"/>
                </a:solidFill>
                <a:latin typeface="Calibri" panose="020F0502020204030204" pitchFamily="34" charset="0"/>
                <a:ea typeface="+mn-ea"/>
              </a:rPr>
              <a:t>than flowmeter stands or built-in paediatric flowmeters, since the corresponding </a:t>
            </a:r>
            <a:r>
              <a:rPr lang="en-IN" b="1" dirty="0">
                <a:solidFill>
                  <a:prstClr val="black"/>
                </a:solidFill>
                <a:latin typeface="Calibri" panose="020F0502020204030204" pitchFamily="34" charset="0"/>
                <a:ea typeface="+mn-ea"/>
              </a:rPr>
              <a:t>blanking plugs are very easily lost or misplaced. </a:t>
            </a:r>
          </a:p>
          <a:p>
            <a:pPr marL="257175" indent="-257175" algn="just" defTabSz="685800" eaLnBrk="1" fontAlgn="auto" hangingPunct="1">
              <a:spcBef>
                <a:spcPts val="0"/>
              </a:spcBef>
              <a:spcAft>
                <a:spcPts val="0"/>
              </a:spcAft>
              <a:buClr>
                <a:schemeClr val="accent2"/>
              </a:buClr>
              <a:buFont typeface="Arial" panose="020B0604020202020204" pitchFamily="34" charset="0"/>
              <a:buChar char="•"/>
              <a:defRPr/>
            </a:pPr>
            <a:endParaRPr lang="en-IN" dirty="0">
              <a:solidFill>
                <a:prstClr val="black"/>
              </a:solidFill>
              <a:latin typeface="Calibri" panose="020F0502020204030204" pitchFamily="34" charset="0"/>
              <a:ea typeface="+mn-ea"/>
            </a:endParaRPr>
          </a:p>
          <a:p>
            <a:pPr marL="257175" indent="-257175" algn="just" defTabSz="685800" eaLnBrk="1" fontAlgn="auto" hangingPunct="1">
              <a:spcBef>
                <a:spcPts val="0"/>
              </a:spcBef>
              <a:spcAft>
                <a:spcPts val="0"/>
              </a:spcAft>
              <a:buClr>
                <a:schemeClr val="accent2"/>
              </a:buClr>
              <a:buFont typeface="Arial" panose="020B0604020202020204" pitchFamily="34" charset="0"/>
              <a:buChar char="•"/>
              <a:defRPr/>
            </a:pPr>
            <a:r>
              <a:rPr lang="en-IN" dirty="0">
                <a:solidFill>
                  <a:prstClr val="black"/>
                </a:solidFill>
                <a:latin typeface="Calibri" panose="020F0502020204030204" pitchFamily="34" charset="0"/>
                <a:ea typeface="+mn-ea"/>
              </a:rPr>
              <a:t>Flow splitters </a:t>
            </a:r>
            <a:r>
              <a:rPr lang="en-IN" b="1" dirty="0">
                <a:solidFill>
                  <a:prstClr val="black"/>
                </a:solidFill>
                <a:latin typeface="Calibri" panose="020F0502020204030204" pitchFamily="34" charset="0"/>
                <a:ea typeface="+mn-ea"/>
              </a:rPr>
              <a:t>use nozzles</a:t>
            </a:r>
            <a:r>
              <a:rPr lang="en-IN" dirty="0">
                <a:solidFill>
                  <a:prstClr val="black"/>
                </a:solidFill>
                <a:latin typeface="Calibri" panose="020F0502020204030204" pitchFamily="34" charset="0"/>
                <a:ea typeface="+mn-ea"/>
              </a:rPr>
              <a:t> that deliver oxygen at a single fixed rate. </a:t>
            </a:r>
          </a:p>
        </p:txBody>
      </p:sp>
      <p:grpSp>
        <p:nvGrpSpPr>
          <p:cNvPr id="4" name="Group 3">
            <a:extLst>
              <a:ext uri="{FF2B5EF4-FFF2-40B4-BE49-F238E27FC236}">
                <a16:creationId xmlns:a16="http://schemas.microsoft.com/office/drawing/2014/main" id="{B8C417B0-54A2-4CF0-A94F-85AFD1EB691D}"/>
              </a:ext>
            </a:extLst>
          </p:cNvPr>
          <p:cNvGrpSpPr/>
          <p:nvPr/>
        </p:nvGrpSpPr>
        <p:grpSpPr>
          <a:xfrm>
            <a:off x="5219109" y="2207173"/>
            <a:ext cx="3810000" cy="3499827"/>
            <a:chOff x="5219109" y="1752600"/>
            <a:chExt cx="3810000" cy="3499827"/>
          </a:xfrm>
          <a:solidFill>
            <a:schemeClr val="accent2">
              <a:lumMod val="75000"/>
            </a:schemeClr>
          </a:solidFill>
        </p:grpSpPr>
        <p:sp>
          <p:nvSpPr>
            <p:cNvPr id="5" name="Rectangle 4">
              <a:extLst>
                <a:ext uri="{FF2B5EF4-FFF2-40B4-BE49-F238E27FC236}">
                  <a16:creationId xmlns:a16="http://schemas.microsoft.com/office/drawing/2014/main" id="{3ED975C3-6DAD-5444-8277-519A7EEFF4F4}"/>
                </a:ext>
              </a:extLst>
            </p:cNvPr>
            <p:cNvSpPr/>
            <p:nvPr/>
          </p:nvSpPr>
          <p:spPr>
            <a:xfrm>
              <a:off x="5219109" y="1752600"/>
              <a:ext cx="3810000" cy="3499827"/>
            </a:xfrm>
            <a:prstGeom prst="rect">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Arial"/>
              </a:endParaRPr>
            </a:p>
          </p:txBody>
        </p:sp>
        <p:pic>
          <p:nvPicPr>
            <p:cNvPr id="6" name="Picture 5" descr="Diagram, engineering drawing&#10;&#10;Description automatically generated">
              <a:extLst>
                <a:ext uri="{FF2B5EF4-FFF2-40B4-BE49-F238E27FC236}">
                  <a16:creationId xmlns:a16="http://schemas.microsoft.com/office/drawing/2014/main" id="{89BC7B82-3657-3C4A-9010-EA6B39E8CA4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31997" y="1958448"/>
              <a:ext cx="3384225" cy="2708849"/>
            </a:xfrm>
            <a:prstGeom prst="rect">
              <a:avLst/>
            </a:prstGeom>
            <a:grpFill/>
          </p:spPr>
        </p:pic>
        <p:sp>
          <p:nvSpPr>
            <p:cNvPr id="2" name="TextBox 1">
              <a:extLst>
                <a:ext uri="{FF2B5EF4-FFF2-40B4-BE49-F238E27FC236}">
                  <a16:creationId xmlns:a16="http://schemas.microsoft.com/office/drawing/2014/main" id="{6420E734-50A3-7140-B306-CFC85C69CA2E}"/>
                </a:ext>
              </a:extLst>
            </p:cNvPr>
            <p:cNvSpPr txBox="1"/>
            <p:nvPr/>
          </p:nvSpPr>
          <p:spPr>
            <a:xfrm>
              <a:off x="5612458" y="4748653"/>
              <a:ext cx="3281819" cy="448367"/>
            </a:xfrm>
            <a:prstGeom prst="rect">
              <a:avLst/>
            </a:prstGeom>
            <a:grpFill/>
          </p:spPr>
          <p:txBody>
            <a:bodyPr wrap="square" lIns="0" tIns="0" rIns="0" bIns="0" rtlCol="0">
              <a:noAutofit/>
            </a:bodyPr>
            <a:lstStyle/>
            <a:p>
              <a:pPr algn="ctr" defTabSz="685800" eaLnBrk="1" fontAlgn="auto" hangingPunct="1">
                <a:spcBef>
                  <a:spcPts val="0"/>
                </a:spcBef>
                <a:spcAft>
                  <a:spcPts val="0"/>
                </a:spcAft>
                <a:defRPr/>
              </a:pPr>
              <a:r>
                <a:rPr lang="en-US" sz="1500" dirty="0">
                  <a:solidFill>
                    <a:prstClr val="white"/>
                  </a:solidFill>
                  <a:latin typeface="Arial"/>
                  <a:ea typeface="+mn-ea"/>
                </a:rPr>
                <a:t>Flow Splitter, Nozzles and Blanking Plugs</a:t>
              </a:r>
            </a:p>
          </p:txBody>
        </p:sp>
      </p:grpSp>
      <p:sp>
        <p:nvSpPr>
          <p:cNvPr id="7" name="Text Placeholder 2">
            <a:extLst>
              <a:ext uri="{FF2B5EF4-FFF2-40B4-BE49-F238E27FC236}">
                <a16:creationId xmlns:a16="http://schemas.microsoft.com/office/drawing/2014/main" id="{E1519DE7-B3E8-420A-9F64-5D30080F1C1D}"/>
              </a:ext>
            </a:extLst>
          </p:cNvPr>
          <p:cNvSpPr txBox="1">
            <a:spLocks/>
          </p:cNvSpPr>
          <p:nvPr/>
        </p:nvSpPr>
        <p:spPr bwMode="auto">
          <a:xfrm>
            <a:off x="621089" y="503548"/>
            <a:ext cx="7901822" cy="118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lvl1pPr marL="68263" indent="-68263" algn="l" defTabSz="685800" rtl="0" eaLnBrk="0" fontAlgn="base" hangingPunct="0">
              <a:lnSpc>
                <a:spcPts val="3000"/>
              </a:lnSpc>
              <a:spcBef>
                <a:spcPts val="900"/>
              </a:spcBef>
              <a:spcAft>
                <a:spcPts val="1350"/>
              </a:spcAft>
              <a:buClr>
                <a:schemeClr val="accent1"/>
              </a:buClr>
              <a:buSzPct val="100000"/>
              <a:buFont typeface="Calibri" panose="020F0502020204030204" pitchFamily="34" charset="0"/>
              <a:buChar char=" "/>
              <a:defRPr sz="2400" kern="1200" baseline="0">
                <a:solidFill>
                  <a:schemeClr val="accent1"/>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0" indent="0" algn="ctr">
              <a:buFont typeface="Calibri" panose="020F0502020204030204" pitchFamily="34" charset="0"/>
              <a:buNone/>
            </a:pPr>
            <a:r>
              <a:rPr lang="en-US" sz="3600" b="1" spc="-50" dirty="0">
                <a:solidFill>
                  <a:schemeClr val="accent2">
                    <a:lumMod val="75000"/>
                  </a:schemeClr>
                </a:solidFill>
                <a:latin typeface="Calibri" panose="020F0502020204030204" pitchFamily="34" charset="0"/>
                <a:ea typeface="+mj-ea"/>
                <a:cs typeface="+mj-cs"/>
              </a:rPr>
              <a:t>Oxygen Concentrators- Patient Delivery Consumables &amp; Accessories</a:t>
            </a:r>
          </a:p>
        </p:txBody>
      </p:sp>
    </p:spTree>
    <p:extLst>
      <p:ext uri="{BB962C8B-B14F-4D97-AF65-F5344CB8AC3E}">
        <p14:creationId xmlns:p14="http://schemas.microsoft.com/office/powerpoint/2010/main" val="1257752808"/>
      </p:ext>
    </p:extLst>
  </p:cSld>
  <p:clrMapOvr>
    <a:masterClrMapping/>
  </p:clrMapOvr>
  <p:transition spd="med">
    <p:fade/>
  </p:transition>
</p:sld>
</file>

<file path=ppt/slides/slide71.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pic>
        <p:nvPicPr>
          <p:cNvPr id="54" name="Object 53"/>
          <p:cNvPicPr>
            <a:picLocks noChangeAspect="1"/>
          </p:cNvPicPr>
          <p:nvPr/>
        </p:nvPicPr>
        <p:blipFill>
          <a:blip r:embed="rId5"/>
          <a:srcRect/>
          <a:stretch>
            <a:fillRect/>
          </a:stretch>
        </p:blipFill>
        <p:spPr bwMode="auto">
          <a:xfrm>
            <a:off x="1191" y="858441"/>
            <a:ext cx="1191" cy="1191"/>
          </a:xfrm>
          <a:prstGeom prst="rect"/>
          <a:noFill/>
        </p:spPr>
      </p:pic>
      <p:sp>
        <p:nvSpPr>
          <p:cNvPr id="35" name="Text Placeholder 1">
            <a:extLst>
              <a:ext uri="{FF2B5EF4-FFF2-40B4-BE49-F238E27FC236}">
                <a16:creationId xmlns:a16="http://schemas.microsoft.com/office/drawing/2014/main" id="{0A0FADF1-DAE8-4FFE-8752-168E9F404119}"/>
              </a:ext>
            </a:extLst>
          </p:cNvPr>
          <p:cNvSpPr txBox="1">
            <a:spLocks/>
          </p:cNvSpPr>
          <p:nvPr/>
        </p:nvSpPr>
        <p:spPr>
          <a:xfrm>
            <a:off x="559732" y="346710"/>
            <a:ext cx="8024533" cy="1405890"/>
          </a:xfrm>
          <a:prstGeom prst="rect">
            <a:avLst/>
          </a:prstGeom>
        </p:spPr>
        <p:txBody>
          <a:bodyPr anchor="b" bIns="0" lIns="0" rIns="0" rtlCol="0" tIns="0" vert="horz">
            <a:noAutofit/>
          </a:bodyPr>
          <a:lstStyle>
            <a:lvl1pPr algn="l" defTabSz="609585" eaLnBrk="1" fontAlgn="base" hangingPunct="1" rtl="0">
              <a:spcBef>
                <a:spcPts val="0"/>
              </a:spcBef>
              <a:spcAft>
                <a:spcPts val="1800"/>
              </a:spcAft>
              <a:buFont charset="0" panose="020B0604020202020204" pitchFamily="34" typeface="Arial"/>
              <a:defRPr baseline="0" kern="1200" sz="3200">
                <a:solidFill>
                  <a:schemeClr val="accent1"/>
                </a:solidFill>
                <a:latin charset="0" panose="020B0604020202020204" pitchFamily="34" typeface="Arial"/>
                <a:ea charset="0" panose="020B0604020202020204" pitchFamily="34" typeface="Arial"/>
                <a:cs charset="0" panose="020B0604020202020204" pitchFamily="34" typeface="Arial"/>
              </a:defRPr>
            </a:lvl1pPr>
            <a:lvl2pPr algn="l" defTabSz="609585" eaLnBrk="1" fontAlgn="base" hangingPunct="1" indent="-285750" marL="895335" rtl="0">
              <a:spcBef>
                <a:spcPts val="0"/>
              </a:spcBef>
              <a:spcAft>
                <a:spcPts val="600"/>
              </a:spcAft>
              <a:buFont charset="0" panose="020B0604020202020204" pitchFamily="34" typeface="Arial"/>
              <a:buChar char="•"/>
              <a:defRPr baseline="0" kern="1200" sz="1600">
                <a:solidFill>
                  <a:schemeClr val="tx1"/>
                </a:solidFill>
                <a:latin charset="0" panose="020B0604020202020204" pitchFamily="34" typeface="Arial"/>
                <a:ea charset="0" panose="020B0604020202020204" pitchFamily="34" typeface="Arial"/>
                <a:cs charset="0" panose="020B0604020202020204" pitchFamily="34" typeface="Arial"/>
              </a:defRPr>
            </a:lvl2pPr>
            <a:lvl3pPr algn="l" defTabSz="609585" eaLnBrk="1" fontAlgn="base" hangingPunct="1" indent="-285750" marL="1504920" rtl="0">
              <a:spcBef>
                <a:spcPct val="0"/>
              </a:spcBef>
              <a:spcAft>
                <a:spcPts val="600"/>
              </a:spcAft>
              <a:buFont charset="0" panose="02070309020205020404" pitchFamily="49" typeface="Courier New"/>
              <a:buChar char="o"/>
              <a:defRPr kern="1200" sz="1600">
                <a:solidFill>
                  <a:schemeClr val="tx1"/>
                </a:solidFill>
                <a:latin charset="0" panose="020B0604020202020204" pitchFamily="34" typeface="Arial"/>
                <a:ea charset="0" panose="020B0604020202020204" pitchFamily="34" typeface="Arial"/>
                <a:cs charset="0" panose="020B0604020202020204" pitchFamily="34" typeface="Arial"/>
              </a:defRPr>
            </a:lvl3pPr>
            <a:lvl4pPr algn="l" defTabSz="609585" eaLnBrk="1" fontAlgn="base" hangingPunct="1" marL="1828754" rtl="0">
              <a:spcBef>
                <a:spcPct val="20000"/>
              </a:spcBef>
              <a:spcAft>
                <a:spcPts val="600"/>
              </a:spcAft>
              <a:buFont charset="0" panose="020B0604020202020204" pitchFamily="34" typeface="Arial"/>
              <a:defRPr kern="1200" sz="1600">
                <a:solidFill>
                  <a:schemeClr val="tx1"/>
                </a:solidFill>
                <a:latin charset="0" panose="020B0604020202020204" pitchFamily="34" typeface="Arial"/>
                <a:ea charset="0" panose="020B0604020202020204" pitchFamily="34" typeface="Arial"/>
                <a:cs charset="0" panose="020B0604020202020204" pitchFamily="34" typeface="Arial"/>
              </a:defRPr>
            </a:lvl4pPr>
            <a:lvl5pPr algn="l" defTabSz="609585" eaLnBrk="1" fontAlgn="base" hangingPunct="1" marL="2438339" rtl="0">
              <a:spcBef>
                <a:spcPct val="20000"/>
              </a:spcBef>
              <a:spcAft>
                <a:spcPts val="600"/>
              </a:spcAft>
              <a:buFont charset="0" panose="020B0604020202020204" pitchFamily="34" typeface="Arial"/>
              <a:defRPr kern="1200" sz="1600">
                <a:solidFill>
                  <a:schemeClr val="tx1"/>
                </a:solidFill>
                <a:latin charset="0" panose="020B0604020202020204" pitchFamily="34" typeface="Arial"/>
                <a:ea charset="0" panose="020B0604020202020204" pitchFamily="34" typeface="Arial"/>
                <a:cs charset="0" panose="020B0604020202020204" pitchFamily="34" typeface="Arial"/>
              </a:defRPr>
            </a:lvl5pPr>
            <a:lvl6pPr algn="l" defTabSz="609585" eaLnBrk="1" hangingPunct="1" indent="-304792" latinLnBrk="0" marL="3352716" rtl="0">
              <a:spcBef>
                <a:spcPct val="20000"/>
              </a:spcBef>
              <a:buFont typeface="Arial"/>
              <a:buChar char="•"/>
              <a:defRPr kern="1200" sz="2667">
                <a:solidFill>
                  <a:schemeClr val="tx1"/>
                </a:solidFill>
                <a:latin typeface="+mn-lt"/>
                <a:ea typeface="+mn-ea"/>
                <a:cs typeface="+mn-cs"/>
              </a:defRPr>
            </a:lvl6pPr>
            <a:lvl7pPr algn="l" defTabSz="609585" eaLnBrk="1" hangingPunct="1" indent="-304792" latinLnBrk="0" marL="3962301" rtl="0">
              <a:spcBef>
                <a:spcPct val="20000"/>
              </a:spcBef>
              <a:buFont typeface="Arial"/>
              <a:buChar char="•"/>
              <a:defRPr kern="1200" sz="2667">
                <a:solidFill>
                  <a:schemeClr val="tx1"/>
                </a:solidFill>
                <a:latin typeface="+mn-lt"/>
                <a:ea typeface="+mn-ea"/>
                <a:cs typeface="+mn-cs"/>
              </a:defRPr>
            </a:lvl7pPr>
            <a:lvl8pPr algn="l" defTabSz="609585" eaLnBrk="1" hangingPunct="1" indent="-304792" latinLnBrk="0" marL="4571886" rtl="0">
              <a:spcBef>
                <a:spcPct val="20000"/>
              </a:spcBef>
              <a:buFont typeface="Arial"/>
              <a:buChar char="•"/>
              <a:defRPr kern="1200" sz="2667">
                <a:solidFill>
                  <a:schemeClr val="tx1"/>
                </a:solidFill>
                <a:latin typeface="+mn-lt"/>
                <a:ea typeface="+mn-ea"/>
                <a:cs typeface="+mn-cs"/>
              </a:defRPr>
            </a:lvl8pPr>
            <a:lvl9pPr algn="l" defTabSz="609585" eaLnBrk="1" hangingPunct="1" indent="-304792" latinLnBrk="0" marL="5181470" rtl="0">
              <a:spcBef>
                <a:spcPct val="20000"/>
              </a:spcBef>
              <a:buFont typeface="Arial"/>
              <a:buChar char="•"/>
              <a:defRPr kern="1200" sz="2667">
                <a:solidFill>
                  <a:schemeClr val="tx1"/>
                </a:solidFill>
                <a:latin typeface="+mn-lt"/>
                <a:ea typeface="+mn-ea"/>
                <a:cs typeface="+mn-cs"/>
              </a:defRPr>
            </a:lvl9pPr>
          </a:lstStyle>
          <a:p>
            <a:pPr algn="ctr" defTabSz="457189">
              <a:spcAft>
                <a:spcPts val="1350"/>
              </a:spcAft>
              <a:defRPr/>
            </a:pPr>
            <a:r>
              <a:rPr b="1" dirty="0" lang="en-US" spc="-50" sz="3600">
                <a:solidFill>
                  <a:schemeClr val="accent2">
                    <a:lumMod val="75000"/>
                  </a:schemeClr>
                </a:solidFill>
                <a:latin charset="0" panose="020F0502020204030204" pitchFamily="34" typeface="Calibri"/>
                <a:ea typeface="+mj-ea"/>
                <a:cs typeface="+mj-cs"/>
              </a:rPr>
              <a:t>Simple Oxygen Patient Delivery Interface Equipments</a:t>
            </a:r>
          </a:p>
        </p:txBody>
      </p:sp>
      <p:graphicFrame>
        <p:nvGraphicFramePr>
          <p:cNvPr id="2" name="Diagram 1">
            <a:extLst>
              <a:ext uri="{FF2B5EF4-FFF2-40B4-BE49-F238E27FC236}">
                <a16:creationId xmlns:a16="http://schemas.microsoft.com/office/drawing/2014/main" id="{00800CE2-E005-A94C-B76E-5C9735D60897}"/>
              </a:ext>
            </a:extLst>
          </p:cNvPr>
          <p:cNvGraphicFramePr/>
          <p:nvPr/>
        </p:nvGraphicFramePr>
        <p:xfrm>
          <a:off x="559732" y="1905000"/>
          <a:ext cx="7873067" cy="4191000"/>
        </p:xfrm>
        <a:graphic>
          <a:graphicData uri="http://schemas.openxmlformats.org/drawingml/2006/diagram">
            <dgm:relIds xmlns:dgm="http://schemas.openxmlformats.org/drawingml/2006/diagram" xmlns:r="http://schemas.openxmlformats.org/officeDocument/2006/relationships" r:cs="rId10" r:dm="rId7" r:lo="rId8" r:qs="rId9"/>
          </a:graphicData>
        </a:graphic>
      </p:graphicFrame>
    </p:spTree>
    <p:extLst>
      <p:ext uri="{BB962C8B-B14F-4D97-AF65-F5344CB8AC3E}">
        <p14:creationId xmlns:p14="http://schemas.microsoft.com/office/powerpoint/2010/main" val="4135638537"/>
      </p:ext>
    </p:extLst>
  </p:cSld>
  <p:clrMapOvr>
    <a:masterClrMapping/>
  </p:clrMapOvr>
  <p:transition advTm="121306" spd="med">
    <p:fade/>
  </p:transition>
</p:sld>
</file>

<file path=ppt/slides/slide72.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pic>
        <p:nvPicPr>
          <p:cNvPr id="54" name="Object 53"/>
          <p:cNvPicPr>
            <a:picLocks noChangeAspect="1"/>
          </p:cNvPicPr>
          <p:nvPr/>
        </p:nvPicPr>
        <p:blipFill>
          <a:blip r:embed="rId5"/>
          <a:srcRect/>
          <a:stretch>
            <a:fillRect/>
          </a:stretch>
        </p:blipFill>
        <p:spPr bwMode="auto">
          <a:xfrm>
            <a:off x="1191" y="858441"/>
            <a:ext cx="1191" cy="1191"/>
          </a:xfrm>
          <a:prstGeom prst="rect"/>
          <a:noFill/>
        </p:spPr>
      </p:pic>
      <p:sp>
        <p:nvSpPr>
          <p:cNvPr id="35" name="Text Placeholder 1">
            <a:extLst>
              <a:ext uri="{FF2B5EF4-FFF2-40B4-BE49-F238E27FC236}">
                <a16:creationId xmlns:a16="http://schemas.microsoft.com/office/drawing/2014/main" id="{0A0FADF1-DAE8-4FFE-8752-168E9F404119}"/>
              </a:ext>
            </a:extLst>
          </p:cNvPr>
          <p:cNvSpPr txBox="1">
            <a:spLocks/>
          </p:cNvSpPr>
          <p:nvPr/>
        </p:nvSpPr>
        <p:spPr>
          <a:xfrm>
            <a:off x="559733" y="584548"/>
            <a:ext cx="8024533" cy="1143000"/>
          </a:xfrm>
          <a:prstGeom prst="rect">
            <a:avLst/>
          </a:prstGeom>
        </p:spPr>
        <p:txBody>
          <a:bodyPr bIns="0" lIns="0" rIns="0" rtlCol="0" tIns="0" vert="horz">
            <a:noAutofit/>
          </a:bodyPr>
          <a:lstStyle>
            <a:lvl1pPr algn="l" defTabSz="609585" eaLnBrk="1" fontAlgn="base" hangingPunct="1" rtl="0">
              <a:spcBef>
                <a:spcPts val="0"/>
              </a:spcBef>
              <a:spcAft>
                <a:spcPts val="1800"/>
              </a:spcAft>
              <a:buFont charset="0" panose="020B0604020202020204" pitchFamily="34" typeface="Arial"/>
              <a:defRPr baseline="0" kern="1200" sz="3200">
                <a:solidFill>
                  <a:schemeClr val="accent1"/>
                </a:solidFill>
                <a:latin charset="0" panose="020B0604020202020204" pitchFamily="34" typeface="Arial"/>
                <a:ea charset="0" panose="020B0604020202020204" pitchFamily="34" typeface="Arial"/>
                <a:cs charset="0" panose="020B0604020202020204" pitchFamily="34" typeface="Arial"/>
              </a:defRPr>
            </a:lvl1pPr>
            <a:lvl2pPr algn="l" defTabSz="609585" eaLnBrk="1" fontAlgn="base" hangingPunct="1" indent="-285750" marL="895335" rtl="0">
              <a:spcBef>
                <a:spcPts val="0"/>
              </a:spcBef>
              <a:spcAft>
                <a:spcPts val="600"/>
              </a:spcAft>
              <a:buFont charset="0" panose="020B0604020202020204" pitchFamily="34" typeface="Arial"/>
              <a:buChar char="•"/>
              <a:defRPr baseline="0" kern="1200" sz="1600">
                <a:solidFill>
                  <a:schemeClr val="tx1"/>
                </a:solidFill>
                <a:latin charset="0" panose="020B0604020202020204" pitchFamily="34" typeface="Arial"/>
                <a:ea charset="0" panose="020B0604020202020204" pitchFamily="34" typeface="Arial"/>
                <a:cs charset="0" panose="020B0604020202020204" pitchFamily="34" typeface="Arial"/>
              </a:defRPr>
            </a:lvl2pPr>
            <a:lvl3pPr algn="l" defTabSz="609585" eaLnBrk="1" fontAlgn="base" hangingPunct="1" indent="-285750" marL="1504920" rtl="0">
              <a:spcBef>
                <a:spcPct val="0"/>
              </a:spcBef>
              <a:spcAft>
                <a:spcPts val="600"/>
              </a:spcAft>
              <a:buFont charset="0" panose="02070309020205020404" pitchFamily="49" typeface="Courier New"/>
              <a:buChar char="o"/>
              <a:defRPr kern="1200" sz="1600">
                <a:solidFill>
                  <a:schemeClr val="tx1"/>
                </a:solidFill>
                <a:latin charset="0" panose="020B0604020202020204" pitchFamily="34" typeface="Arial"/>
                <a:ea charset="0" panose="020B0604020202020204" pitchFamily="34" typeface="Arial"/>
                <a:cs charset="0" panose="020B0604020202020204" pitchFamily="34" typeface="Arial"/>
              </a:defRPr>
            </a:lvl3pPr>
            <a:lvl4pPr algn="l" defTabSz="609585" eaLnBrk="1" fontAlgn="base" hangingPunct="1" marL="1828754" rtl="0">
              <a:spcBef>
                <a:spcPct val="20000"/>
              </a:spcBef>
              <a:spcAft>
                <a:spcPts val="600"/>
              </a:spcAft>
              <a:buFont charset="0" panose="020B0604020202020204" pitchFamily="34" typeface="Arial"/>
              <a:defRPr kern="1200" sz="1600">
                <a:solidFill>
                  <a:schemeClr val="tx1"/>
                </a:solidFill>
                <a:latin charset="0" panose="020B0604020202020204" pitchFamily="34" typeface="Arial"/>
                <a:ea charset="0" panose="020B0604020202020204" pitchFamily="34" typeface="Arial"/>
                <a:cs charset="0" panose="020B0604020202020204" pitchFamily="34" typeface="Arial"/>
              </a:defRPr>
            </a:lvl4pPr>
            <a:lvl5pPr algn="l" defTabSz="609585" eaLnBrk="1" fontAlgn="base" hangingPunct="1" marL="2438339" rtl="0">
              <a:spcBef>
                <a:spcPct val="20000"/>
              </a:spcBef>
              <a:spcAft>
                <a:spcPts val="600"/>
              </a:spcAft>
              <a:buFont charset="0" panose="020B0604020202020204" pitchFamily="34" typeface="Arial"/>
              <a:defRPr kern="1200" sz="1600">
                <a:solidFill>
                  <a:schemeClr val="tx1"/>
                </a:solidFill>
                <a:latin charset="0" panose="020B0604020202020204" pitchFamily="34" typeface="Arial"/>
                <a:ea charset="0" panose="020B0604020202020204" pitchFamily="34" typeface="Arial"/>
                <a:cs charset="0" panose="020B0604020202020204" pitchFamily="34" typeface="Arial"/>
              </a:defRPr>
            </a:lvl5pPr>
            <a:lvl6pPr algn="l" defTabSz="609585" eaLnBrk="1" hangingPunct="1" indent="-304792" latinLnBrk="0" marL="3352716" rtl="0">
              <a:spcBef>
                <a:spcPct val="20000"/>
              </a:spcBef>
              <a:buFont typeface="Arial"/>
              <a:buChar char="•"/>
              <a:defRPr kern="1200" sz="2667">
                <a:solidFill>
                  <a:schemeClr val="tx1"/>
                </a:solidFill>
                <a:latin typeface="+mn-lt"/>
                <a:ea typeface="+mn-ea"/>
                <a:cs typeface="+mn-cs"/>
              </a:defRPr>
            </a:lvl6pPr>
            <a:lvl7pPr algn="l" defTabSz="609585" eaLnBrk="1" hangingPunct="1" indent="-304792" latinLnBrk="0" marL="3962301" rtl="0">
              <a:spcBef>
                <a:spcPct val="20000"/>
              </a:spcBef>
              <a:buFont typeface="Arial"/>
              <a:buChar char="•"/>
              <a:defRPr kern="1200" sz="2667">
                <a:solidFill>
                  <a:schemeClr val="tx1"/>
                </a:solidFill>
                <a:latin typeface="+mn-lt"/>
                <a:ea typeface="+mn-ea"/>
                <a:cs typeface="+mn-cs"/>
              </a:defRPr>
            </a:lvl7pPr>
            <a:lvl8pPr algn="l" defTabSz="609585" eaLnBrk="1" hangingPunct="1" indent="-304792" latinLnBrk="0" marL="4571886" rtl="0">
              <a:spcBef>
                <a:spcPct val="20000"/>
              </a:spcBef>
              <a:buFont typeface="Arial"/>
              <a:buChar char="•"/>
              <a:defRPr kern="1200" sz="2667">
                <a:solidFill>
                  <a:schemeClr val="tx1"/>
                </a:solidFill>
                <a:latin typeface="+mn-lt"/>
                <a:ea typeface="+mn-ea"/>
                <a:cs typeface="+mn-cs"/>
              </a:defRPr>
            </a:lvl8pPr>
            <a:lvl9pPr algn="l" defTabSz="609585" eaLnBrk="1" hangingPunct="1" indent="-304792" latinLnBrk="0" marL="5181470" rtl="0">
              <a:spcBef>
                <a:spcPct val="20000"/>
              </a:spcBef>
              <a:buFont typeface="Arial"/>
              <a:buChar char="•"/>
              <a:defRPr kern="1200" sz="2667">
                <a:solidFill>
                  <a:schemeClr val="tx1"/>
                </a:solidFill>
                <a:latin typeface="+mn-lt"/>
                <a:ea typeface="+mn-ea"/>
                <a:cs typeface="+mn-cs"/>
              </a:defRPr>
            </a:lvl9pPr>
          </a:lstStyle>
          <a:p>
            <a:pPr algn="ctr" defTabSz="457189">
              <a:spcAft>
                <a:spcPts val="1350"/>
              </a:spcAft>
              <a:defRPr/>
            </a:pPr>
            <a:r>
              <a:rPr b="1" dirty="0" lang="en-US" spc="-50" sz="3600">
                <a:solidFill>
                  <a:schemeClr val="accent2">
                    <a:lumMod val="75000"/>
                  </a:schemeClr>
                </a:solidFill>
                <a:latin charset="0" panose="020F0502020204030204" pitchFamily="34" typeface="Calibri"/>
                <a:ea typeface="+mj-ea"/>
                <a:cs typeface="+mj-cs"/>
              </a:rPr>
              <a:t>Higher Flow/Complex Oxygen Patient Delivery Equipments</a:t>
            </a:r>
          </a:p>
        </p:txBody>
      </p:sp>
      <p:graphicFrame>
        <p:nvGraphicFramePr>
          <p:cNvPr id="10" name="Diagram 9">
            <a:extLst>
              <a:ext uri="{FF2B5EF4-FFF2-40B4-BE49-F238E27FC236}">
                <a16:creationId xmlns:a16="http://schemas.microsoft.com/office/drawing/2014/main" id="{20CB553F-A83A-9D47-9758-CAB03C003D25}"/>
              </a:ext>
            </a:extLst>
          </p:cNvPr>
          <p:cNvGraphicFramePr/>
          <p:nvPr/>
        </p:nvGraphicFramePr>
        <p:xfrm>
          <a:off x="1739900" y="2138319"/>
          <a:ext cx="5359400" cy="3380739"/>
        </p:xfrm>
        <a:graphic>
          <a:graphicData uri="http://schemas.openxmlformats.org/drawingml/2006/diagram">
            <dgm:relIds xmlns:dgm="http://schemas.openxmlformats.org/drawingml/2006/diagram" xmlns:r="http://schemas.openxmlformats.org/officeDocument/2006/relationships" r:cs="rId10" r:dm="rId7" r:lo="rId8" r:qs="rId9"/>
          </a:graphicData>
        </a:graphic>
      </p:graphicFrame>
    </p:spTree>
    <p:extLst>
      <p:ext uri="{BB962C8B-B14F-4D97-AF65-F5344CB8AC3E}">
        <p14:creationId xmlns:p14="http://schemas.microsoft.com/office/powerpoint/2010/main" val="2457931032"/>
      </p:ext>
    </p:extLst>
  </p:cSld>
  <p:clrMapOvr>
    <a:masterClrMapping/>
  </p:clrMapOvr>
  <p:transition advTm="121306" spd="med">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6D495E2-3EDC-FE4C-9433-D6C995DFB703}"/>
              </a:ext>
            </a:extLst>
          </p:cNvPr>
          <p:cNvSpPr/>
          <p:nvPr/>
        </p:nvSpPr>
        <p:spPr>
          <a:xfrm>
            <a:off x="0" y="2057400"/>
            <a:ext cx="5456582" cy="3448878"/>
          </a:xfrm>
          <a:prstGeom prst="rect">
            <a:avLst/>
          </a:prstGeom>
          <a:solidFill>
            <a:schemeClr val="accent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BB2F4B87-933F-A949-9B8D-27A71EE02AE2}"/>
              </a:ext>
            </a:extLst>
          </p:cNvPr>
          <p:cNvSpPr>
            <a:spLocks noGrp="1"/>
          </p:cNvSpPr>
          <p:nvPr>
            <p:ph type="body" sz="quarter" idx="13"/>
          </p:nvPr>
        </p:nvSpPr>
        <p:spPr>
          <a:xfrm>
            <a:off x="416628" y="2209800"/>
            <a:ext cx="4460172" cy="3124200"/>
          </a:xfrm>
          <a:noFill/>
          <a:ln>
            <a:noFill/>
          </a:ln>
        </p:spPr>
        <p:style>
          <a:lnRef idx="3">
            <a:schemeClr val="lt1"/>
          </a:lnRef>
          <a:fillRef idx="1">
            <a:schemeClr val="accent1"/>
          </a:fillRef>
          <a:effectRef idx="1">
            <a:schemeClr val="accent1"/>
          </a:effectRef>
          <a:fontRef idx="minor">
            <a:schemeClr val="lt1"/>
          </a:fontRef>
        </p:style>
        <p:txBody>
          <a:bodyPr anchor="ctr">
            <a:noAutofit/>
          </a:bodyPr>
          <a:lstStyle/>
          <a:p>
            <a:pPr lvl="1" algn="just">
              <a:spcAft>
                <a:spcPts val="900"/>
              </a:spcAft>
            </a:pPr>
            <a:r>
              <a:rPr lang="en-IN" sz="1600" b="1" dirty="0">
                <a:solidFill>
                  <a:schemeClr val="bg1"/>
                </a:solidFill>
                <a:latin typeface="Calibri" panose="020F0502020204030204" pitchFamily="34" charset="0"/>
              </a:rPr>
              <a:t>Oxygen humidifiers </a:t>
            </a:r>
            <a:r>
              <a:rPr lang="en-IN" sz="1600" dirty="0">
                <a:solidFill>
                  <a:schemeClr val="bg1"/>
                </a:solidFill>
                <a:latin typeface="Calibri" panose="020F0502020204030204" pitchFamily="34" charset="0"/>
              </a:rPr>
              <a:t>are medical devices that can be integrated into oxygen delivery systems to humidify supplemental oxygen. </a:t>
            </a:r>
          </a:p>
          <a:p>
            <a:pPr lvl="1" algn="just">
              <a:spcAft>
                <a:spcPts val="900"/>
              </a:spcAft>
            </a:pPr>
            <a:r>
              <a:rPr lang="en-IN" sz="1600" dirty="0">
                <a:solidFill>
                  <a:schemeClr val="bg1"/>
                </a:solidFill>
                <a:latin typeface="Calibri" panose="020F0502020204030204" pitchFamily="34" charset="0"/>
              </a:rPr>
              <a:t>Humidification is not necessary when oxygen is delivered at relatively low flow rates through nasal prongs or nasal catheters</a:t>
            </a:r>
          </a:p>
          <a:p>
            <a:pPr lvl="1" algn="just">
              <a:spcAft>
                <a:spcPts val="900"/>
              </a:spcAft>
            </a:pPr>
            <a:r>
              <a:rPr lang="en-IN" sz="1600" dirty="0">
                <a:solidFill>
                  <a:schemeClr val="bg1"/>
                </a:solidFill>
                <a:latin typeface="Calibri" panose="020F0502020204030204" pitchFamily="34" charset="0"/>
              </a:rPr>
              <a:t>When oxygen is delivered at higher-than-standard flow rates, or when methods of oxygen delivery bypass the nose, such as when nasopharyngeal catheters are used, humidification is needed – especially when cold oxygen is delivered from a cylinder.</a:t>
            </a:r>
          </a:p>
        </p:txBody>
      </p:sp>
      <p:sp>
        <p:nvSpPr>
          <p:cNvPr id="3" name="Text Placeholder 2">
            <a:extLst>
              <a:ext uri="{FF2B5EF4-FFF2-40B4-BE49-F238E27FC236}">
                <a16:creationId xmlns:a16="http://schemas.microsoft.com/office/drawing/2014/main" id="{31DD7A0B-291C-8342-8A3C-67648B9BB13E}"/>
              </a:ext>
            </a:extLst>
          </p:cNvPr>
          <p:cNvSpPr>
            <a:spLocks noGrp="1"/>
          </p:cNvSpPr>
          <p:nvPr>
            <p:ph type="body" sz="quarter" idx="14"/>
          </p:nvPr>
        </p:nvSpPr>
        <p:spPr>
          <a:xfrm>
            <a:off x="838200" y="615813"/>
            <a:ext cx="7467600" cy="1116909"/>
          </a:xfrm>
        </p:spPr>
        <p:txBody>
          <a:bodyPr anchor="b"/>
          <a:lstStyle/>
          <a:p>
            <a:pPr algn="ctr" defTabSz="457189" eaLnBrk="1" hangingPunct="1">
              <a:spcBef>
                <a:spcPts val="0"/>
              </a:spcBef>
              <a:buFont typeface="Arial" panose="020B0604020202020204" pitchFamily="34" charset="0"/>
              <a:defRPr/>
            </a:pPr>
            <a:r>
              <a:rPr lang="en-IN" sz="3600" b="1" spc="-50" dirty="0">
                <a:solidFill>
                  <a:schemeClr val="accent2">
                    <a:lumMod val="75000"/>
                  </a:schemeClr>
                </a:solidFill>
                <a:latin typeface="Calibri" panose="020F0502020204030204" pitchFamily="34" charset="0"/>
                <a:ea typeface="+mj-ea"/>
                <a:cs typeface="+mj-cs"/>
              </a:rPr>
              <a:t>Humidifiers</a:t>
            </a:r>
          </a:p>
        </p:txBody>
      </p:sp>
      <p:graphicFrame>
        <p:nvGraphicFramePr>
          <p:cNvPr id="10" name="Diagram 9">
            <a:extLst>
              <a:ext uri="{FF2B5EF4-FFF2-40B4-BE49-F238E27FC236}">
                <a16:creationId xmlns:a16="http://schemas.microsoft.com/office/drawing/2014/main" id="{B01C7659-755A-0B4C-B5C8-C7628D5B6317}"/>
              </a:ext>
            </a:extLst>
          </p:cNvPr>
          <p:cNvGraphicFramePr/>
          <p:nvPr/>
        </p:nvGraphicFramePr>
        <p:xfrm>
          <a:off x="5562600" y="1905000"/>
          <a:ext cx="3352800" cy="41649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68508441"/>
      </p:ext>
    </p:extLst>
  </p:cSld>
  <p:clrMapOvr>
    <a:masterClrMapping/>
  </p:clrMapOvr>
  <p:transition spd="med">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990C57F-F380-8349-A8EC-71962AC7FC23}"/>
              </a:ext>
            </a:extLst>
          </p:cNvPr>
          <p:cNvSpPr>
            <a:spLocks noGrp="1"/>
          </p:cNvSpPr>
          <p:nvPr>
            <p:ph type="body" sz="quarter" idx="14"/>
          </p:nvPr>
        </p:nvSpPr>
        <p:spPr>
          <a:xfrm>
            <a:off x="964437" y="972811"/>
            <a:ext cx="7341363" cy="734708"/>
          </a:xfrm>
        </p:spPr>
        <p:txBody>
          <a:bodyPr anchor="b"/>
          <a:lstStyle/>
          <a:p>
            <a:pPr algn="ctr" defTabSz="457189" eaLnBrk="1" hangingPunct="1">
              <a:spcBef>
                <a:spcPts val="0"/>
              </a:spcBef>
              <a:buFont typeface="Arial" panose="020B0604020202020204" pitchFamily="34" charset="0"/>
              <a:buChar char=" "/>
              <a:defRPr/>
            </a:pPr>
            <a:r>
              <a:rPr lang="en-US" sz="3600" b="1" spc="-50" dirty="0">
                <a:solidFill>
                  <a:schemeClr val="accent2">
                    <a:lumMod val="75000"/>
                  </a:schemeClr>
                </a:solidFill>
                <a:latin typeface="Calibri" panose="020F0502020204030204" pitchFamily="34" charset="0"/>
                <a:ea typeface="+mj-ea"/>
                <a:cs typeface="+mj-cs"/>
              </a:rPr>
              <a:t>Types of Humidifiers </a:t>
            </a:r>
          </a:p>
        </p:txBody>
      </p:sp>
      <p:graphicFrame>
        <p:nvGraphicFramePr>
          <p:cNvPr id="8" name="Table 8">
            <a:extLst>
              <a:ext uri="{FF2B5EF4-FFF2-40B4-BE49-F238E27FC236}">
                <a16:creationId xmlns:a16="http://schemas.microsoft.com/office/drawing/2014/main" id="{B8200C97-E104-AA43-B1E0-A26E66A467A7}"/>
              </a:ext>
            </a:extLst>
          </p:cNvPr>
          <p:cNvGraphicFramePr>
            <a:graphicFrameLocks noGrp="1"/>
          </p:cNvGraphicFramePr>
          <p:nvPr/>
        </p:nvGraphicFramePr>
        <p:xfrm>
          <a:off x="1" y="2870586"/>
          <a:ext cx="9128234" cy="3341987"/>
        </p:xfrm>
        <a:graphic>
          <a:graphicData uri="http://schemas.openxmlformats.org/drawingml/2006/table">
            <a:tbl>
              <a:tblPr firstRow="1" bandRow="1">
                <a:tableStyleId>{21E4AEA4-8DFA-4A89-87EB-49C32662AFE0}</a:tableStyleId>
              </a:tblPr>
              <a:tblGrid>
                <a:gridCol w="995491">
                  <a:extLst>
                    <a:ext uri="{9D8B030D-6E8A-4147-A177-3AD203B41FA5}">
                      <a16:colId xmlns:a16="http://schemas.microsoft.com/office/drawing/2014/main" val="3804837281"/>
                    </a:ext>
                  </a:extLst>
                </a:gridCol>
                <a:gridCol w="2644146">
                  <a:extLst>
                    <a:ext uri="{9D8B030D-6E8A-4147-A177-3AD203B41FA5}">
                      <a16:colId xmlns:a16="http://schemas.microsoft.com/office/drawing/2014/main" val="542013872"/>
                    </a:ext>
                  </a:extLst>
                </a:gridCol>
                <a:gridCol w="2811485">
                  <a:extLst>
                    <a:ext uri="{9D8B030D-6E8A-4147-A177-3AD203B41FA5}">
                      <a16:colId xmlns:a16="http://schemas.microsoft.com/office/drawing/2014/main" val="1082732549"/>
                    </a:ext>
                  </a:extLst>
                </a:gridCol>
                <a:gridCol w="2677112">
                  <a:extLst>
                    <a:ext uri="{9D8B030D-6E8A-4147-A177-3AD203B41FA5}">
                      <a16:colId xmlns:a16="http://schemas.microsoft.com/office/drawing/2014/main" val="400956430"/>
                    </a:ext>
                  </a:extLst>
                </a:gridCol>
              </a:tblGrid>
              <a:tr h="385427">
                <a:tc>
                  <a:txBody>
                    <a:bodyPr/>
                    <a:lstStyle/>
                    <a:p>
                      <a:pPr marL="0" marR="0" indent="0" algn="l" defTabSz="609585" rtl="0" eaLnBrk="1" fontAlgn="auto" latinLnBrk="0" hangingPunct="1">
                        <a:lnSpc>
                          <a:spcPct val="100000"/>
                        </a:lnSpc>
                        <a:spcBef>
                          <a:spcPts val="0"/>
                        </a:spcBef>
                        <a:spcAft>
                          <a:spcPts val="0"/>
                        </a:spcAft>
                        <a:buClrTx/>
                        <a:buSzTx/>
                        <a:buFontTx/>
                        <a:buNone/>
                        <a:tabLst/>
                        <a:defRPr/>
                      </a:pPr>
                      <a:endParaRPr lang="en-US" sz="1100" b="0" dirty="0">
                        <a:latin typeface="Calibri" panose="020F0502020204030204" pitchFamily="34" charset="0"/>
                      </a:endParaRPr>
                    </a:p>
                  </a:txBody>
                  <a:tcPr marL="68580" marR="68580" marT="34290" marB="34290"/>
                </a:tc>
                <a:tc>
                  <a:txBody>
                    <a:bodyPr/>
                    <a:lstStyle/>
                    <a:p>
                      <a:pPr marL="0" marR="0" indent="0" algn="l" defTabSz="609585" rtl="0" eaLnBrk="1" fontAlgn="auto" latinLnBrk="0" hangingPunct="1">
                        <a:lnSpc>
                          <a:spcPct val="100000"/>
                        </a:lnSpc>
                        <a:spcBef>
                          <a:spcPts val="0"/>
                        </a:spcBef>
                        <a:spcAft>
                          <a:spcPts val="0"/>
                        </a:spcAft>
                        <a:buClrTx/>
                        <a:buSzTx/>
                        <a:buFontTx/>
                        <a:buNone/>
                        <a:tabLst/>
                        <a:defRPr/>
                      </a:pPr>
                      <a:r>
                        <a:rPr lang="en-US" sz="1100" b="0" dirty="0"/>
                        <a:t>Bubble humidifier – Non heated (reusable) </a:t>
                      </a:r>
                      <a:endParaRPr lang="en-US" sz="1100" b="0" dirty="0">
                        <a:latin typeface="Calibri" panose="020F0502020204030204" pitchFamily="34" charset="0"/>
                      </a:endParaRPr>
                    </a:p>
                  </a:txBody>
                  <a:tcPr marL="68580" marR="68580" marT="34290" marB="34290"/>
                </a:tc>
                <a:tc>
                  <a:txBody>
                    <a:bodyPr/>
                    <a:lstStyle/>
                    <a:p>
                      <a:pPr marL="0" marR="0" indent="0" algn="l" defTabSz="609585" rtl="0" eaLnBrk="1" fontAlgn="auto" latinLnBrk="0" hangingPunct="1">
                        <a:lnSpc>
                          <a:spcPct val="100000"/>
                        </a:lnSpc>
                        <a:spcBef>
                          <a:spcPts val="0"/>
                        </a:spcBef>
                        <a:spcAft>
                          <a:spcPts val="0"/>
                        </a:spcAft>
                        <a:buClrTx/>
                        <a:buSzTx/>
                        <a:buFontTx/>
                        <a:buNone/>
                        <a:tabLst/>
                        <a:defRPr/>
                      </a:pPr>
                      <a:r>
                        <a:rPr lang="en-US" sz="1100" b="0" dirty="0"/>
                        <a:t>Bubble humidifier – Non heated (single use) </a:t>
                      </a:r>
                      <a:endParaRPr lang="en-US" sz="1100" b="0" dirty="0">
                        <a:latin typeface="Calibri" panose="020F0502020204030204" pitchFamily="34" charset="0"/>
                      </a:endParaRPr>
                    </a:p>
                  </a:txBody>
                  <a:tcPr marL="68580" marR="68580" marT="34290" marB="34290"/>
                </a:tc>
                <a:tc>
                  <a:txBody>
                    <a:bodyPr/>
                    <a:lstStyle/>
                    <a:p>
                      <a:r>
                        <a:rPr lang="en-US" sz="1100" b="0" dirty="0"/>
                        <a:t>Bubble humidifier – heated</a:t>
                      </a:r>
                      <a:endParaRPr lang="en-US" sz="1100" b="0" dirty="0">
                        <a:latin typeface="Calibri" panose="020F0502020204030204" pitchFamily="34" charset="0"/>
                      </a:endParaRPr>
                    </a:p>
                  </a:txBody>
                  <a:tcPr marL="68580" marR="68580" marT="34290" marB="34290"/>
                </a:tc>
                <a:extLst>
                  <a:ext uri="{0D108BD9-81ED-4DB2-BD59-A6C34878D82A}">
                    <a16:rowId xmlns:a16="http://schemas.microsoft.com/office/drawing/2014/main" val="3091072917"/>
                  </a:ext>
                </a:extLst>
              </a:tr>
              <a:tr h="1034567">
                <a:tc>
                  <a:txBody>
                    <a:bodyPr/>
                    <a:lstStyle/>
                    <a:p>
                      <a:r>
                        <a:rPr lang="en-US" sz="1100" b="0" dirty="0"/>
                        <a:t>Description</a:t>
                      </a:r>
                      <a:endParaRPr lang="en-US" sz="1100" b="0" dirty="0">
                        <a:latin typeface="Calibri" panose="020F0502020204030204" pitchFamily="34" charset="0"/>
                      </a:endParaRPr>
                    </a:p>
                  </a:txBody>
                  <a:tcPr marL="68580" marR="68580" marT="34290" marB="34290"/>
                </a:tc>
                <a:tc>
                  <a:txBody>
                    <a:bodyPr/>
                    <a:lstStyle/>
                    <a:p>
                      <a:r>
                        <a:rPr lang="en-US" sz="1100" b="0" dirty="0"/>
                        <a:t>A reusable bottle that reduces the dryness of</a:t>
                      </a:r>
                    </a:p>
                    <a:p>
                      <a:r>
                        <a:rPr lang="en-US" sz="1100" b="0" dirty="0"/>
                        <a:t>oxygen by bubbling the gas through distilled water (or water that has been boiled and cooled) at room</a:t>
                      </a:r>
                    </a:p>
                    <a:p>
                      <a:r>
                        <a:rPr lang="en-US" sz="1100" b="0" dirty="0"/>
                        <a:t>temperature.</a:t>
                      </a:r>
                      <a:endParaRPr lang="en-US" sz="1100" b="0" dirty="0">
                        <a:latin typeface="Calibri" panose="020F0502020204030204" pitchFamily="34" charset="0"/>
                      </a:endParaRPr>
                    </a:p>
                  </a:txBody>
                  <a:tcPr marL="68580" marR="68580" marT="34290" marB="34290"/>
                </a:tc>
                <a:tc>
                  <a:txBody>
                    <a:bodyPr/>
                    <a:lstStyle/>
                    <a:p>
                      <a:r>
                        <a:rPr lang="en-US" sz="1100" b="0" dirty="0"/>
                        <a:t>A single-use bottle that reduces the dryness of</a:t>
                      </a:r>
                    </a:p>
                    <a:p>
                      <a:r>
                        <a:rPr lang="en-US" sz="1100" b="0" dirty="0"/>
                        <a:t>oxygen by bubbling the gas through distilled water at room temperature.</a:t>
                      </a:r>
                    </a:p>
                    <a:p>
                      <a:endParaRPr lang="en-US" sz="1100" b="0" dirty="0">
                        <a:latin typeface="Calibri" panose="020F0502020204030204" pitchFamily="34" charset="0"/>
                      </a:endParaRPr>
                    </a:p>
                  </a:txBody>
                  <a:tcPr marL="68580" marR="68580" marT="34290" marB="34290"/>
                </a:tc>
                <a:tc>
                  <a:txBody>
                    <a:bodyPr/>
                    <a:lstStyle/>
                    <a:p>
                      <a:r>
                        <a:rPr lang="en-US" sz="1100" b="0" dirty="0"/>
                        <a:t>A device consisting of a heat source and a humidification chamber whereby the built-in heater warms the water in the chamber to add moisture to the airstream as it passes over the surface.</a:t>
                      </a:r>
                      <a:endParaRPr lang="en-US" sz="1100" b="0" dirty="0">
                        <a:latin typeface="Calibri" panose="020F0502020204030204" pitchFamily="34" charset="0"/>
                      </a:endParaRPr>
                    </a:p>
                  </a:txBody>
                  <a:tcPr marL="68580" marR="68580" marT="34290" marB="34290"/>
                </a:tc>
                <a:extLst>
                  <a:ext uri="{0D108BD9-81ED-4DB2-BD59-A6C34878D82A}">
                    <a16:rowId xmlns:a16="http://schemas.microsoft.com/office/drawing/2014/main" val="1970350262"/>
                  </a:ext>
                </a:extLst>
              </a:tr>
              <a:tr h="709997">
                <a:tc>
                  <a:txBody>
                    <a:bodyPr/>
                    <a:lstStyle/>
                    <a:p>
                      <a:r>
                        <a:rPr lang="en-US" sz="1100" b="0" dirty="0"/>
                        <a:t>Merits</a:t>
                      </a:r>
                      <a:endParaRPr lang="en-US" sz="1100" b="0" dirty="0">
                        <a:latin typeface="Calibri" panose="020F0502020204030204" pitchFamily="34" charset="0"/>
                      </a:endParaRPr>
                    </a:p>
                  </a:txBody>
                  <a:tcPr marL="68580" marR="68580" marT="34290" marB="34290"/>
                </a:tc>
                <a:tc>
                  <a:txBody>
                    <a:bodyPr/>
                    <a:lstStyle/>
                    <a:p>
                      <a:r>
                        <a:rPr lang="en-US" sz="1100" b="0" dirty="0"/>
                        <a:t>Simple.</a:t>
                      </a:r>
                    </a:p>
                    <a:p>
                      <a:r>
                        <a:rPr lang="en-US" sz="1100" b="0" dirty="0"/>
                        <a:t>No power required.</a:t>
                      </a:r>
                    </a:p>
                    <a:p>
                      <a:r>
                        <a:rPr lang="en-US" sz="1100" b="0" dirty="0"/>
                        <a:t>Low cost.</a:t>
                      </a:r>
                    </a:p>
                    <a:p>
                      <a:r>
                        <a:rPr lang="en-US" sz="1100" b="0" dirty="0"/>
                        <a:t>Reusable.</a:t>
                      </a:r>
                      <a:endParaRPr lang="en-US" sz="1100" b="0" dirty="0">
                        <a:latin typeface="Calibri" panose="020F0502020204030204" pitchFamily="34" charset="0"/>
                      </a:endParaRPr>
                    </a:p>
                  </a:txBody>
                  <a:tcPr marL="68580" marR="68580" marT="34290" marB="34290"/>
                </a:tc>
                <a:tc>
                  <a:txBody>
                    <a:bodyPr/>
                    <a:lstStyle/>
                    <a:p>
                      <a:r>
                        <a:rPr lang="en-US" sz="1100" b="0" dirty="0"/>
                        <a:t>Simple.</a:t>
                      </a:r>
                    </a:p>
                    <a:p>
                      <a:r>
                        <a:rPr lang="en-US" sz="1100" b="0" dirty="0"/>
                        <a:t>No power required.</a:t>
                      </a:r>
                    </a:p>
                    <a:p>
                      <a:r>
                        <a:rPr lang="en-US" sz="1100" b="0" dirty="0"/>
                        <a:t>Low cost.</a:t>
                      </a:r>
                    </a:p>
                    <a:p>
                      <a:r>
                        <a:rPr lang="en-US" sz="1100" b="0" dirty="0"/>
                        <a:t>Reusable.</a:t>
                      </a:r>
                      <a:endParaRPr lang="en-US" sz="1100" b="0" dirty="0">
                        <a:latin typeface="Calibri" panose="020F0502020204030204" pitchFamily="34" charset="0"/>
                      </a:endParaRPr>
                    </a:p>
                  </a:txBody>
                  <a:tcPr marL="68580" marR="68580" marT="34290" marB="34290"/>
                </a:tc>
                <a:tc>
                  <a:txBody>
                    <a:bodyPr/>
                    <a:lstStyle/>
                    <a:p>
                      <a:r>
                        <a:rPr lang="en-US" sz="1100" b="0" dirty="0"/>
                        <a:t>Adjustable heat for more or less moisture.</a:t>
                      </a:r>
                    </a:p>
                    <a:p>
                      <a:r>
                        <a:rPr lang="en-US" sz="1100" b="0" dirty="0"/>
                        <a:t>More efficient at humidifying gas.</a:t>
                      </a:r>
                      <a:endParaRPr lang="en-US" sz="1100" b="0" dirty="0">
                        <a:latin typeface="Calibri" panose="020F0502020204030204" pitchFamily="34" charset="0"/>
                      </a:endParaRPr>
                    </a:p>
                  </a:txBody>
                  <a:tcPr marL="68580" marR="68580" marT="34290" marB="34290"/>
                </a:tc>
                <a:extLst>
                  <a:ext uri="{0D108BD9-81ED-4DB2-BD59-A6C34878D82A}">
                    <a16:rowId xmlns:a16="http://schemas.microsoft.com/office/drawing/2014/main" val="1272072866"/>
                  </a:ext>
                </a:extLst>
              </a:tr>
              <a:tr h="709997">
                <a:tc>
                  <a:txBody>
                    <a:bodyPr/>
                    <a:lstStyle/>
                    <a:p>
                      <a:r>
                        <a:rPr lang="en-US" sz="1100" b="0" dirty="0"/>
                        <a:t>Drawbacks</a:t>
                      </a:r>
                      <a:endParaRPr lang="en-US" sz="1100" b="0" dirty="0">
                        <a:latin typeface="Calibri" panose="020F0502020204030204" pitchFamily="34" charset="0"/>
                      </a:endParaRPr>
                    </a:p>
                  </a:txBody>
                  <a:tcPr marL="68580" marR="68580" marT="34290" marB="34290"/>
                </a:tc>
                <a:tc>
                  <a:txBody>
                    <a:bodyPr/>
                    <a:lstStyle/>
                    <a:p>
                      <a:r>
                        <a:rPr lang="en-US" sz="1100" b="0" dirty="0"/>
                        <a:t>High risk of contamination (reduced by changing the water frequently)</a:t>
                      </a:r>
                    </a:p>
                    <a:p>
                      <a:r>
                        <a:rPr lang="en-US" sz="1100" b="0" dirty="0"/>
                        <a:t>Decontamination required</a:t>
                      </a:r>
                      <a:endParaRPr lang="en-US" sz="1100" b="0" dirty="0">
                        <a:latin typeface="Calibri" panose="020F0502020204030204" pitchFamily="34" charset="0"/>
                      </a:endParaRPr>
                    </a:p>
                  </a:txBody>
                  <a:tcPr marL="68580" marR="68580" marT="34290" marB="34290"/>
                </a:tc>
                <a:tc>
                  <a:txBody>
                    <a:bodyPr/>
                    <a:lstStyle/>
                    <a:p>
                      <a:r>
                        <a:rPr lang="en-US" sz="1100" b="0" dirty="0"/>
                        <a:t>Disposable/single-use.</a:t>
                      </a:r>
                    </a:p>
                    <a:p>
                      <a:r>
                        <a:rPr lang="en-US" sz="1100" b="0" dirty="0"/>
                        <a:t>More costly.</a:t>
                      </a:r>
                    </a:p>
                    <a:p>
                      <a:endParaRPr lang="en-US" sz="1100" b="0" dirty="0">
                        <a:latin typeface="Calibri" panose="020F0502020204030204" pitchFamily="34" charset="0"/>
                      </a:endParaRPr>
                    </a:p>
                  </a:txBody>
                  <a:tcPr marL="68580" marR="68580" marT="34290" marB="34290"/>
                </a:tc>
                <a:tc>
                  <a:txBody>
                    <a:bodyPr/>
                    <a:lstStyle/>
                    <a:p>
                      <a:r>
                        <a:rPr lang="en-US" sz="1100" b="0" dirty="0"/>
                        <a:t>Risk of “rainout”.</a:t>
                      </a:r>
                    </a:p>
                    <a:p>
                      <a:r>
                        <a:rPr lang="en-US" sz="1100" b="0" dirty="0"/>
                        <a:t>High risk of contamination (reduced by changing the water frequently).</a:t>
                      </a:r>
                    </a:p>
                    <a:p>
                      <a:r>
                        <a:rPr lang="en-US" sz="1100" b="0" dirty="0"/>
                        <a:t>Needs power source.</a:t>
                      </a:r>
                      <a:endParaRPr lang="en-US" sz="1100" b="0" dirty="0">
                        <a:latin typeface="Calibri" panose="020F0502020204030204" pitchFamily="34" charset="0"/>
                      </a:endParaRPr>
                    </a:p>
                  </a:txBody>
                  <a:tcPr marL="68580" marR="68580" marT="34290" marB="34290"/>
                </a:tc>
                <a:extLst>
                  <a:ext uri="{0D108BD9-81ED-4DB2-BD59-A6C34878D82A}">
                    <a16:rowId xmlns:a16="http://schemas.microsoft.com/office/drawing/2014/main" val="4007205646"/>
                  </a:ext>
                </a:extLst>
              </a:tr>
              <a:tr h="385427">
                <a:tc>
                  <a:txBody>
                    <a:bodyPr/>
                    <a:lstStyle/>
                    <a:p>
                      <a:r>
                        <a:rPr lang="en-US" sz="1100" b="0" dirty="0"/>
                        <a:t>General Comments</a:t>
                      </a:r>
                      <a:endParaRPr lang="en-US" sz="1100" b="0" dirty="0">
                        <a:latin typeface="Calibri" panose="020F0502020204030204" pitchFamily="34" charset="0"/>
                      </a:endParaRPr>
                    </a:p>
                  </a:txBody>
                  <a:tcPr marL="68580" marR="68580" marT="34290" marB="34290"/>
                </a:tc>
                <a:tc>
                  <a:txBody>
                    <a:bodyPr/>
                    <a:lstStyle/>
                    <a:p>
                      <a:r>
                        <a:rPr lang="en-US" sz="1100" b="0" dirty="0"/>
                        <a:t>Works best at a water temperature of at least 30°C.</a:t>
                      </a:r>
                      <a:endParaRPr lang="en-US" sz="1100" b="0" dirty="0">
                        <a:latin typeface="Calibri" panose="020F0502020204030204" pitchFamily="34" charset="0"/>
                      </a:endParaRPr>
                    </a:p>
                  </a:txBody>
                  <a:tcPr marL="68580" marR="68580" marT="34290" marB="34290"/>
                </a:tc>
                <a:tc>
                  <a:txBody>
                    <a:bodyPr/>
                    <a:lstStyle/>
                    <a:p>
                      <a:r>
                        <a:rPr lang="en-US" sz="1100" b="0" dirty="0"/>
                        <a:t>Works best at a water temperature of at least 30°C.</a:t>
                      </a:r>
                    </a:p>
                  </a:txBody>
                  <a:tcPr marL="68580" marR="68580" marT="34290" marB="34290"/>
                </a:tc>
                <a:tc>
                  <a:txBody>
                    <a:bodyPr/>
                    <a:lstStyle/>
                    <a:p>
                      <a:r>
                        <a:rPr lang="en-US" sz="1100" b="0" dirty="0"/>
                        <a:t>Works best at a water temperature of at least 37°C.</a:t>
                      </a:r>
                    </a:p>
                  </a:txBody>
                  <a:tcPr marL="68580" marR="68580" marT="34290" marB="34290"/>
                </a:tc>
                <a:extLst>
                  <a:ext uri="{0D108BD9-81ED-4DB2-BD59-A6C34878D82A}">
                    <a16:rowId xmlns:a16="http://schemas.microsoft.com/office/drawing/2014/main" val="1913242552"/>
                  </a:ext>
                </a:extLst>
              </a:tr>
            </a:tbl>
          </a:graphicData>
        </a:graphic>
      </p:graphicFrame>
      <p:pic>
        <p:nvPicPr>
          <p:cNvPr id="13" name="Picture 12">
            <a:extLst>
              <a:ext uri="{FF2B5EF4-FFF2-40B4-BE49-F238E27FC236}">
                <a16:creationId xmlns:a16="http://schemas.microsoft.com/office/drawing/2014/main" id="{E9B3D26D-0C16-2A49-ADAF-1B7019512F15}"/>
              </a:ext>
            </a:extLst>
          </p:cNvPr>
          <p:cNvPicPr>
            <a:picLocks noChangeAspect="1"/>
          </p:cNvPicPr>
          <p:nvPr/>
        </p:nvPicPr>
        <p:blipFill>
          <a:blip r:embed="rId2"/>
          <a:stretch>
            <a:fillRect/>
          </a:stretch>
        </p:blipFill>
        <p:spPr>
          <a:xfrm>
            <a:off x="7243650" y="1768037"/>
            <a:ext cx="985280" cy="1070934"/>
          </a:xfrm>
          <a:prstGeom prst="rect">
            <a:avLst/>
          </a:prstGeom>
          <a:solidFill>
            <a:schemeClr val="tx2"/>
          </a:solidFill>
          <a:ln>
            <a:noFill/>
          </a:ln>
        </p:spPr>
      </p:pic>
      <p:pic>
        <p:nvPicPr>
          <p:cNvPr id="7" name="Picture 6">
            <a:extLst>
              <a:ext uri="{FF2B5EF4-FFF2-40B4-BE49-F238E27FC236}">
                <a16:creationId xmlns:a16="http://schemas.microsoft.com/office/drawing/2014/main" id="{AFD89FFE-40C7-4203-935C-DD19666ECDA6}"/>
              </a:ext>
            </a:extLst>
          </p:cNvPr>
          <p:cNvPicPr>
            <a:picLocks noChangeAspect="1"/>
          </p:cNvPicPr>
          <p:nvPr/>
        </p:nvPicPr>
        <p:blipFill>
          <a:blip r:embed="rId3"/>
          <a:stretch>
            <a:fillRect/>
          </a:stretch>
        </p:blipFill>
        <p:spPr>
          <a:xfrm>
            <a:off x="1981200" y="1768038"/>
            <a:ext cx="985280" cy="1102548"/>
          </a:xfrm>
          <a:prstGeom prst="rect">
            <a:avLst/>
          </a:prstGeom>
          <a:solidFill>
            <a:schemeClr val="tx2"/>
          </a:solidFill>
          <a:ln>
            <a:noFill/>
          </a:ln>
        </p:spPr>
      </p:pic>
      <p:pic>
        <p:nvPicPr>
          <p:cNvPr id="9" name="Picture 8">
            <a:extLst>
              <a:ext uri="{FF2B5EF4-FFF2-40B4-BE49-F238E27FC236}">
                <a16:creationId xmlns:a16="http://schemas.microsoft.com/office/drawing/2014/main" id="{4527CC64-1E06-4E3A-A6C7-F4283A6B18FD}"/>
              </a:ext>
            </a:extLst>
          </p:cNvPr>
          <p:cNvPicPr>
            <a:picLocks noChangeAspect="1"/>
          </p:cNvPicPr>
          <p:nvPr/>
        </p:nvPicPr>
        <p:blipFill>
          <a:blip r:embed="rId4"/>
          <a:stretch>
            <a:fillRect/>
          </a:stretch>
        </p:blipFill>
        <p:spPr>
          <a:xfrm>
            <a:off x="4574325" y="1768037"/>
            <a:ext cx="985280" cy="1099613"/>
          </a:xfrm>
          <a:prstGeom prst="rect">
            <a:avLst/>
          </a:prstGeom>
          <a:solidFill>
            <a:schemeClr val="tx2"/>
          </a:solidFill>
          <a:ln>
            <a:noFill/>
          </a:ln>
        </p:spPr>
      </p:pic>
    </p:spTree>
    <p:extLst>
      <p:ext uri="{BB962C8B-B14F-4D97-AF65-F5344CB8AC3E}">
        <p14:creationId xmlns:p14="http://schemas.microsoft.com/office/powerpoint/2010/main" val="336891338"/>
      </p:ext>
    </p:extLst>
  </p:cSld>
  <p:clrMapOvr>
    <a:masterClrMapping/>
  </p:clrMapOvr>
  <p:transition spd="med">
    <p:fade/>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048000" y="2800350"/>
            <a:ext cx="5638800" cy="1257300"/>
          </a:xfrm>
        </p:spPr>
        <p:txBody>
          <a:bodyPr rtlCol="0" anchor="ctr">
            <a:noAutofit/>
          </a:bodyPr>
          <a:lstStyle/>
          <a:p>
            <a:pPr marL="0" indent="0" algn="ctr"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latin typeface="Calibri" panose="020F0502020204030204" pitchFamily="34" charset="0"/>
              </a:rPr>
              <a:t>Patient Monitoring Devices</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b="1" dirty="0">
              <a:solidFill>
                <a:schemeClr val="accent2">
                  <a:lumMod val="75000"/>
                </a:schemeClr>
              </a:solidFill>
              <a:latin typeface="Calibri" panose="020F0502020204030204" pitchFamily="34" charset="0"/>
            </a:endParaRPr>
          </a:p>
        </p:txBody>
      </p:sp>
    </p:spTree>
    <p:extLst>
      <p:ext uri="{BB962C8B-B14F-4D97-AF65-F5344CB8AC3E}">
        <p14:creationId xmlns:p14="http://schemas.microsoft.com/office/powerpoint/2010/main" val="50266577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D59359D-9FAF-40D0-8067-24E7A1C015CD}"/>
              </a:ext>
            </a:extLst>
          </p:cNvPr>
          <p:cNvSpPr txBox="1">
            <a:spLocks/>
          </p:cNvSpPr>
          <p:nvPr/>
        </p:nvSpPr>
        <p:spPr>
          <a:xfrm>
            <a:off x="825225" y="339943"/>
            <a:ext cx="7493549" cy="1450757"/>
          </a:xfrm>
          <a:prstGeom prst="rect">
            <a:avLst/>
          </a:prstGeom>
        </p:spPr>
        <p:txBody>
          <a:bodyPr vert="horz" lIns="91440" tIns="45720" rIns="91440" bIns="45720" rtlCol="0" anchor="b">
            <a:noAutofit/>
          </a:bodyPr>
          <a:lstStyle>
            <a:lvl1pPr marL="68263" indent="-68263"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Char char=" "/>
              <a:defRPr sz="1500" kern="1200">
                <a:solidFill>
                  <a:srgbClr val="404040"/>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68263" lvl="8" indent="-68263" algn="ctr" defTabSz="457189" fontAlgn="base">
              <a:lnSpc>
                <a:spcPts val="3000"/>
              </a:lnSpc>
              <a:spcBef>
                <a:spcPts val="0"/>
              </a:spcBef>
              <a:spcAft>
                <a:spcPts val="1350"/>
              </a:spcAft>
              <a:buSzPct val="100000"/>
              <a:buFont typeface="Arial" panose="020B0604020202020204" pitchFamily="34" charset="0"/>
              <a:buChar char=" "/>
              <a:defRPr/>
            </a:pPr>
            <a:r>
              <a:rPr lang="en-US" sz="3600" b="1" spc="-50" dirty="0">
                <a:solidFill>
                  <a:schemeClr val="accent2">
                    <a:lumMod val="75000"/>
                  </a:schemeClr>
                </a:solidFill>
                <a:latin typeface="Calibri" panose="020F0502020204030204" pitchFamily="34" charset="0"/>
                <a:ea typeface="+mj-ea"/>
                <a:cs typeface="+mj-cs"/>
              </a:rPr>
              <a:t>Assessing the Need for Oxygen Therapy - Pulse Oximetry</a:t>
            </a:r>
          </a:p>
        </p:txBody>
      </p:sp>
      <p:sp>
        <p:nvSpPr>
          <p:cNvPr id="11" name="Text Placeholder 3">
            <a:extLst>
              <a:ext uri="{FF2B5EF4-FFF2-40B4-BE49-F238E27FC236}">
                <a16:creationId xmlns:a16="http://schemas.microsoft.com/office/drawing/2014/main" id="{7CF7C8AB-5F40-4D20-A2F0-871E9B93003D}"/>
              </a:ext>
            </a:extLst>
          </p:cNvPr>
          <p:cNvSpPr txBox="1">
            <a:spLocks/>
          </p:cNvSpPr>
          <p:nvPr/>
        </p:nvSpPr>
        <p:spPr>
          <a:xfrm>
            <a:off x="5164008" y="1828800"/>
            <a:ext cx="3767994" cy="4419600"/>
          </a:xfrm>
          <a:prstGeom prst="rect">
            <a:avLst/>
          </a:prstGeom>
        </p:spPr>
        <p:txBody>
          <a:bodyPr vert="horz" lIns="0" tIns="45720" rIns="0" bIns="45720" rtlCol="0">
            <a:noAutofit/>
          </a:bodyPr>
          <a:lstStyle>
            <a:lvl1pPr marL="68263" indent="-68263" algn="l" defTabSz="685800" rtl="0" eaLnBrk="0" fontAlgn="base" hangingPunct="0">
              <a:lnSpc>
                <a:spcPct val="90000"/>
              </a:lnSpc>
              <a:spcBef>
                <a:spcPts val="900"/>
              </a:spcBef>
              <a:spcAft>
                <a:spcPts val="150"/>
              </a:spcAft>
              <a:buClr>
                <a:schemeClr val="accent1"/>
              </a:buClr>
              <a:buSzPct val="100000"/>
              <a:buFont typeface="Calibri" panose="020F0502020204030204" pitchFamily="34" charset="0"/>
              <a:buChar char=" "/>
              <a:defRPr sz="1500" kern="1200">
                <a:solidFill>
                  <a:srgbClr val="404040"/>
                </a:solidFill>
                <a:latin typeface="+mn-lt"/>
                <a:ea typeface="+mn-ea"/>
                <a:cs typeface="+mn-cs"/>
              </a:defRPr>
            </a:lvl1pPr>
            <a:lvl2pPr marL="287338"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300" kern="1200">
                <a:solidFill>
                  <a:srgbClr val="404040"/>
                </a:solidFill>
                <a:latin typeface="+mn-lt"/>
                <a:ea typeface="+mn-ea"/>
                <a:cs typeface="+mn-cs"/>
              </a:defRPr>
            </a:lvl2pPr>
            <a:lvl3pPr marL="423863"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3pPr>
            <a:lvl4pPr marL="561975"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4pPr>
            <a:lvl5pPr marL="698500" indent="-136525" algn="l" defTabSz="685800" rtl="0" eaLnBrk="0" fontAlgn="base" hangingPunct="0">
              <a:lnSpc>
                <a:spcPct val="90000"/>
              </a:lnSpc>
              <a:spcBef>
                <a:spcPts val="150"/>
              </a:spcBef>
              <a:spcAft>
                <a:spcPts val="300"/>
              </a:spcAft>
              <a:buClr>
                <a:schemeClr val="accent1"/>
              </a:buClr>
              <a:buFont typeface="Calibri" panose="020F0502020204030204" pitchFamily="34" charset="0"/>
              <a:buChar char="◦"/>
              <a:defRPr sz="1000" kern="1200">
                <a:solidFill>
                  <a:srgbClr val="404040"/>
                </a:solidFill>
                <a:latin typeface="+mn-lt"/>
                <a:ea typeface="+mn-ea"/>
                <a:cs typeface="+mn-cs"/>
              </a:defRPr>
            </a:lvl5pPr>
            <a:lvl6pPr marL="8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6pPr>
            <a:lvl7pPr marL="9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7pPr>
            <a:lvl8pPr marL="112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8pPr>
            <a:lvl9pPr marL="1275000" indent="-171450" algn="l" defTabSz="685800" rtl="0" eaLnBrk="1" latinLnBrk="0" hangingPunct="1">
              <a:lnSpc>
                <a:spcPct val="90000"/>
              </a:lnSpc>
              <a:spcBef>
                <a:spcPts val="150"/>
              </a:spcBef>
              <a:spcAft>
                <a:spcPts val="300"/>
              </a:spcAft>
              <a:buClr>
                <a:schemeClr val="accent1"/>
              </a:buClr>
              <a:buFont typeface="Calibri" pitchFamily="34" charset="0"/>
              <a:buChar char="◦"/>
              <a:defRPr sz="1050" kern="1200">
                <a:solidFill>
                  <a:schemeClr val="tx1">
                    <a:lumMod val="75000"/>
                    <a:lumOff val="25000"/>
                  </a:schemeClr>
                </a:solidFill>
                <a:latin typeface="+mn-lt"/>
                <a:ea typeface="+mn-ea"/>
                <a:cs typeface="+mn-cs"/>
              </a:defRPr>
            </a:lvl9pPr>
          </a:lstStyle>
          <a:p>
            <a:pPr marL="214313" indent="-214313" algn="just" defTabSz="914400" eaLnBrk="1" hangingPunct="1">
              <a:spcAft>
                <a:spcPts val="450"/>
              </a:spcAft>
              <a:buFont typeface="Calibri" panose="020F0502020204030204" pitchFamily="34" charset="0"/>
              <a:buChar char="•"/>
            </a:pPr>
            <a:r>
              <a:rPr lang="en-US" sz="1600" b="1" dirty="0">
                <a:solidFill>
                  <a:schemeClr val="tx1">
                    <a:lumMod val="75000"/>
                    <a:lumOff val="25000"/>
                  </a:schemeClr>
                </a:solidFill>
                <a:latin typeface="Calibri" panose="020F0502020204030204" pitchFamily="34" charset="0"/>
              </a:rPr>
              <a:t>Hypoxemia- </a:t>
            </a:r>
            <a:r>
              <a:rPr lang="en-US" sz="1600" dirty="0">
                <a:solidFill>
                  <a:schemeClr val="tx1">
                    <a:lumMod val="75000"/>
                    <a:lumOff val="25000"/>
                  </a:schemeClr>
                </a:solidFill>
                <a:latin typeface="Calibri" panose="020F0502020204030204" pitchFamily="34" charset="0"/>
              </a:rPr>
              <a:t>when the peripheral capillary oxygen saturation (SpO</a:t>
            </a:r>
            <a:r>
              <a:rPr lang="en-US" sz="1600" baseline="-25000" dirty="0">
                <a:solidFill>
                  <a:schemeClr val="tx1">
                    <a:lumMod val="75000"/>
                    <a:lumOff val="25000"/>
                  </a:schemeClr>
                </a:solidFill>
                <a:latin typeface="Calibri" panose="020F0502020204030204" pitchFamily="34" charset="0"/>
              </a:rPr>
              <a:t>2</a:t>
            </a:r>
            <a:r>
              <a:rPr lang="en-US" sz="1600" dirty="0">
                <a:solidFill>
                  <a:schemeClr val="tx1">
                    <a:lumMod val="75000"/>
                    <a:lumOff val="25000"/>
                  </a:schemeClr>
                </a:solidFill>
                <a:latin typeface="Calibri" panose="020F0502020204030204" pitchFamily="34" charset="0"/>
              </a:rPr>
              <a:t>) is </a:t>
            </a:r>
            <a:r>
              <a:rPr lang="en-US" sz="1600" b="1" dirty="0">
                <a:solidFill>
                  <a:schemeClr val="tx1">
                    <a:lumMod val="75000"/>
                    <a:lumOff val="25000"/>
                  </a:schemeClr>
                </a:solidFill>
                <a:latin typeface="Calibri" panose="020F0502020204030204" pitchFamily="34" charset="0"/>
              </a:rPr>
              <a:t>below 95%</a:t>
            </a:r>
          </a:p>
          <a:p>
            <a:pPr marL="214313" indent="-214313" algn="just" defTabSz="914400" eaLnBrk="1" hangingPunct="1">
              <a:spcAft>
                <a:spcPts val="450"/>
              </a:spcAft>
              <a:buFont typeface="Calibri" panose="020F0502020204030204" pitchFamily="34" charset="0"/>
              <a:buChar char="•"/>
            </a:pPr>
            <a:r>
              <a:rPr lang="en-US" sz="1600" dirty="0">
                <a:solidFill>
                  <a:schemeClr val="tx1">
                    <a:lumMod val="75000"/>
                    <a:lumOff val="25000"/>
                  </a:schemeClr>
                </a:solidFill>
                <a:latin typeface="Calibri" panose="020F0502020204030204" pitchFamily="34" charset="0"/>
              </a:rPr>
              <a:t>Requires provision of </a:t>
            </a:r>
            <a:r>
              <a:rPr lang="en-US" sz="1600" b="1" dirty="0">
                <a:solidFill>
                  <a:schemeClr val="tx1">
                    <a:lumMod val="75000"/>
                    <a:lumOff val="25000"/>
                  </a:schemeClr>
                </a:solidFill>
                <a:latin typeface="Calibri" panose="020F0502020204030204" pitchFamily="34" charset="0"/>
              </a:rPr>
              <a:t>supplemental oxygen </a:t>
            </a:r>
            <a:r>
              <a:rPr lang="en-US" sz="1600" dirty="0">
                <a:solidFill>
                  <a:schemeClr val="tx1">
                    <a:lumMod val="75000"/>
                    <a:lumOff val="25000"/>
                  </a:schemeClr>
                </a:solidFill>
                <a:latin typeface="Calibri" panose="020F0502020204030204" pitchFamily="34" charset="0"/>
              </a:rPr>
              <a:t>to raise patient’s SpO</a:t>
            </a:r>
            <a:r>
              <a:rPr lang="en-US" sz="1600" baseline="-25000" dirty="0">
                <a:solidFill>
                  <a:schemeClr val="tx1">
                    <a:lumMod val="75000"/>
                    <a:lumOff val="25000"/>
                  </a:schemeClr>
                </a:solidFill>
                <a:latin typeface="Calibri" panose="020F0502020204030204" pitchFamily="34" charset="0"/>
              </a:rPr>
              <a:t>2 </a:t>
            </a:r>
            <a:r>
              <a:rPr lang="en-US" sz="1600" dirty="0">
                <a:solidFill>
                  <a:schemeClr val="tx1">
                    <a:lumMod val="75000"/>
                    <a:lumOff val="25000"/>
                  </a:schemeClr>
                </a:solidFill>
                <a:latin typeface="Calibri" panose="020F0502020204030204" pitchFamily="34" charset="0"/>
              </a:rPr>
              <a:t>to </a:t>
            </a:r>
            <a:r>
              <a:rPr lang="en-US" sz="1600" b="1" dirty="0">
                <a:solidFill>
                  <a:schemeClr val="tx1">
                    <a:lumMod val="75000"/>
                    <a:lumOff val="25000"/>
                  </a:schemeClr>
                </a:solidFill>
                <a:latin typeface="Calibri" panose="020F0502020204030204" pitchFamily="34" charset="0"/>
              </a:rPr>
              <a:t>above 94-95%</a:t>
            </a:r>
          </a:p>
          <a:p>
            <a:pPr marL="214313" indent="-214313" algn="just" defTabSz="914400" eaLnBrk="1" hangingPunct="1">
              <a:spcAft>
                <a:spcPts val="450"/>
              </a:spcAft>
              <a:buFont typeface="Calibri" panose="020F0502020204030204" pitchFamily="34" charset="0"/>
              <a:buChar char="•"/>
            </a:pPr>
            <a:r>
              <a:rPr lang="en-US" sz="1600" dirty="0">
                <a:solidFill>
                  <a:schemeClr val="tx1">
                    <a:lumMod val="75000"/>
                    <a:lumOff val="25000"/>
                  </a:schemeClr>
                </a:solidFill>
                <a:latin typeface="Calibri" panose="020F0502020204030204" pitchFamily="34" charset="0"/>
              </a:rPr>
              <a:t>As per </a:t>
            </a:r>
            <a:r>
              <a:rPr lang="en-US" sz="1600" b="1" dirty="0" err="1">
                <a:solidFill>
                  <a:schemeClr val="tx1">
                    <a:lumMod val="75000"/>
                    <a:lumOff val="25000"/>
                  </a:schemeClr>
                </a:solidFill>
                <a:latin typeface="Calibri" panose="020F0502020204030204" pitchFamily="34" charset="0"/>
              </a:rPr>
              <a:t>GoI</a:t>
            </a:r>
            <a:r>
              <a:rPr lang="en-US" sz="1600" b="1" dirty="0">
                <a:solidFill>
                  <a:schemeClr val="tx1">
                    <a:lumMod val="75000"/>
                    <a:lumOff val="25000"/>
                  </a:schemeClr>
                </a:solidFill>
                <a:latin typeface="Calibri" panose="020F0502020204030204" pitchFamily="34" charset="0"/>
              </a:rPr>
              <a:t> norms, moderate COVID-19 patients </a:t>
            </a:r>
            <a:r>
              <a:rPr lang="en-US" sz="1600" dirty="0">
                <a:solidFill>
                  <a:schemeClr val="tx1">
                    <a:lumMod val="75000"/>
                    <a:lumOff val="25000"/>
                  </a:schemeClr>
                </a:solidFill>
                <a:latin typeface="Calibri" panose="020F0502020204030204" pitchFamily="34" charset="0"/>
              </a:rPr>
              <a:t>have an SpO</a:t>
            </a:r>
            <a:r>
              <a:rPr lang="en-US" sz="1600" baseline="-25000" dirty="0">
                <a:solidFill>
                  <a:schemeClr val="tx1">
                    <a:lumMod val="75000"/>
                    <a:lumOff val="25000"/>
                  </a:schemeClr>
                </a:solidFill>
                <a:latin typeface="Calibri" panose="020F0502020204030204" pitchFamily="34" charset="0"/>
              </a:rPr>
              <a:t>2</a:t>
            </a:r>
            <a:r>
              <a:rPr lang="en-US" sz="1600" dirty="0">
                <a:solidFill>
                  <a:schemeClr val="tx1">
                    <a:lumMod val="75000"/>
                    <a:lumOff val="25000"/>
                  </a:schemeClr>
                </a:solidFill>
                <a:latin typeface="Calibri" panose="020F0502020204030204" pitchFamily="34" charset="0"/>
              </a:rPr>
              <a:t> level of </a:t>
            </a:r>
            <a:r>
              <a:rPr lang="en-US" sz="1600" b="1" dirty="0">
                <a:solidFill>
                  <a:schemeClr val="tx1">
                    <a:lumMod val="75000"/>
                    <a:lumOff val="25000"/>
                  </a:schemeClr>
                </a:solidFill>
                <a:latin typeface="Calibri" panose="020F0502020204030204" pitchFamily="34" charset="0"/>
              </a:rPr>
              <a:t>90-94%, </a:t>
            </a:r>
            <a:r>
              <a:rPr lang="en-US" sz="1600" dirty="0">
                <a:solidFill>
                  <a:schemeClr val="tx1">
                    <a:lumMod val="75000"/>
                    <a:lumOff val="25000"/>
                  </a:schemeClr>
                </a:solidFill>
                <a:latin typeface="Calibri" panose="020F0502020204030204" pitchFamily="34" charset="0"/>
              </a:rPr>
              <a:t>and</a:t>
            </a:r>
            <a:r>
              <a:rPr lang="en-US" sz="1600" b="1" dirty="0">
                <a:solidFill>
                  <a:schemeClr val="tx1">
                    <a:lumMod val="75000"/>
                    <a:lumOff val="25000"/>
                  </a:schemeClr>
                </a:solidFill>
                <a:latin typeface="Calibri" panose="020F0502020204030204" pitchFamily="34" charset="0"/>
              </a:rPr>
              <a:t> severe COVID-19 patients </a:t>
            </a:r>
            <a:r>
              <a:rPr lang="en-US" sz="1600" dirty="0">
                <a:solidFill>
                  <a:schemeClr val="tx1">
                    <a:lumMod val="75000"/>
                    <a:lumOff val="25000"/>
                  </a:schemeClr>
                </a:solidFill>
                <a:latin typeface="Calibri" panose="020F0502020204030204" pitchFamily="34" charset="0"/>
              </a:rPr>
              <a:t>have a saturation of </a:t>
            </a:r>
            <a:r>
              <a:rPr lang="en-US" sz="1600" b="1" dirty="0">
                <a:solidFill>
                  <a:schemeClr val="tx1">
                    <a:lumMod val="75000"/>
                    <a:lumOff val="25000"/>
                  </a:schemeClr>
                </a:solidFill>
                <a:latin typeface="Calibri" panose="020F0502020204030204" pitchFamily="34" charset="0"/>
              </a:rPr>
              <a:t>&lt;90%</a:t>
            </a:r>
          </a:p>
          <a:p>
            <a:pPr marL="214313" indent="-214313" algn="just" defTabSz="914400" eaLnBrk="1" hangingPunct="1">
              <a:spcAft>
                <a:spcPts val="450"/>
              </a:spcAft>
              <a:buFont typeface="Calibri" panose="020F0502020204030204" pitchFamily="34" charset="0"/>
              <a:buChar char="•"/>
            </a:pPr>
            <a:r>
              <a:rPr lang="en-US" sz="1600" dirty="0">
                <a:solidFill>
                  <a:schemeClr val="tx1">
                    <a:lumMod val="75000"/>
                    <a:lumOff val="25000"/>
                  </a:schemeClr>
                </a:solidFill>
                <a:latin typeface="Calibri" panose="020F0502020204030204" pitchFamily="34" charset="0"/>
              </a:rPr>
              <a:t>When pulse oximetry not available, necessity of oxygen therapy is </a:t>
            </a:r>
            <a:r>
              <a:rPr lang="en-US" sz="1600" b="1" dirty="0">
                <a:solidFill>
                  <a:schemeClr val="tx1">
                    <a:lumMod val="75000"/>
                    <a:lumOff val="25000"/>
                  </a:schemeClr>
                </a:solidFill>
                <a:latin typeface="Calibri" panose="020F0502020204030204" pitchFamily="34" charset="0"/>
              </a:rPr>
              <a:t>guided by clinical signs</a:t>
            </a:r>
            <a:r>
              <a:rPr lang="en-US" sz="1600" dirty="0">
                <a:solidFill>
                  <a:schemeClr val="tx1">
                    <a:lumMod val="75000"/>
                    <a:lumOff val="25000"/>
                  </a:schemeClr>
                </a:solidFill>
                <a:latin typeface="Calibri" panose="020F0502020204030204" pitchFamily="34" charset="0"/>
              </a:rPr>
              <a:t>- though </a:t>
            </a:r>
            <a:r>
              <a:rPr lang="en-US" sz="1600" b="1" dirty="0">
                <a:solidFill>
                  <a:schemeClr val="tx1">
                    <a:lumMod val="75000"/>
                    <a:lumOff val="25000"/>
                  </a:schemeClr>
                </a:solidFill>
                <a:latin typeface="Calibri" panose="020F0502020204030204" pitchFamily="34" charset="0"/>
              </a:rPr>
              <a:t>less reliable</a:t>
            </a:r>
          </a:p>
          <a:p>
            <a:pPr marL="214313" indent="-214313" algn="just" defTabSz="914400" eaLnBrk="1" hangingPunct="1">
              <a:spcAft>
                <a:spcPts val="450"/>
              </a:spcAft>
              <a:buFont typeface="Calibri" panose="020F0502020204030204" pitchFamily="34" charset="0"/>
              <a:buChar char="•"/>
            </a:pPr>
            <a:r>
              <a:rPr lang="en-US" sz="1600" dirty="0">
                <a:solidFill>
                  <a:schemeClr val="tx1">
                    <a:lumMod val="75000"/>
                    <a:lumOff val="25000"/>
                  </a:schemeClr>
                </a:solidFill>
                <a:latin typeface="Calibri" panose="020F0502020204030204" pitchFamily="34" charset="0"/>
              </a:rPr>
              <a:t>Oxygen treatment </a:t>
            </a:r>
            <a:r>
              <a:rPr lang="en-US" sz="1600" b="1" dirty="0">
                <a:solidFill>
                  <a:schemeClr val="tx1">
                    <a:lumMod val="75000"/>
                    <a:lumOff val="25000"/>
                  </a:schemeClr>
                </a:solidFill>
                <a:latin typeface="Calibri" panose="020F0502020204030204" pitchFamily="34" charset="0"/>
              </a:rPr>
              <a:t>should always</a:t>
            </a:r>
            <a:r>
              <a:rPr lang="en-US" sz="1600" dirty="0">
                <a:solidFill>
                  <a:schemeClr val="tx1">
                    <a:lumMod val="75000"/>
                    <a:lumOff val="25000"/>
                  </a:schemeClr>
                </a:solidFill>
                <a:latin typeface="Calibri" panose="020F0502020204030204" pitchFamily="34" charset="0"/>
              </a:rPr>
              <a:t> be paired with </a:t>
            </a:r>
            <a:r>
              <a:rPr lang="en-US" sz="1600" b="1" dirty="0">
                <a:solidFill>
                  <a:schemeClr val="tx1">
                    <a:lumMod val="75000"/>
                    <a:lumOff val="25000"/>
                  </a:schemeClr>
                </a:solidFill>
                <a:latin typeface="Calibri" panose="020F0502020204030204" pitchFamily="34" charset="0"/>
              </a:rPr>
              <a:t>pulse oximetry</a:t>
            </a:r>
          </a:p>
          <a:p>
            <a:pPr marL="214313" indent="-214313" algn="just" defTabSz="914400" eaLnBrk="1" hangingPunct="1">
              <a:spcAft>
                <a:spcPts val="450"/>
              </a:spcAft>
              <a:buFont typeface="Calibri" panose="020F0502020204030204" pitchFamily="34" charset="0"/>
              <a:buChar char="•"/>
            </a:pPr>
            <a:endParaRPr lang="en-US" sz="1600" dirty="0">
              <a:solidFill>
                <a:schemeClr val="tx1">
                  <a:lumMod val="75000"/>
                  <a:lumOff val="25000"/>
                </a:schemeClr>
              </a:solidFill>
              <a:latin typeface="Calibri" panose="020F0502020204030204" pitchFamily="34" charset="0"/>
            </a:endParaRPr>
          </a:p>
          <a:p>
            <a:pPr algn="just" defTabSz="914400" eaLnBrk="1" hangingPunct="1"/>
            <a:endParaRPr lang="en-US" sz="1600" dirty="0">
              <a:solidFill>
                <a:schemeClr val="tx1">
                  <a:lumMod val="75000"/>
                  <a:lumOff val="25000"/>
                </a:schemeClr>
              </a:solidFill>
              <a:latin typeface="Calibri" panose="020F0502020204030204" pitchFamily="34" charset="0"/>
            </a:endParaRPr>
          </a:p>
        </p:txBody>
      </p:sp>
      <p:grpSp>
        <p:nvGrpSpPr>
          <p:cNvPr id="12" name="Group 11">
            <a:extLst>
              <a:ext uri="{FF2B5EF4-FFF2-40B4-BE49-F238E27FC236}">
                <a16:creationId xmlns:a16="http://schemas.microsoft.com/office/drawing/2014/main" id="{B8ED3A94-2591-405D-8F83-20E28DC9091B}"/>
              </a:ext>
            </a:extLst>
          </p:cNvPr>
          <p:cNvGrpSpPr/>
          <p:nvPr/>
        </p:nvGrpSpPr>
        <p:grpSpPr>
          <a:xfrm>
            <a:off x="439608" y="1905000"/>
            <a:ext cx="4724400" cy="4419600"/>
            <a:chOff x="5146593" y="1919036"/>
            <a:chExt cx="3780498" cy="3506556"/>
          </a:xfrm>
        </p:grpSpPr>
        <p:pic>
          <p:nvPicPr>
            <p:cNvPr id="13" name="Picture 2" descr="What's a Pulse Oximeter, and Do I Really Need One at Home? - The New York  Times">
              <a:extLst>
                <a:ext uri="{FF2B5EF4-FFF2-40B4-BE49-F238E27FC236}">
                  <a16:creationId xmlns:a16="http://schemas.microsoft.com/office/drawing/2014/main" id="{94541982-5B49-415B-8D3C-E7FC1DCAA6F1}"/>
                </a:ext>
              </a:extLst>
            </p:cNvPr>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5175287" y="1919036"/>
              <a:ext cx="1671399" cy="167217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Hopkins Handheld Pulse Oximeter - Hopkins Medical Products">
              <a:extLst>
                <a:ext uri="{FF2B5EF4-FFF2-40B4-BE49-F238E27FC236}">
                  <a16:creationId xmlns:a16="http://schemas.microsoft.com/office/drawing/2014/main" id="{037B1020-A1EA-40B8-B77E-267E4296102E}"/>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a:stretch/>
          </p:blipFill>
          <p:spPr bwMode="auto">
            <a:xfrm>
              <a:off x="7040542" y="1919036"/>
              <a:ext cx="1886549" cy="167217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IP-1010 TABLETOP PULSE OXIMETER | Infunix Technology">
              <a:extLst>
                <a:ext uri="{FF2B5EF4-FFF2-40B4-BE49-F238E27FC236}">
                  <a16:creationId xmlns:a16="http://schemas.microsoft.com/office/drawing/2014/main" id="{36F6B0F9-8D14-4239-B9A2-55BBFEEE4E74}"/>
                </a:ext>
              </a:extLst>
            </p:cNvPr>
            <p:cNvPicPr>
              <a:picLocks noChangeAspect="1" noChangeArrowheads="1"/>
            </p:cNvPicPr>
            <p:nvPr/>
          </p:nvPicPr>
          <p:blipFill rotWithShape="1">
            <a:blip r:embed="rId5" cstate="hqprint">
              <a:extLst>
                <a:ext uri="{28A0092B-C50C-407E-A947-70E740481C1C}">
                  <a14:useLocalDpi xmlns:a14="http://schemas.microsoft.com/office/drawing/2010/main"/>
                </a:ext>
              </a:extLst>
            </a:blip>
            <a:srcRect/>
            <a:stretch/>
          </p:blipFill>
          <p:spPr bwMode="auto">
            <a:xfrm>
              <a:off x="5146593" y="3753419"/>
              <a:ext cx="3780498" cy="167217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18522948"/>
      </p:ext>
    </p:extLst>
  </p:cSld>
  <p:clrMapOvr>
    <a:masterClrMapping/>
  </p:clrMapOvr>
</p:sld>
</file>

<file path=ppt/slides/slide77.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D59359D-9FAF-40D0-8067-24E7A1C015CD}"/>
              </a:ext>
            </a:extLst>
          </p:cNvPr>
          <p:cNvSpPr txBox="1">
            <a:spLocks/>
          </p:cNvSpPr>
          <p:nvPr/>
        </p:nvSpPr>
        <p:spPr>
          <a:xfrm>
            <a:off x="762001" y="432148"/>
            <a:ext cx="7696200" cy="1219201"/>
          </a:xfrm>
          <a:prstGeom prst="rect">
            <a:avLst/>
          </a:prstGeom>
        </p:spPr>
        <p:txBody>
          <a:bodyPr anchor="b" bIns="45720" lIns="91440" rIns="91440" rtlCol="0" tIns="45720" vert="horz">
            <a:noAutofit/>
          </a:bodyPr>
          <a:lstStyle>
            <a:lvl1pPr algn="l" defTabSz="685800" eaLnBrk="0" fontAlgn="base" hangingPunct="0" indent="-68263" marL="68263" rtl="0">
              <a:lnSpc>
                <a:spcPct val="90000"/>
              </a:lnSpc>
              <a:spcBef>
                <a:spcPts val="900"/>
              </a:spcBef>
              <a:spcAft>
                <a:spcPts val="150"/>
              </a:spcAft>
              <a:buClr>
                <a:schemeClr val="accent1"/>
              </a:buClr>
              <a:buSzPct val="100000"/>
              <a:buFont charset="0" panose="020F0502020204030204" pitchFamily="34" typeface="Calibri"/>
              <a:buChar char=" "/>
              <a:defRPr kern="1200" sz="1500">
                <a:solidFill>
                  <a:srgbClr val="404040"/>
                </a:solidFill>
                <a:latin typeface="+mn-lt"/>
                <a:ea typeface="+mn-ea"/>
                <a:cs typeface="+mn-cs"/>
              </a:defRPr>
            </a:lvl1pPr>
            <a:lvl2pPr algn="l" defTabSz="685800" eaLnBrk="0" fontAlgn="base" hangingPunct="0" indent="-136525" marL="287338" rtl="0">
              <a:lnSpc>
                <a:spcPct val="90000"/>
              </a:lnSpc>
              <a:spcBef>
                <a:spcPts val="150"/>
              </a:spcBef>
              <a:spcAft>
                <a:spcPts val="300"/>
              </a:spcAft>
              <a:buClr>
                <a:schemeClr val="accent1"/>
              </a:buClr>
              <a:buFont charset="0" panose="020F0502020204030204" pitchFamily="34" typeface="Calibri"/>
              <a:buChar char="◦"/>
              <a:defRPr kern="1200" sz="1300">
                <a:solidFill>
                  <a:srgbClr val="404040"/>
                </a:solidFill>
                <a:latin typeface="+mn-lt"/>
                <a:ea typeface="+mn-ea"/>
                <a:cs typeface="+mn-cs"/>
              </a:defRPr>
            </a:lvl2pPr>
            <a:lvl3pPr algn="l" defTabSz="685800" eaLnBrk="0" fontAlgn="base" hangingPunct="0" indent="-136525" marL="423863" rtl="0">
              <a:lnSpc>
                <a:spcPct val="90000"/>
              </a:lnSpc>
              <a:spcBef>
                <a:spcPts val="150"/>
              </a:spcBef>
              <a:spcAft>
                <a:spcPts val="300"/>
              </a:spcAft>
              <a:buClr>
                <a:schemeClr val="accent1"/>
              </a:buClr>
              <a:buFont charset="0" panose="020F0502020204030204" pitchFamily="34" typeface="Calibri"/>
              <a:buChar char="◦"/>
              <a:defRPr kern="1200" sz="1000">
                <a:solidFill>
                  <a:srgbClr val="404040"/>
                </a:solidFill>
                <a:latin typeface="+mn-lt"/>
                <a:ea typeface="+mn-ea"/>
                <a:cs typeface="+mn-cs"/>
              </a:defRPr>
            </a:lvl3pPr>
            <a:lvl4pPr algn="l" defTabSz="685800" eaLnBrk="0" fontAlgn="base" hangingPunct="0" indent="-136525" marL="561975" rtl="0">
              <a:lnSpc>
                <a:spcPct val="90000"/>
              </a:lnSpc>
              <a:spcBef>
                <a:spcPts val="150"/>
              </a:spcBef>
              <a:spcAft>
                <a:spcPts val="300"/>
              </a:spcAft>
              <a:buClr>
                <a:schemeClr val="accent1"/>
              </a:buClr>
              <a:buFont charset="0" panose="020F0502020204030204" pitchFamily="34" typeface="Calibri"/>
              <a:buChar char="◦"/>
              <a:defRPr kern="1200" sz="1000">
                <a:solidFill>
                  <a:srgbClr val="404040"/>
                </a:solidFill>
                <a:latin typeface="+mn-lt"/>
                <a:ea typeface="+mn-ea"/>
                <a:cs typeface="+mn-cs"/>
              </a:defRPr>
            </a:lvl4pPr>
            <a:lvl5pPr algn="l" defTabSz="685800" eaLnBrk="0" fontAlgn="base" hangingPunct="0" indent="-136525" marL="698500" rtl="0">
              <a:lnSpc>
                <a:spcPct val="90000"/>
              </a:lnSpc>
              <a:spcBef>
                <a:spcPts val="150"/>
              </a:spcBef>
              <a:spcAft>
                <a:spcPts val="300"/>
              </a:spcAft>
              <a:buClr>
                <a:schemeClr val="accent1"/>
              </a:buClr>
              <a:buFont charset="0" panose="020F0502020204030204" pitchFamily="34" typeface="Calibri"/>
              <a:buChar char="◦"/>
              <a:defRPr kern="1200" sz="1000">
                <a:solidFill>
                  <a:srgbClr val="404040"/>
                </a:solidFill>
                <a:latin typeface="+mn-lt"/>
                <a:ea typeface="+mn-ea"/>
                <a:cs typeface="+mn-cs"/>
              </a:defRPr>
            </a:lvl5pPr>
            <a:lvl6pPr algn="l" defTabSz="685800" eaLnBrk="1" hangingPunct="1" indent="-171450" latinLnBrk="0" marL="82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6pPr>
            <a:lvl7pPr algn="l" defTabSz="685800" eaLnBrk="1" hangingPunct="1" indent="-171450" latinLnBrk="0" marL="97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7pPr>
            <a:lvl8pPr algn="l" defTabSz="685800" eaLnBrk="1" hangingPunct="1" indent="-171450" latinLnBrk="0" marL="112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8pPr>
            <a:lvl9pPr algn="l" defTabSz="685800" eaLnBrk="1" hangingPunct="1" indent="-171450" latinLnBrk="0" marL="127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9pPr>
          </a:lstStyle>
          <a:p>
            <a:pPr algn="ctr" defTabSz="457189" fontAlgn="base" indent="-68263" lvl="8" marL="68263">
              <a:lnSpc>
                <a:spcPts val="3000"/>
              </a:lnSpc>
              <a:spcBef>
                <a:spcPts val="0"/>
              </a:spcBef>
              <a:spcAft>
                <a:spcPts val="1350"/>
              </a:spcAft>
              <a:buSzPct val="100000"/>
              <a:buFont charset="0" panose="020B0604020202020204" pitchFamily="34" typeface="Arial"/>
              <a:buChar char=" "/>
              <a:defRPr/>
            </a:pPr>
            <a:r>
              <a:rPr b="1" dirty="0" lang="en-US" spc="-50" sz="3600">
                <a:solidFill>
                  <a:schemeClr val="accent2">
                    <a:lumMod val="75000"/>
                  </a:schemeClr>
                </a:solidFill>
                <a:latin charset="0" panose="020F0502020204030204" pitchFamily="34" typeface="Calibri"/>
                <a:ea typeface="+mj-ea"/>
                <a:cs typeface="+mj-cs"/>
              </a:rPr>
              <a:t>Indications for Placing Patient on Oxygen Concentrator</a:t>
            </a:r>
          </a:p>
        </p:txBody>
      </p:sp>
      <p:pic>
        <p:nvPicPr>
          <p:cNvPr descr="Device on a finger" id="8" name="Picture 7">
            <a:extLst>
              <a:ext uri="{FF2B5EF4-FFF2-40B4-BE49-F238E27FC236}">
                <a16:creationId xmlns:a16="http://schemas.microsoft.com/office/drawing/2014/main" id="{DE842B42-DAB5-4A64-92A4-BCF671537665}"/>
              </a:ext>
            </a:extLst>
          </p:cNvPr>
          <p:cNvPicPr>
            <a:picLocks noChangeAspect="1"/>
          </p:cNvPicPr>
          <p:nvPr/>
        </p:nvPicPr>
        <p:blipFill rotWithShape="1">
          <a:blip cstate="email" r:embed="rId2">
            <a:extLst>
              <a:ext uri="{28A0092B-C50C-407E-A947-70E740481C1C}">
                <a14:useLocalDpi xmlns:a14="http://schemas.microsoft.com/office/drawing/2010/main"/>
              </a:ext>
            </a:extLst>
          </a:blip>
          <a:srcRect r="-73"/>
          <a:stretch/>
        </p:blipFill>
        <p:spPr>
          <a:xfrm>
            <a:off x="762000" y="1996734"/>
            <a:ext cx="3967682" cy="4068785"/>
          </a:xfrm>
          <a:prstGeom prst="rect">
            <a:avLst/>
          </a:prstGeom>
        </p:spPr>
      </p:pic>
      <p:sp>
        <p:nvSpPr>
          <p:cNvPr id="11" name="Text Placeholder 3">
            <a:extLst>
              <a:ext uri="{FF2B5EF4-FFF2-40B4-BE49-F238E27FC236}">
                <a16:creationId xmlns:a16="http://schemas.microsoft.com/office/drawing/2014/main" id="{7CF7C8AB-5F40-4D20-A2F0-871E9B93003D}"/>
              </a:ext>
            </a:extLst>
          </p:cNvPr>
          <p:cNvSpPr txBox="1">
            <a:spLocks/>
          </p:cNvSpPr>
          <p:nvPr/>
        </p:nvSpPr>
        <p:spPr>
          <a:xfrm>
            <a:off x="5029200" y="1883468"/>
            <a:ext cx="3581400" cy="4060131"/>
          </a:xfrm>
          <a:prstGeom prst="rect">
            <a:avLst/>
          </a:prstGeom>
        </p:spPr>
        <p:txBody>
          <a:bodyPr bIns="45720" lIns="0" rIns="0" rtlCol="0" tIns="45720" vert="horz">
            <a:noAutofit/>
          </a:bodyPr>
          <a:lstStyle>
            <a:lvl1pPr algn="l" defTabSz="685800" eaLnBrk="0" fontAlgn="base" hangingPunct="0" indent="-68263" marL="68263" rtl="0">
              <a:lnSpc>
                <a:spcPct val="90000"/>
              </a:lnSpc>
              <a:spcBef>
                <a:spcPts val="900"/>
              </a:spcBef>
              <a:spcAft>
                <a:spcPts val="150"/>
              </a:spcAft>
              <a:buClr>
                <a:schemeClr val="accent1"/>
              </a:buClr>
              <a:buSzPct val="100000"/>
              <a:buFont charset="0" panose="020F0502020204030204" pitchFamily="34" typeface="Calibri"/>
              <a:buChar char=" "/>
              <a:defRPr kern="1200" sz="1500">
                <a:solidFill>
                  <a:srgbClr val="404040"/>
                </a:solidFill>
                <a:latin typeface="+mn-lt"/>
                <a:ea typeface="+mn-ea"/>
                <a:cs typeface="+mn-cs"/>
              </a:defRPr>
            </a:lvl1pPr>
            <a:lvl2pPr algn="l" defTabSz="685800" eaLnBrk="0" fontAlgn="base" hangingPunct="0" indent="-136525" marL="287338" rtl="0">
              <a:lnSpc>
                <a:spcPct val="90000"/>
              </a:lnSpc>
              <a:spcBef>
                <a:spcPts val="150"/>
              </a:spcBef>
              <a:spcAft>
                <a:spcPts val="300"/>
              </a:spcAft>
              <a:buClr>
                <a:schemeClr val="accent1"/>
              </a:buClr>
              <a:buFont charset="0" panose="020F0502020204030204" pitchFamily="34" typeface="Calibri"/>
              <a:buChar char="◦"/>
              <a:defRPr kern="1200" sz="1300">
                <a:solidFill>
                  <a:srgbClr val="404040"/>
                </a:solidFill>
                <a:latin typeface="+mn-lt"/>
                <a:ea typeface="+mn-ea"/>
                <a:cs typeface="+mn-cs"/>
              </a:defRPr>
            </a:lvl2pPr>
            <a:lvl3pPr algn="l" defTabSz="685800" eaLnBrk="0" fontAlgn="base" hangingPunct="0" indent="-136525" marL="423863" rtl="0">
              <a:lnSpc>
                <a:spcPct val="90000"/>
              </a:lnSpc>
              <a:spcBef>
                <a:spcPts val="150"/>
              </a:spcBef>
              <a:spcAft>
                <a:spcPts val="300"/>
              </a:spcAft>
              <a:buClr>
                <a:schemeClr val="accent1"/>
              </a:buClr>
              <a:buFont charset="0" panose="020F0502020204030204" pitchFamily="34" typeface="Calibri"/>
              <a:buChar char="◦"/>
              <a:defRPr kern="1200" sz="1000">
                <a:solidFill>
                  <a:srgbClr val="404040"/>
                </a:solidFill>
                <a:latin typeface="+mn-lt"/>
                <a:ea typeface="+mn-ea"/>
                <a:cs typeface="+mn-cs"/>
              </a:defRPr>
            </a:lvl3pPr>
            <a:lvl4pPr algn="l" defTabSz="685800" eaLnBrk="0" fontAlgn="base" hangingPunct="0" indent="-136525" marL="561975" rtl="0">
              <a:lnSpc>
                <a:spcPct val="90000"/>
              </a:lnSpc>
              <a:spcBef>
                <a:spcPts val="150"/>
              </a:spcBef>
              <a:spcAft>
                <a:spcPts val="300"/>
              </a:spcAft>
              <a:buClr>
                <a:schemeClr val="accent1"/>
              </a:buClr>
              <a:buFont charset="0" panose="020F0502020204030204" pitchFamily="34" typeface="Calibri"/>
              <a:buChar char="◦"/>
              <a:defRPr kern="1200" sz="1000">
                <a:solidFill>
                  <a:srgbClr val="404040"/>
                </a:solidFill>
                <a:latin typeface="+mn-lt"/>
                <a:ea typeface="+mn-ea"/>
                <a:cs typeface="+mn-cs"/>
              </a:defRPr>
            </a:lvl4pPr>
            <a:lvl5pPr algn="l" defTabSz="685800" eaLnBrk="0" fontAlgn="base" hangingPunct="0" indent="-136525" marL="698500" rtl="0">
              <a:lnSpc>
                <a:spcPct val="90000"/>
              </a:lnSpc>
              <a:spcBef>
                <a:spcPts val="150"/>
              </a:spcBef>
              <a:spcAft>
                <a:spcPts val="300"/>
              </a:spcAft>
              <a:buClr>
                <a:schemeClr val="accent1"/>
              </a:buClr>
              <a:buFont charset="0" panose="020F0502020204030204" pitchFamily="34" typeface="Calibri"/>
              <a:buChar char="◦"/>
              <a:defRPr kern="1200" sz="1000">
                <a:solidFill>
                  <a:srgbClr val="404040"/>
                </a:solidFill>
                <a:latin typeface="+mn-lt"/>
                <a:ea typeface="+mn-ea"/>
                <a:cs typeface="+mn-cs"/>
              </a:defRPr>
            </a:lvl5pPr>
            <a:lvl6pPr algn="l" defTabSz="685800" eaLnBrk="1" hangingPunct="1" indent="-171450" latinLnBrk="0" marL="82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6pPr>
            <a:lvl7pPr algn="l" defTabSz="685800" eaLnBrk="1" hangingPunct="1" indent="-171450" latinLnBrk="0" marL="97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7pPr>
            <a:lvl8pPr algn="l" defTabSz="685800" eaLnBrk="1" hangingPunct="1" indent="-171450" latinLnBrk="0" marL="112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8pPr>
            <a:lvl9pPr algn="l" defTabSz="685800" eaLnBrk="1" hangingPunct="1" indent="-171450" latinLnBrk="0" marL="127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9pPr>
          </a:lstStyle>
          <a:p>
            <a:pPr defTabSz="914400" eaLnBrk="1" hangingPunct="1" indent="-214313" marL="214313">
              <a:spcAft>
                <a:spcPts val="450"/>
              </a:spcAft>
              <a:buFont charset="0" panose="020F0502020204030204" pitchFamily="34" typeface="Calibri"/>
              <a:buChar char="•"/>
            </a:pPr>
            <a:r>
              <a:rPr dirty="0" lang="en-US" sz="1800">
                <a:solidFill>
                  <a:schemeClr val="tx1">
                    <a:lumMod val="75000"/>
                    <a:lumOff val="25000"/>
                  </a:schemeClr>
                </a:solidFill>
                <a:latin charset="0" panose="020F0502020204030204" pitchFamily="34" typeface="Calibri"/>
              </a:rPr>
              <a:t>Any COVID patient with oxygen saturation less than or equal to 94%</a:t>
            </a:r>
          </a:p>
          <a:p>
            <a:pPr defTabSz="914400" eaLnBrk="1" hangingPunct="1" indent="-214313" marL="214313">
              <a:spcAft>
                <a:spcPts val="450"/>
              </a:spcAft>
              <a:buFont charset="0" panose="020F0502020204030204" pitchFamily="34" typeface="Calibri"/>
              <a:buChar char="•"/>
            </a:pPr>
            <a:r>
              <a:rPr dirty="0" lang="en-US" sz="1800">
                <a:solidFill>
                  <a:schemeClr val="tx1">
                    <a:lumMod val="75000"/>
                    <a:lumOff val="25000"/>
                  </a:schemeClr>
                </a:solidFill>
                <a:latin charset="0" panose="020F0502020204030204" pitchFamily="34" typeface="Calibri"/>
              </a:rPr>
              <a:t>Oxygen supplementation is required when respiration rate is more than 25 per minute and SpO2 is less than 94%</a:t>
            </a:r>
          </a:p>
          <a:p>
            <a:pPr defTabSz="914400" eaLnBrk="1" hangingPunct="1" indent="-214313" marL="214313">
              <a:spcAft>
                <a:spcPts val="450"/>
              </a:spcAft>
              <a:buFont charset="0" panose="020F0502020204030204" pitchFamily="34" typeface="Calibri"/>
              <a:buChar char="•"/>
            </a:pPr>
            <a:r>
              <a:rPr dirty="0" lang="en-US" sz="1800">
                <a:solidFill>
                  <a:schemeClr val="tx1">
                    <a:lumMod val="75000"/>
                    <a:lumOff val="25000"/>
                  </a:schemeClr>
                </a:solidFill>
                <a:latin charset="0" panose="020F0502020204030204" pitchFamily="34" typeface="Calibri"/>
              </a:rPr>
              <a:t>Measure SpO2 by pulse oximeter every 2 </a:t>
            </a:r>
            <a:r>
              <a:rPr dirty="0" err="1" lang="en-US" sz="1800">
                <a:solidFill>
                  <a:schemeClr val="tx1">
                    <a:lumMod val="75000"/>
                    <a:lumOff val="25000"/>
                  </a:schemeClr>
                </a:solidFill>
                <a:latin charset="0" panose="020F0502020204030204" pitchFamily="34" typeface="Calibri"/>
              </a:rPr>
              <a:t>hrs</a:t>
            </a:r>
            <a:endParaRPr dirty="0" lang="en-US" sz="1800">
              <a:solidFill>
                <a:schemeClr val="tx1">
                  <a:lumMod val="75000"/>
                  <a:lumOff val="25000"/>
                </a:schemeClr>
              </a:solidFill>
              <a:latin charset="0" panose="020F0502020204030204" pitchFamily="34" typeface="Calibri"/>
            </a:endParaRPr>
          </a:p>
          <a:p>
            <a:pPr defTabSz="914400" eaLnBrk="1" hangingPunct="1" indent="-214313" marL="214313">
              <a:spcAft>
                <a:spcPts val="450"/>
              </a:spcAft>
              <a:buFont charset="0" panose="020F0502020204030204" pitchFamily="34" typeface="Calibri"/>
              <a:buChar char="•"/>
            </a:pPr>
            <a:r>
              <a:rPr dirty="0" lang="en-US" sz="1800">
                <a:solidFill>
                  <a:schemeClr val="tx1">
                    <a:lumMod val="75000"/>
                    <a:lumOff val="25000"/>
                  </a:schemeClr>
                </a:solidFill>
                <a:latin charset="0" panose="020F0502020204030204" pitchFamily="34" typeface="Calibri"/>
              </a:rPr>
              <a:t>If SpO2 is dropping from 94% to 92%, one should start oxygen either through cylinder or concentrator at 5 L per minute and tele-consult doctor.</a:t>
            </a:r>
          </a:p>
          <a:p>
            <a:pPr defTabSz="914400" eaLnBrk="1" hangingPunct="1" indent="-214313" marL="214313">
              <a:spcAft>
                <a:spcPts val="450"/>
              </a:spcAft>
              <a:buFont charset="0" panose="020F0502020204030204" pitchFamily="34" typeface="Calibri"/>
              <a:buChar char="•"/>
            </a:pPr>
            <a:endParaRPr dirty="0" lang="en-US" sz="1800">
              <a:solidFill>
                <a:schemeClr val="tx1">
                  <a:lumMod val="75000"/>
                  <a:lumOff val="25000"/>
                </a:schemeClr>
              </a:solidFill>
              <a:latin charset="0" panose="020F0502020204030204" pitchFamily="34" typeface="Calibri"/>
            </a:endParaRPr>
          </a:p>
          <a:p>
            <a:pPr defTabSz="914400" eaLnBrk="1" hangingPunct="1"/>
            <a:endParaRPr dirty="0" lang="en-US" sz="1800">
              <a:solidFill>
                <a:schemeClr val="tx1">
                  <a:lumMod val="75000"/>
                  <a:lumOff val="25000"/>
                </a:schemeClr>
              </a:solidFill>
              <a:latin charset="0" panose="020F0502020204030204" pitchFamily="34" typeface="Calibri"/>
            </a:endParaRPr>
          </a:p>
        </p:txBody>
      </p:sp>
    </p:spTree>
    <p:extLst>
      <p:ext uri="{BB962C8B-B14F-4D97-AF65-F5344CB8AC3E}">
        <p14:creationId xmlns:p14="http://schemas.microsoft.com/office/powerpoint/2010/main" val="198731218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CF49A6C-818A-E84D-AD39-FDA2348BDCF2}"/>
              </a:ext>
            </a:extLst>
          </p:cNvPr>
          <p:cNvSpPr/>
          <p:nvPr/>
        </p:nvSpPr>
        <p:spPr>
          <a:xfrm>
            <a:off x="838200" y="1170257"/>
            <a:ext cx="7456096" cy="502766"/>
          </a:xfrm>
          <a:prstGeom prst="rect">
            <a:avLst/>
          </a:prstGeom>
        </p:spPr>
        <p:txBody>
          <a:bodyPr wrap="square" anchor="b">
            <a:spAutoFit/>
          </a:bodyPr>
          <a:lstStyle/>
          <a:p>
            <a:pPr marL="68263" indent="-68263" algn="ctr" defTabSz="457189" eaLnBrk="1" hangingPunct="1">
              <a:lnSpc>
                <a:spcPts val="3000"/>
              </a:lnSpc>
              <a:spcBef>
                <a:spcPts val="0"/>
              </a:spcBef>
              <a:spcAft>
                <a:spcPts val="1350"/>
              </a:spcAft>
              <a:buClr>
                <a:schemeClr val="accent1"/>
              </a:buClr>
              <a:buSzPct val="100000"/>
              <a:buFont typeface="Arial" panose="020B0604020202020204" pitchFamily="34" charset="0"/>
              <a:buChar char=" "/>
              <a:defRPr/>
            </a:pPr>
            <a:r>
              <a:rPr lang="en-US" sz="3600" b="1" spc="-50" dirty="0">
                <a:solidFill>
                  <a:schemeClr val="accent2">
                    <a:lumMod val="75000"/>
                  </a:schemeClr>
                </a:solidFill>
                <a:latin typeface="Calibri" panose="020F0502020204030204" pitchFamily="34" charset="0"/>
                <a:ea typeface="+mj-ea"/>
                <a:cs typeface="+mj-cs"/>
              </a:rPr>
              <a:t>Types of Pulse Oximeters</a:t>
            </a:r>
          </a:p>
        </p:txBody>
      </p:sp>
      <p:sp>
        <p:nvSpPr>
          <p:cNvPr id="5" name="Rectangle 4">
            <a:extLst>
              <a:ext uri="{FF2B5EF4-FFF2-40B4-BE49-F238E27FC236}">
                <a16:creationId xmlns:a16="http://schemas.microsoft.com/office/drawing/2014/main" id="{3D900C8E-95BB-AA4F-9AF0-70F392E35A9B}"/>
              </a:ext>
            </a:extLst>
          </p:cNvPr>
          <p:cNvSpPr/>
          <p:nvPr/>
        </p:nvSpPr>
        <p:spPr>
          <a:xfrm>
            <a:off x="925904" y="1771783"/>
            <a:ext cx="7375470" cy="646331"/>
          </a:xfrm>
          <a:prstGeom prst="rect">
            <a:avLst/>
          </a:prstGeom>
        </p:spPr>
        <p:txBody>
          <a:bodyPr wrap="square">
            <a:spAutoFit/>
          </a:bodyPr>
          <a:lstStyle/>
          <a:p>
            <a:pPr algn="just" defTabSz="685800" eaLnBrk="1" fontAlgn="auto" hangingPunct="1">
              <a:spcBef>
                <a:spcPts val="0"/>
              </a:spcBef>
              <a:spcAft>
                <a:spcPts val="450"/>
              </a:spcAft>
              <a:defRPr/>
            </a:pPr>
            <a:r>
              <a:rPr lang="en-US" dirty="0">
                <a:solidFill>
                  <a:prstClr val="black"/>
                </a:solidFill>
                <a:latin typeface="Calibri" panose="020F0502020204030204" pitchFamily="34" charset="0"/>
                <a:ea typeface="+mn-ea"/>
              </a:rPr>
              <a:t>A pulse oximeter is a tool to diagnose hypoxemia and comes in many forms including being built into multi parametric patient monitors</a:t>
            </a:r>
          </a:p>
        </p:txBody>
      </p:sp>
      <p:graphicFrame>
        <p:nvGraphicFramePr>
          <p:cNvPr id="6" name="Table 5">
            <a:extLst>
              <a:ext uri="{FF2B5EF4-FFF2-40B4-BE49-F238E27FC236}">
                <a16:creationId xmlns:a16="http://schemas.microsoft.com/office/drawing/2014/main" id="{70C442AE-50DD-9D49-B27D-BD4DC03A985E}"/>
              </a:ext>
            </a:extLst>
          </p:cNvPr>
          <p:cNvGraphicFramePr>
            <a:graphicFrameLocks noGrp="1"/>
          </p:cNvGraphicFramePr>
          <p:nvPr/>
        </p:nvGraphicFramePr>
        <p:xfrm>
          <a:off x="914619" y="2418114"/>
          <a:ext cx="7456097" cy="3337230"/>
        </p:xfrm>
        <a:graphic>
          <a:graphicData uri="http://schemas.openxmlformats.org/drawingml/2006/table">
            <a:tbl>
              <a:tblPr firstRow="1" bandRow="1">
                <a:tableStyleId>{21E4AEA4-8DFA-4A89-87EB-49C32662AFE0}</a:tableStyleId>
              </a:tblPr>
              <a:tblGrid>
                <a:gridCol w="1138200">
                  <a:extLst>
                    <a:ext uri="{9D8B030D-6E8A-4147-A177-3AD203B41FA5}">
                      <a16:colId xmlns:a16="http://schemas.microsoft.com/office/drawing/2014/main" val="2402818916"/>
                    </a:ext>
                  </a:extLst>
                </a:gridCol>
                <a:gridCol w="1506877">
                  <a:extLst>
                    <a:ext uri="{9D8B030D-6E8A-4147-A177-3AD203B41FA5}">
                      <a16:colId xmlns:a16="http://schemas.microsoft.com/office/drawing/2014/main" val="372508430"/>
                    </a:ext>
                  </a:extLst>
                </a:gridCol>
                <a:gridCol w="1342063">
                  <a:extLst>
                    <a:ext uri="{9D8B030D-6E8A-4147-A177-3AD203B41FA5}">
                      <a16:colId xmlns:a16="http://schemas.microsoft.com/office/drawing/2014/main" val="2241534578"/>
                    </a:ext>
                  </a:extLst>
                </a:gridCol>
                <a:gridCol w="1993474">
                  <a:extLst>
                    <a:ext uri="{9D8B030D-6E8A-4147-A177-3AD203B41FA5}">
                      <a16:colId xmlns:a16="http://schemas.microsoft.com/office/drawing/2014/main" val="2482337737"/>
                    </a:ext>
                  </a:extLst>
                </a:gridCol>
                <a:gridCol w="1475483">
                  <a:extLst>
                    <a:ext uri="{9D8B030D-6E8A-4147-A177-3AD203B41FA5}">
                      <a16:colId xmlns:a16="http://schemas.microsoft.com/office/drawing/2014/main" val="988812187"/>
                    </a:ext>
                  </a:extLst>
                </a:gridCol>
              </a:tblGrid>
              <a:tr h="458830">
                <a:tc>
                  <a:txBody>
                    <a:bodyPr/>
                    <a:lstStyle/>
                    <a:p>
                      <a:pPr>
                        <a:lnSpc>
                          <a:spcPct val="107000"/>
                        </a:lnSpc>
                      </a:pPr>
                      <a:endParaRPr lang="en-US" sz="1100" dirty="0">
                        <a:solidFill>
                          <a:schemeClr val="tx1"/>
                        </a:solidFill>
                        <a:effectLst/>
                        <a:latin typeface="Calibri" panose="020F0502020204030204" pitchFamily="34" charset="0"/>
                        <a:cs typeface="Arial" panose="020B0604020202020204" pitchFamily="34" charset="0"/>
                      </a:endParaRPr>
                    </a:p>
                  </a:txBody>
                  <a:tcPr marL="68580" marR="68580" marT="34290" marB="34290"/>
                </a:tc>
                <a:tc>
                  <a:txBody>
                    <a:bodyPr/>
                    <a:lstStyle/>
                    <a:p>
                      <a:pPr marL="0" marR="0" algn="ctr">
                        <a:lnSpc>
                          <a:spcPct val="115000"/>
                        </a:lnSpc>
                        <a:spcBef>
                          <a:spcPts val="0"/>
                        </a:spcBef>
                        <a:spcAft>
                          <a:spcPts val="0"/>
                        </a:spcAft>
                      </a:pPr>
                      <a:r>
                        <a:rPr lang="en-US" sz="1100" dirty="0">
                          <a:solidFill>
                            <a:schemeClr val="tx1"/>
                          </a:solidFill>
                          <a:effectLst/>
                        </a:rPr>
                        <a:t>Benchtop</a:t>
                      </a:r>
                      <a:endParaRPr lang="en-US" sz="1100" dirty="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solidFill>
                            <a:schemeClr val="tx1"/>
                          </a:solidFill>
                          <a:effectLst/>
                        </a:rPr>
                        <a:t>Handheld</a:t>
                      </a:r>
                      <a:endParaRPr lang="en-US" sz="1100" dirty="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solidFill>
                            <a:schemeClr val="tx1"/>
                          </a:solidFill>
                          <a:effectLst/>
                        </a:rPr>
                        <a:t>Fingertip</a:t>
                      </a:r>
                      <a:endParaRPr lang="en-US" sz="1100" dirty="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solidFill>
                            <a:schemeClr val="tx1"/>
                          </a:solidFill>
                          <a:effectLst/>
                        </a:rPr>
                        <a:t>Smartphone probe</a:t>
                      </a:r>
                      <a:endParaRPr lang="en-US" sz="1100" dirty="0">
                        <a:solidFill>
                          <a:schemeClr val="tx1"/>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extLst>
                  <a:ext uri="{0D108BD9-81ED-4DB2-BD59-A6C34878D82A}">
                    <a16:rowId xmlns:a16="http://schemas.microsoft.com/office/drawing/2014/main" val="2646803856"/>
                  </a:ext>
                </a:extLst>
              </a:tr>
              <a:tr h="703767">
                <a:tc>
                  <a:txBody>
                    <a:bodyPr/>
                    <a:lstStyle/>
                    <a:p>
                      <a:pPr marL="0" marR="0" algn="ctr">
                        <a:lnSpc>
                          <a:spcPct val="115000"/>
                        </a:lnSpc>
                        <a:spcBef>
                          <a:spcPts val="0"/>
                        </a:spcBef>
                        <a:spcAft>
                          <a:spcPts val="0"/>
                        </a:spcAft>
                      </a:pPr>
                      <a:r>
                        <a:rPr lang="en-US" sz="1100" b="1" dirty="0">
                          <a:effectLst/>
                        </a:rPr>
                        <a:t>Generic image</a:t>
                      </a:r>
                      <a:endParaRPr lang="en-US" sz="1100" b="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34290" marB="34290" anchor="ctr"/>
                </a:tc>
                <a:extLst>
                  <a:ext uri="{0D108BD9-81ED-4DB2-BD59-A6C34878D82A}">
                    <a16:rowId xmlns:a16="http://schemas.microsoft.com/office/drawing/2014/main" val="3422725858"/>
                  </a:ext>
                </a:extLst>
              </a:tr>
              <a:tr h="478557">
                <a:tc>
                  <a:txBody>
                    <a:bodyPr/>
                    <a:lstStyle/>
                    <a:p>
                      <a:pPr marL="0" marR="0" algn="ctr">
                        <a:lnSpc>
                          <a:spcPct val="115000"/>
                        </a:lnSpc>
                        <a:spcBef>
                          <a:spcPts val="0"/>
                        </a:spcBef>
                        <a:spcAft>
                          <a:spcPts val="0"/>
                        </a:spcAft>
                      </a:pPr>
                      <a:r>
                        <a:rPr lang="en-US" sz="1100" b="1" dirty="0">
                          <a:effectLst/>
                        </a:rPr>
                        <a:t>Rough cost range (US$)</a:t>
                      </a:r>
                      <a:endParaRPr lang="en-US" sz="1100" b="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800–$2,500</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150–$600</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10–$100</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40–$80 + cost of phone</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extLst>
                  <a:ext uri="{0D108BD9-81ED-4DB2-BD59-A6C34878D82A}">
                    <a16:rowId xmlns:a16="http://schemas.microsoft.com/office/drawing/2014/main" val="2967961796"/>
                  </a:ext>
                </a:extLst>
              </a:tr>
              <a:tr h="445388">
                <a:tc>
                  <a:txBody>
                    <a:bodyPr/>
                    <a:lstStyle/>
                    <a:p>
                      <a:pPr marL="0" marR="0" algn="ctr">
                        <a:lnSpc>
                          <a:spcPct val="115000"/>
                        </a:lnSpc>
                        <a:spcBef>
                          <a:spcPts val="0"/>
                        </a:spcBef>
                        <a:spcAft>
                          <a:spcPts val="0"/>
                        </a:spcAft>
                      </a:pPr>
                      <a:r>
                        <a:rPr lang="en-US" sz="1100" b="1" dirty="0">
                          <a:effectLst/>
                        </a:rPr>
                        <a:t>Best suited for</a:t>
                      </a:r>
                      <a:endParaRPr lang="en-US" sz="1100" b="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All ages (probe dependent)</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All ages (probe dependent)</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Adults</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All ages (probe dependent)</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extLst>
                  <a:ext uri="{0D108BD9-81ED-4DB2-BD59-A6C34878D82A}">
                    <a16:rowId xmlns:a16="http://schemas.microsoft.com/office/drawing/2014/main" val="704932100"/>
                  </a:ext>
                </a:extLst>
              </a:tr>
              <a:tr h="364170">
                <a:tc>
                  <a:txBody>
                    <a:bodyPr/>
                    <a:lstStyle/>
                    <a:p>
                      <a:pPr marL="0" marR="0" algn="ctr">
                        <a:lnSpc>
                          <a:spcPct val="115000"/>
                        </a:lnSpc>
                        <a:spcBef>
                          <a:spcPts val="0"/>
                        </a:spcBef>
                        <a:spcAft>
                          <a:spcPts val="0"/>
                        </a:spcAft>
                      </a:pPr>
                      <a:r>
                        <a:rPr lang="en-US" sz="1100" b="1" dirty="0">
                          <a:effectLst/>
                        </a:rPr>
                        <a:t>Typical features</a:t>
                      </a:r>
                      <a:endParaRPr lang="en-US" sz="1100" b="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Multimodal*</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HR + Sp02</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HR + Sp02</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HR + Sp02</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extLst>
                  <a:ext uri="{0D108BD9-81ED-4DB2-BD59-A6C34878D82A}">
                    <a16:rowId xmlns:a16="http://schemas.microsoft.com/office/drawing/2014/main" val="606976124"/>
                  </a:ext>
                </a:extLst>
              </a:tr>
              <a:tr h="595291">
                <a:tc>
                  <a:txBody>
                    <a:bodyPr/>
                    <a:lstStyle/>
                    <a:p>
                      <a:pPr marL="0" marR="0" algn="ctr">
                        <a:lnSpc>
                          <a:spcPct val="115000"/>
                        </a:lnSpc>
                        <a:spcBef>
                          <a:spcPts val="0"/>
                        </a:spcBef>
                        <a:spcAft>
                          <a:spcPts val="0"/>
                        </a:spcAft>
                      </a:pPr>
                      <a:r>
                        <a:rPr lang="en-US" sz="1100" b="1" dirty="0">
                          <a:effectLst/>
                        </a:rPr>
                        <a:t>Power supply</a:t>
                      </a:r>
                      <a:endParaRPr lang="en-US" sz="1100" b="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Mains + optional battery backup</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Battery</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Battery</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No battery</a:t>
                      </a:r>
                    </a:p>
                    <a:p>
                      <a:pPr marL="0" marR="0" algn="ctr">
                        <a:lnSpc>
                          <a:spcPct val="115000"/>
                        </a:lnSpc>
                        <a:spcBef>
                          <a:spcPts val="0"/>
                        </a:spcBef>
                        <a:spcAft>
                          <a:spcPts val="0"/>
                        </a:spcAft>
                      </a:pPr>
                      <a:r>
                        <a:rPr lang="en-US" sz="1100" dirty="0">
                          <a:effectLst/>
                        </a:rPr>
                        <a:t>(powered by smartphone)</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extLst>
                  <a:ext uri="{0D108BD9-81ED-4DB2-BD59-A6C34878D82A}">
                    <a16:rowId xmlns:a16="http://schemas.microsoft.com/office/drawing/2014/main" val="4103821742"/>
                  </a:ext>
                </a:extLst>
              </a:tr>
              <a:tr h="250883">
                <a:tc>
                  <a:txBody>
                    <a:bodyPr/>
                    <a:lstStyle/>
                    <a:p>
                      <a:pPr marL="0" marR="0" algn="ctr">
                        <a:lnSpc>
                          <a:spcPct val="115000"/>
                        </a:lnSpc>
                        <a:spcBef>
                          <a:spcPts val="0"/>
                        </a:spcBef>
                        <a:spcAft>
                          <a:spcPts val="0"/>
                        </a:spcAft>
                      </a:pPr>
                      <a:r>
                        <a:rPr lang="en-US" sz="1100" b="1" dirty="0">
                          <a:effectLst/>
                        </a:rPr>
                        <a:t>Mobility</a:t>
                      </a:r>
                      <a:endParaRPr lang="en-US" sz="1100" b="1"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Stationary</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Mobile</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Mobile</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tc>
                  <a:txBody>
                    <a:bodyPr/>
                    <a:lstStyle/>
                    <a:p>
                      <a:pPr marL="0" marR="0" algn="ctr">
                        <a:lnSpc>
                          <a:spcPct val="115000"/>
                        </a:lnSpc>
                        <a:spcBef>
                          <a:spcPts val="0"/>
                        </a:spcBef>
                        <a:spcAft>
                          <a:spcPts val="0"/>
                        </a:spcAft>
                      </a:pPr>
                      <a:r>
                        <a:rPr lang="en-US" sz="1100" dirty="0">
                          <a:effectLst/>
                        </a:rPr>
                        <a:t>Mobile</a:t>
                      </a: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34290" marB="34290" anchor="ctr"/>
                </a:tc>
                <a:extLst>
                  <a:ext uri="{0D108BD9-81ED-4DB2-BD59-A6C34878D82A}">
                    <a16:rowId xmlns:a16="http://schemas.microsoft.com/office/drawing/2014/main" val="4067361131"/>
                  </a:ext>
                </a:extLst>
              </a:tr>
            </a:tbl>
          </a:graphicData>
        </a:graphic>
      </p:graphicFrame>
      <p:pic>
        <p:nvPicPr>
          <p:cNvPr id="7" name="Picture 2">
            <a:extLst>
              <a:ext uri="{FF2B5EF4-FFF2-40B4-BE49-F238E27FC236}">
                <a16:creationId xmlns:a16="http://schemas.microsoft.com/office/drawing/2014/main" id="{30CE2927-74C5-C24D-8608-CBF864053CA6}"/>
              </a:ext>
            </a:extLst>
          </p:cNvPr>
          <p:cNvPicPr>
            <a:picLocks noChangeAspect="1" noChangeArrowheads="1"/>
          </p:cNvPicPr>
          <p:nvPr/>
        </p:nvPicPr>
        <p:blipFill>
          <a:blip r:embed="rId2" cstate="hqprint">
            <a:extLst>
              <a:ext uri="{BEBA8EAE-BF5A-486C-A8C5-ECC9F3942E4B}">
                <a14:imgProps xmlns:a14="http://schemas.microsoft.com/office/drawing/2010/main">
                  <a14:imgLayer r:embed="rId3">
                    <a14:imgEffect>
                      <a14:backgroundRemoval t="5618" b="99251" l="222" r="98000">
                        <a14:foregroundMark x1="86444" y1="19850" x2="86444" y2="19850"/>
                        <a14:foregroundMark x1="44000" y1="10112" x2="44000" y2="10112"/>
                        <a14:foregroundMark x1="19778" y1="20225" x2="19778" y2="20225"/>
                        <a14:foregroundMark x1="44667" y1="86517" x2="44667" y2="86517"/>
                        <a14:foregroundMark x1="44667" y1="81648" x2="44667" y2="81648"/>
                        <a14:foregroundMark x1="44667" y1="81648" x2="44667" y2="81648"/>
                        <a14:foregroundMark x1="44667" y1="81648" x2="44667" y2="81648"/>
                        <a14:foregroundMark x1="44667" y1="81648" x2="44667" y2="81648"/>
                        <a14:foregroundMark x1="18667" y1="37453" x2="18667" y2="37453"/>
                        <a14:foregroundMark x1="4000" y1="27715" x2="4000" y2="27715"/>
                        <a14:foregroundMark x1="29111" y1="11610" x2="29111" y2="11610"/>
                        <a14:foregroundMark x1="35333" y1="6367" x2="80000" y2="6367"/>
                        <a14:foregroundMark x1="80000" y1="6367" x2="88222" y2="61423"/>
                        <a14:foregroundMark x1="88222" y1="61423" x2="88222" y2="62921"/>
                        <a14:foregroundMark x1="6889" y1="15356" x2="52222" y2="7116"/>
                        <a14:foregroundMark x1="52222" y1="7116" x2="8889" y2="21723"/>
                        <a14:foregroundMark x1="8889" y1="21723" x2="25556" y2="49813"/>
                        <a14:foregroundMark x1="88889" y1="20225" x2="92889" y2="42322"/>
                        <a14:foregroundMark x1="8222" y1="51311" x2="6444" y2="55056"/>
                        <a14:foregroundMark x1="42889" y1="82022" x2="42889" y2="82022"/>
                        <a14:foregroundMark x1="40000" y1="79026" x2="40000" y2="79026"/>
                        <a14:foregroundMark x1="44667" y1="82022" x2="36667" y2="79026"/>
                        <a14:foregroundMark x1="28889" y1="82022" x2="35778" y2="90637"/>
                        <a14:foregroundMark x1="1111" y1="80150" x2="1111" y2="80150"/>
                        <a14:foregroundMark x1="8667" y1="100000" x2="8667" y2="100000"/>
                        <a14:foregroundMark x1="20889" y1="98502" x2="20889" y2="98502"/>
                        <a14:foregroundMark x1="34000" y1="71161" x2="41111" y2="74157"/>
                        <a14:foregroundMark x1="28000" y1="68914" x2="34000" y2="71161"/>
                        <a14:foregroundMark x1="24889" y1="89139" x2="33111" y2="92135"/>
                        <a14:foregroundMark x1="2889" y1="80150" x2="8667" y2="82397"/>
                        <a14:foregroundMark x1="18444" y1="89888" x2="31111" y2="94007"/>
                        <a14:foregroundMark x1="2222" y1="84270" x2="6889" y2="85768"/>
                        <a14:foregroundMark x1="7333" y1="89139" x2="31778" y2="95506"/>
                        <a14:foregroundMark x1="4000" y1="88015" x2="7333" y2="89139"/>
                        <a14:foregroundMark x1="98000" y1="37453" x2="98000" y2="37453"/>
                        <a14:foregroundMark x1="2444" y1="80899" x2="32000" y2="77528"/>
                        <a14:foregroundMark x1="3778" y1="85393" x2="30889" y2="93258"/>
                        <a14:foregroundMark x1="22444" y1="98127" x2="25111" y2="93258"/>
                        <a14:foregroundMark x1="22667" y1="64419" x2="27333" y2="67416"/>
                        <a14:foregroundMark x1="16000" y1="94382" x2="4889" y2="87266"/>
                        <a14:foregroundMark x1="4222" y1="89139" x2="2222" y2="86891"/>
                        <a14:foregroundMark x1="6000" y1="90637" x2="4222" y2="89139"/>
                        <a14:foregroundMark x1="6889" y1="91760" x2="6000" y2="90637"/>
                        <a14:foregroundMark x1="6889" y1="90637" x2="8222" y2="91760"/>
                        <a14:foregroundMark x1="4222" y1="89139" x2="6889" y2="90637"/>
                        <a14:foregroundMark x1="444" y1="86517" x2="4222" y2="89139"/>
                        <a14:backgroundMark x1="2222" y1="64045" x2="2222" y2="64045"/>
                        <a14:backgroundMark x1="2000" y1="54307" x2="0" y2="76779"/>
                        <a14:backgroundMark x1="28444" y1="71161" x2="28444" y2="71161"/>
                        <a14:backgroundMark x1="19778" y1="70412" x2="19111" y2="70412"/>
                        <a14:backgroundMark x1="28444" y1="71161" x2="24889" y2="70787"/>
                        <a14:backgroundMark x1="40222" y1="66667" x2="36000" y2="65169"/>
                        <a14:backgroundMark x1="35111" y1="65918" x2="31778" y2="64419"/>
                        <a14:backgroundMark x1="30222" y1="62921" x2="31333" y2="63670"/>
                        <a14:backgroundMark x1="39778" y1="96629" x2="37556" y2="97004"/>
                        <a14:backgroundMark x1="38222" y1="96629" x2="34889" y2="99251"/>
                        <a14:backgroundMark x1="1556" y1="90637" x2="1556" y2="90637"/>
                        <a14:backgroundMark x1="1111" y1="52434" x2="1111" y2="52434"/>
                        <a14:backgroundMark x1="1556" y1="89139" x2="1556" y2="89139"/>
                      </a14:backgroundRemoval>
                    </a14:imgEffect>
                  </a14:imgLayer>
                </a14:imgProps>
              </a:ext>
              <a:ext uri="{28A0092B-C50C-407E-A947-70E740481C1C}">
                <a14:useLocalDpi xmlns:a14="http://schemas.microsoft.com/office/drawing/2010/main"/>
              </a:ext>
            </a:extLst>
          </a:blip>
          <a:srcRect/>
          <a:stretch>
            <a:fillRect/>
          </a:stretch>
        </p:blipFill>
        <p:spPr bwMode="auto">
          <a:xfrm>
            <a:off x="2365574" y="3005154"/>
            <a:ext cx="698869" cy="55208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a:extLst>
              <a:ext uri="{FF2B5EF4-FFF2-40B4-BE49-F238E27FC236}">
                <a16:creationId xmlns:a16="http://schemas.microsoft.com/office/drawing/2014/main" id="{4B4F2DBF-9B72-CA43-83BC-AF6FFC5B701E}"/>
              </a:ext>
            </a:extLst>
          </p:cNvPr>
          <p:cNvPicPr>
            <a:picLocks noChangeAspect="1" noChangeArrowheads="1"/>
          </p:cNvPicPr>
          <p:nvPr/>
        </p:nvPicPr>
        <p:blipFill>
          <a:blip r:embed="rId4" cstate="email">
            <a:extLst>
              <a:ext uri="{BEBA8EAE-BF5A-486C-A8C5-ECC9F3942E4B}">
                <a14:imgProps xmlns:a14="http://schemas.microsoft.com/office/drawing/2010/main">
                  <a14:imgLayer r:embed="rId5">
                    <a14:imgEffect>
                      <a14:backgroundRemoval t="3911" b="98883" l="2778" r="95556">
                        <a14:foregroundMark x1="74444" y1="26816" x2="74444" y2="26816"/>
                        <a14:foregroundMark x1="68889" y1="22905" x2="68889" y2="22905"/>
                        <a14:foregroundMark x1="71667" y1="72626" x2="71667" y2="72626"/>
                        <a14:foregroundMark x1="62778" y1="78212" x2="62778" y2="78212"/>
                        <a14:foregroundMark x1="66667" y1="84358" x2="66667" y2="84358"/>
                        <a14:foregroundMark x1="84444" y1="78771" x2="84444" y2="78771"/>
                        <a14:foregroundMark x1="88333" y1="75978" x2="88333" y2="75978"/>
                        <a14:foregroundMark x1="77222" y1="61453" x2="77222" y2="61453"/>
                        <a14:foregroundMark x1="66667" y1="46927" x2="62222" y2="93855"/>
                        <a14:foregroundMark x1="62222" y1="93855" x2="72222" y2="89385"/>
                        <a14:foregroundMark x1="86667" y1="72067" x2="86667" y2="72067"/>
                        <a14:foregroundMark x1="77778" y1="57542" x2="61667" y2="99441"/>
                        <a14:foregroundMark x1="83889" y1="57542" x2="83889" y2="57542"/>
                        <a14:foregroundMark x1="93889" y1="72067" x2="93889" y2="72067"/>
                        <a14:foregroundMark x1="88333" y1="61453" x2="88333" y2="61453"/>
                        <a14:foregroundMark x1="96111" y1="72067" x2="96111" y2="72067"/>
                        <a14:foregroundMark x1="65556" y1="8939" x2="65556" y2="8939"/>
                        <a14:foregroundMark x1="75556" y1="25140" x2="75556" y2="25140"/>
                        <a14:foregroundMark x1="66667" y1="25698" x2="66667" y2="25698"/>
                        <a14:foregroundMark x1="66667" y1="35196" x2="66667" y2="35196"/>
                        <a14:foregroundMark x1="32222" y1="7263" x2="32222" y2="7263"/>
                        <a14:foregroundMark x1="31111" y1="7263" x2="31111" y2="7263"/>
                        <a14:foregroundMark x1="29444" y1="5587" x2="29444" y2="5587"/>
                        <a14:foregroundMark x1="5000" y1="72626" x2="5000" y2="72626"/>
                        <a14:foregroundMark x1="2778" y1="54749" x2="2778" y2="54749"/>
                        <a14:foregroundMark x1="7778" y1="46927" x2="7778" y2="46927"/>
                        <a14:foregroundMark x1="5000" y1="94413" x2="5000" y2="94413"/>
                        <a14:foregroundMark x1="22778" y1="95531" x2="22778" y2="95531"/>
                        <a14:foregroundMark x1="10556" y1="95531" x2="10556" y2="95531"/>
                        <a14:foregroundMark x1="36667" y1="89944" x2="36667" y2="89944"/>
                        <a14:foregroundMark x1="33889" y1="3911" x2="33889" y2="3911"/>
                      </a14:backgroundRemoval>
                    </a14:imgEffect>
                  </a14:imgLayer>
                </a14:imgProps>
              </a:ext>
              <a:ext uri="{28A0092B-C50C-407E-A947-70E740481C1C}">
                <a14:useLocalDpi xmlns:a14="http://schemas.microsoft.com/office/drawing/2010/main"/>
              </a:ext>
            </a:extLst>
          </a:blip>
          <a:srcRect/>
          <a:stretch>
            <a:fillRect/>
          </a:stretch>
        </p:blipFill>
        <p:spPr bwMode="auto">
          <a:xfrm>
            <a:off x="3864120" y="2926901"/>
            <a:ext cx="547857" cy="55208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7A73A55B-628B-0049-9D3A-C1813FF9895E}"/>
              </a:ext>
            </a:extLst>
          </p:cNvPr>
          <p:cNvPicPr>
            <a:picLocks noChangeAspect="1" noChangeArrowheads="1"/>
          </p:cNvPicPr>
          <p:nvPr/>
        </p:nvPicPr>
        <p:blipFill>
          <a:blip r:embed="rId6" cstate="email">
            <a:extLst>
              <a:ext uri="{BEBA8EAE-BF5A-486C-A8C5-ECC9F3942E4B}">
                <a14:imgProps xmlns:a14="http://schemas.microsoft.com/office/drawing/2010/main">
                  <a14:imgLayer r:embed="rId7">
                    <a14:imgEffect>
                      <a14:backgroundRemoval t="556" b="97778" l="10000" r="90000">
                        <a14:foregroundMark x1="64444" y1="90000" x2="64444" y2="90000"/>
                        <a14:foregroundMark x1="36111" y1="98333" x2="36111" y2="98333"/>
                        <a14:foregroundMark x1="59444" y1="5000" x2="59444" y2="5000"/>
                        <a14:foregroundMark x1="52778" y1="2778" x2="52778" y2="2778"/>
                        <a14:foregroundMark x1="48889" y1="3889" x2="48889" y2="3889"/>
                        <a14:foregroundMark x1="68889" y1="2778" x2="68889" y2="2778"/>
                        <a14:foregroundMark x1="47778" y1="38889" x2="47778" y2="38889"/>
                        <a14:foregroundMark x1="47778" y1="32222" x2="47778" y2="32222"/>
                        <a14:foregroundMark x1="44444" y1="24444" x2="44444" y2="24444"/>
                        <a14:foregroundMark x1="44444" y1="21111" x2="44444" y2="21111"/>
                        <a14:foregroundMark x1="46667" y1="18333" x2="46667" y2="18333"/>
                        <a14:foregroundMark x1="44444" y1="12778" x2="44444" y2="12778"/>
                        <a14:foregroundMark x1="44444" y1="19444" x2="44444" y2="19444"/>
                        <a14:foregroundMark x1="46667" y1="16667" x2="46667" y2="16667"/>
                        <a14:foregroundMark x1="43889" y1="15000" x2="43889" y2="15000"/>
                        <a14:foregroundMark x1="45000" y1="5556" x2="45000" y2="5556"/>
                        <a14:foregroundMark x1="47222" y1="3889" x2="47222" y2="3889"/>
                        <a14:foregroundMark x1="45000" y1="556" x2="45000" y2="556"/>
                        <a14:foregroundMark x1="72778" y1="8333" x2="72778" y2="8333"/>
                        <a14:foregroundMark x1="72222" y1="6111" x2="72222" y2="6111"/>
                        <a14:foregroundMark x1="69444" y1="1111" x2="69444" y2="1111"/>
                        <a14:foregroundMark x1="73333" y1="3333" x2="73333" y2="3333"/>
                        <a14:foregroundMark x1="72778" y1="7778" x2="71111" y2="43333"/>
                      </a14:backgroundRemoval>
                    </a14:imgEffect>
                  </a14:imgLayer>
                </a14:imgProps>
              </a:ext>
              <a:ext uri="{28A0092B-C50C-407E-A947-70E740481C1C}">
                <a14:useLocalDpi xmlns:a14="http://schemas.microsoft.com/office/drawing/2010/main"/>
              </a:ext>
            </a:extLst>
          </a:blip>
          <a:srcRect/>
          <a:stretch>
            <a:fillRect/>
          </a:stretch>
        </p:blipFill>
        <p:spPr bwMode="auto">
          <a:xfrm>
            <a:off x="5553796" y="2942860"/>
            <a:ext cx="547856" cy="56392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a:extLst>
              <a:ext uri="{FF2B5EF4-FFF2-40B4-BE49-F238E27FC236}">
                <a16:creationId xmlns:a16="http://schemas.microsoft.com/office/drawing/2014/main" id="{1FAEFFEF-2873-A44E-8FC5-30002FEA29BC}"/>
              </a:ext>
            </a:extLst>
          </p:cNvPr>
          <p:cNvPicPr>
            <a:picLocks noChangeAspect="1" noChangeArrowheads="1"/>
          </p:cNvPicPr>
          <p:nvPr/>
        </p:nvPicPr>
        <p:blipFill>
          <a:blip r:embed="rId8" cstate="email">
            <a:extLst>
              <a:ext uri="{BEBA8EAE-BF5A-486C-A8C5-ECC9F3942E4B}">
                <a14:imgProps xmlns:a14="http://schemas.microsoft.com/office/drawing/2010/main">
                  <a14:imgLayer r:embed="rId9">
                    <a14:imgEffect>
                      <a14:backgroundRemoval t="1667" b="99167" l="3889" r="92778">
                        <a14:foregroundMark x1="92778" y1="65833" x2="92778" y2="65833"/>
                        <a14:foregroundMark x1="88333" y1="55833" x2="88333" y2="55833"/>
                        <a14:foregroundMark x1="80556" y1="53333" x2="80556" y2="53333"/>
                        <a14:foregroundMark x1="91822" y1="95833" x2="92778" y2="98333"/>
                        <a14:foregroundMark x1="90547" y1="92500" x2="91822" y2="95833"/>
                        <a14:foregroundMark x1="88634" y1="87500" x2="90547" y2="92500"/>
                        <a14:foregroundMark x1="87651" y1="84930" x2="88634" y2="87500"/>
                        <a14:foregroundMark x1="73333" y1="47500" x2="86521" y2="81977"/>
                        <a14:foregroundMark x1="89682" y1="87500" x2="77778" y2="45833"/>
                        <a14:foregroundMark x1="91111" y1="92500" x2="89682" y2="87500"/>
                        <a14:foregroundMark x1="92778" y1="98333" x2="91111" y2="92500"/>
                        <a14:foregroundMark x1="77778" y1="45833" x2="75000" y2="49167"/>
                        <a14:foregroundMark x1="73889" y1="61667" x2="73889" y2="61667"/>
                        <a14:foregroundMark x1="73889" y1="67500" x2="73889" y2="67500"/>
                        <a14:foregroundMark x1="73889" y1="70833" x2="73889" y2="70833"/>
                        <a14:foregroundMark x1="71667" y1="15000" x2="71667" y2="15000"/>
                        <a14:foregroundMark x1="75000" y1="38333" x2="75000" y2="38333"/>
                        <a14:foregroundMark x1="71111" y1="37500" x2="75202" y2="83856"/>
                        <a14:foregroundMark x1="77222" y1="15000" x2="77222" y2="15000"/>
                        <a14:foregroundMark x1="77222" y1="24167" x2="77222" y2="24167"/>
                        <a14:foregroundMark x1="76111" y1="23660" x2="76111" y2="30000"/>
                        <a14:foregroundMark x1="76111" y1="16667" x2="76111" y2="17363"/>
                        <a14:foregroundMark x1="76111" y1="15833" x2="76111" y2="16667"/>
                        <a14:foregroundMark x1="13889" y1="40000" x2="3889" y2="95833"/>
                        <a14:foregroundMark x1="25179" y1="73333" x2="28333" y2="70000"/>
                        <a14:foregroundMark x1="22025" y1="76667" x2="25179" y2="73333"/>
                        <a14:foregroundMark x1="20449" y1="78333" x2="22025" y2="76667"/>
                        <a14:foregroundMark x1="18083" y1="80833" x2="20449" y2="78333"/>
                        <a14:foregroundMark x1="17294" y1="81667" x2="18083" y2="80833"/>
                        <a14:foregroundMark x1="16505" y1="82500" x2="17294" y2="81667"/>
                        <a14:foregroundMark x1="15717" y1="83333" x2="16505" y2="82500"/>
                        <a14:foregroundMark x1="12562" y1="86667" x2="15717" y2="83333"/>
                        <a14:foregroundMark x1="3889" y1="95833" x2="12562" y2="86667"/>
                        <a14:foregroundMark x1="17778" y1="5000" x2="17778" y2="5000"/>
                        <a14:foregroundMark x1="32778" y1="9167" x2="32778" y2="9167"/>
                        <a14:foregroundMark x1="30556" y1="1667" x2="21667" y2="15000"/>
                        <a14:foregroundMark x1="36111" y1="11667" x2="34259" y2="60294"/>
                        <a14:foregroundMark x1="23866" y1="86974" x2="22734" y2="88891"/>
                        <a14:backgroundMark x1="26111" y1="83333" x2="26111" y2="83333"/>
                        <a14:backgroundMark x1="27778" y1="76667" x2="27778" y2="76667"/>
                        <a14:backgroundMark x1="31111" y1="73333" x2="31111" y2="73333"/>
                        <a14:backgroundMark x1="33333" y1="73333" x2="33333" y2="73333"/>
                        <a14:backgroundMark x1="28333" y1="80833" x2="28333" y2="80833"/>
                        <a14:backgroundMark x1="25556" y1="80833" x2="25556" y2="80833"/>
                        <a14:backgroundMark x1="27222" y1="82500" x2="27222" y2="82500"/>
                        <a14:backgroundMark x1="31111" y1="78333" x2="31111" y2="78333"/>
                        <a14:backgroundMark x1="29444" y1="76667" x2="29444" y2="76667"/>
                        <a14:backgroundMark x1="26111" y1="81667" x2="26111" y2="81667"/>
                        <a14:backgroundMark x1="29444" y1="78333" x2="29444" y2="78333"/>
                        <a14:backgroundMark x1="27778" y1="80833" x2="27778" y2="80833"/>
                        <a14:backgroundMark x1="27222" y1="78333" x2="27222" y2="78333"/>
                        <a14:backgroundMark x1="77778" y1="99167" x2="77778" y2="99167"/>
                        <a14:backgroundMark x1="77778" y1="95833" x2="77778" y2="95833"/>
                        <a14:backgroundMark x1="24444" y1="85000" x2="35556" y2="70833"/>
                        <a14:backgroundMark x1="23333" y1="86667" x2="23333" y2="86667"/>
                        <a14:backgroundMark x1="23889" y1="90000" x2="23889" y2="90000"/>
                        <a14:backgroundMark x1="23889" y1="88333" x2="25556" y2="95833"/>
                        <a14:backgroundMark x1="40000" y1="88333" x2="40000" y2="88333"/>
                        <a14:backgroundMark x1="77778" y1="92500" x2="77778" y2="92500"/>
                        <a14:backgroundMark x1="77778" y1="16667" x2="78889" y2="22500"/>
                        <a14:backgroundMark x1="77222" y1="14167" x2="77222" y2="14167"/>
                        <a14:backgroundMark x1="77222" y1="19167" x2="77222" y2="19167"/>
                        <a14:backgroundMark x1="76667" y1="16667" x2="76667" y2="16667"/>
                        <a14:backgroundMark x1="75556" y1="87500" x2="75556" y2="87500"/>
                        <a14:backgroundMark x1="73333" y1="84167" x2="73333" y2="84167"/>
                        <a14:backgroundMark x1="73333" y1="84167" x2="74444" y2="99167"/>
                      </a14:backgroundRemoval>
                    </a14:imgEffect>
                  </a14:imgLayer>
                </a14:imgProps>
              </a:ext>
              <a:ext uri="{28A0092B-C50C-407E-A947-70E740481C1C}">
                <a14:useLocalDpi xmlns:a14="http://schemas.microsoft.com/office/drawing/2010/main"/>
              </a:ext>
            </a:extLst>
          </a:blip>
          <a:srcRect/>
          <a:stretch>
            <a:fillRect/>
          </a:stretch>
        </p:blipFill>
        <p:spPr bwMode="auto">
          <a:xfrm>
            <a:off x="7320071" y="2968623"/>
            <a:ext cx="736561" cy="50833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2ED1292-D8C8-804F-BDF1-81D995B6F4F8}"/>
              </a:ext>
            </a:extLst>
          </p:cNvPr>
          <p:cNvSpPr/>
          <p:nvPr/>
        </p:nvSpPr>
        <p:spPr>
          <a:xfrm>
            <a:off x="838200" y="5873839"/>
            <a:ext cx="7853479" cy="461665"/>
          </a:xfrm>
          <a:prstGeom prst="rect">
            <a:avLst/>
          </a:prstGeom>
        </p:spPr>
        <p:txBody>
          <a:bodyPr wrap="square">
            <a:spAutoFit/>
          </a:bodyPr>
          <a:lstStyle/>
          <a:p>
            <a:pPr defTabSz="685800" eaLnBrk="1" fontAlgn="auto" hangingPunct="1">
              <a:spcBef>
                <a:spcPts val="0"/>
              </a:spcBef>
              <a:spcAft>
                <a:spcPts val="0"/>
              </a:spcAft>
              <a:defRPr/>
            </a:pPr>
            <a:r>
              <a:rPr lang="en-US" sz="1200" dirty="0">
                <a:solidFill>
                  <a:prstClr val="black"/>
                </a:solidFill>
                <a:latin typeface="Calibri" panose="020F0502020204030204" pitchFamily="34" charset="0"/>
                <a:ea typeface="SimSun" panose="02010600030101010101" pitchFamily="2" charset="-122"/>
              </a:rPr>
              <a:t>*Multimodal = Able to monitor more than heart rate + SpO2, such as temperature, ECG, blood pressure, end-tidal carbon dioxide (EtCO2), etc.</a:t>
            </a:r>
            <a:endParaRPr lang="en-US" sz="1200" dirty="0">
              <a:solidFill>
                <a:prstClr val="black"/>
              </a:solidFill>
              <a:latin typeface="Calibri" panose="020F0502020204030204" pitchFamily="34" charset="0"/>
              <a:ea typeface="+mn-ea"/>
            </a:endParaRPr>
          </a:p>
        </p:txBody>
      </p:sp>
    </p:spTree>
    <p:extLst>
      <p:ext uri="{BB962C8B-B14F-4D97-AF65-F5344CB8AC3E}">
        <p14:creationId xmlns:p14="http://schemas.microsoft.com/office/powerpoint/2010/main" val="3602378395"/>
      </p:ext>
    </p:extLst>
  </p:cSld>
  <p:clrMapOvr>
    <a:masterClrMapping/>
  </p:clrMapOvr>
  <p:transition spd="med">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80352D8-1417-2F47-8ADB-0AE147DD0682}"/>
              </a:ext>
            </a:extLst>
          </p:cNvPr>
          <p:cNvSpPr>
            <a:spLocks noGrp="1"/>
          </p:cNvSpPr>
          <p:nvPr>
            <p:ph type="body" sz="quarter" idx="13"/>
          </p:nvPr>
        </p:nvSpPr>
        <p:spPr>
          <a:xfrm>
            <a:off x="876300" y="1828800"/>
            <a:ext cx="7581900" cy="4419600"/>
          </a:xfrm>
        </p:spPr>
        <p:txBody>
          <a:bodyPr>
            <a:noAutofit/>
          </a:bodyPr>
          <a:lstStyle/>
          <a:p>
            <a:pPr marL="214313" indent="-214313" algn="just">
              <a:spcAft>
                <a:spcPts val="900"/>
              </a:spcAft>
              <a:buClr>
                <a:schemeClr val="accent2"/>
              </a:buClr>
              <a:buFont typeface="Arial" panose="020B0604020202020204" pitchFamily="34" charset="0"/>
              <a:buChar char="•"/>
            </a:pPr>
            <a:r>
              <a:rPr lang="en-IN" sz="2000" dirty="0">
                <a:latin typeface="Calibri" panose="020F0502020204030204" pitchFamily="34" charset="0"/>
              </a:rPr>
              <a:t>Oxygen analysers, also referred to as oxygen monitors, are devices that measure and display the concentration of oxygen in patient breathing circuits, medical gas supply lines, compressed gas cylinders and oxygen concentrators. </a:t>
            </a:r>
          </a:p>
          <a:p>
            <a:pPr marL="214313" indent="-214313" algn="just">
              <a:spcAft>
                <a:spcPts val="900"/>
              </a:spcAft>
              <a:buClr>
                <a:schemeClr val="accent2"/>
              </a:buClr>
              <a:buFont typeface="Arial" panose="020B0604020202020204" pitchFamily="34" charset="0"/>
              <a:buChar char="•"/>
            </a:pPr>
            <a:r>
              <a:rPr lang="en-IN" sz="2000" dirty="0">
                <a:latin typeface="Calibri" panose="020F0502020204030204" pitchFamily="34" charset="0"/>
              </a:rPr>
              <a:t>They are also used to check and adjust devices used to administer oxygen to patients.</a:t>
            </a:r>
          </a:p>
          <a:p>
            <a:pPr marL="214313" indent="-214313" algn="just">
              <a:spcAft>
                <a:spcPts val="900"/>
              </a:spcAft>
              <a:buClr>
                <a:schemeClr val="accent2"/>
              </a:buClr>
              <a:buFont typeface="Arial" panose="020B0604020202020204" pitchFamily="34" charset="0"/>
              <a:buChar char="•"/>
            </a:pPr>
            <a:r>
              <a:rPr lang="en-IN" sz="2000" dirty="0">
                <a:latin typeface="Calibri" panose="020F0502020204030204" pitchFamily="34" charset="0"/>
              </a:rPr>
              <a:t>Some oxygen analysers are designed to continuously measure oxygen concentration inhaled by a patient in a respiratory therapy setting (e.g., in an anaesthesia or ventilator breathing circuit, infant oxygen hood, or oxygen therapy system tubing). </a:t>
            </a:r>
          </a:p>
          <a:p>
            <a:pPr marL="214313" indent="-214313" algn="just">
              <a:spcAft>
                <a:spcPts val="900"/>
              </a:spcAft>
              <a:buClr>
                <a:schemeClr val="accent2"/>
              </a:buClr>
              <a:buFont typeface="Arial" panose="020B0604020202020204" pitchFamily="34" charset="0"/>
              <a:buChar char="•"/>
            </a:pPr>
            <a:r>
              <a:rPr lang="en-IN" sz="2000" dirty="0">
                <a:latin typeface="Calibri" panose="020F0502020204030204" pitchFamily="34" charset="0"/>
              </a:rPr>
              <a:t>Other analysers are intended to perform routine oxygen spot checks either at the oxygen source (e.g., an oxygen concentrator), in the environment (e.g., oxygen hood) or during equipment maintenance. </a:t>
            </a:r>
            <a:endParaRPr lang="en-US" sz="2000" dirty="0">
              <a:latin typeface="Calibri" panose="020F0502020204030204" pitchFamily="34" charset="0"/>
            </a:endParaRPr>
          </a:p>
        </p:txBody>
      </p:sp>
      <p:sp>
        <p:nvSpPr>
          <p:cNvPr id="3" name="Text Placeholder 2">
            <a:extLst>
              <a:ext uri="{FF2B5EF4-FFF2-40B4-BE49-F238E27FC236}">
                <a16:creationId xmlns:a16="http://schemas.microsoft.com/office/drawing/2014/main" id="{B169579B-92DF-1147-AB51-F8DF68BF5505}"/>
              </a:ext>
            </a:extLst>
          </p:cNvPr>
          <p:cNvSpPr>
            <a:spLocks noGrp="1"/>
          </p:cNvSpPr>
          <p:nvPr>
            <p:ph type="body" sz="quarter" idx="14"/>
          </p:nvPr>
        </p:nvSpPr>
        <p:spPr>
          <a:xfrm>
            <a:off x="876300" y="883396"/>
            <a:ext cx="7467600" cy="821907"/>
          </a:xfrm>
        </p:spPr>
        <p:txBody>
          <a:bodyPr anchor="b"/>
          <a:lstStyle/>
          <a:p>
            <a:pPr algn="ctr" defTabSz="457189" eaLnBrk="1" hangingPunct="1">
              <a:spcBef>
                <a:spcPts val="0"/>
              </a:spcBef>
              <a:buFont typeface="Arial" panose="020B0604020202020204" pitchFamily="34" charset="0"/>
              <a:buChar char=" "/>
              <a:defRPr/>
            </a:pPr>
            <a:r>
              <a:rPr lang="en-IN" sz="3600" b="1" spc="-50" dirty="0">
                <a:solidFill>
                  <a:schemeClr val="accent2">
                    <a:lumMod val="75000"/>
                  </a:schemeClr>
                </a:solidFill>
                <a:latin typeface="Calibri" panose="020F0502020204030204" pitchFamily="34" charset="0"/>
                <a:ea typeface="+mj-ea"/>
                <a:cs typeface="+mj-cs"/>
              </a:rPr>
              <a:t>Oxygen Analysers</a:t>
            </a:r>
          </a:p>
        </p:txBody>
      </p:sp>
    </p:spTree>
    <p:extLst>
      <p:ext uri="{BB962C8B-B14F-4D97-AF65-F5344CB8AC3E}">
        <p14:creationId xmlns:p14="http://schemas.microsoft.com/office/powerpoint/2010/main" val="2200045764"/>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8EC60-26EA-3948-884C-87F7DA10814B}"/>
              </a:ext>
            </a:extLst>
          </p:cNvPr>
          <p:cNvSpPr>
            <a:spLocks noGrp="1"/>
          </p:cNvSpPr>
          <p:nvPr>
            <p:ph type="title"/>
          </p:nvPr>
        </p:nvSpPr>
        <p:spPr>
          <a:xfrm>
            <a:off x="919692" y="421138"/>
            <a:ext cx="7543800" cy="1319726"/>
          </a:xfrm>
        </p:spPr>
        <p:txBody>
          <a:bodyPr>
            <a:noAutofit/>
          </a:bodyPr>
          <a:lstStyle/>
          <a:p>
            <a:pPr algn="ctr"/>
            <a:r>
              <a:rPr lang="en-US" b="1" spc="-50" dirty="0">
                <a:solidFill>
                  <a:schemeClr val="accent2">
                    <a:lumMod val="75000"/>
                  </a:schemeClr>
                </a:solidFill>
                <a:latin typeface="+mn-lt"/>
              </a:rPr>
              <a:t>Medical Grade Oxygen</a:t>
            </a:r>
          </a:p>
        </p:txBody>
      </p:sp>
      <p:grpSp>
        <p:nvGrpSpPr>
          <p:cNvPr id="4" name="Group 3">
            <a:extLst>
              <a:ext uri="{FF2B5EF4-FFF2-40B4-BE49-F238E27FC236}">
                <a16:creationId xmlns:a16="http://schemas.microsoft.com/office/drawing/2014/main" id="{8ABE829F-3D0F-49F3-85A2-E0F353350A21}"/>
              </a:ext>
            </a:extLst>
          </p:cNvPr>
          <p:cNvGrpSpPr/>
          <p:nvPr/>
        </p:nvGrpSpPr>
        <p:grpSpPr>
          <a:xfrm>
            <a:off x="919692" y="2209800"/>
            <a:ext cx="7424208" cy="3335955"/>
            <a:chOff x="935395" y="1885096"/>
            <a:chExt cx="7424208" cy="3335955"/>
          </a:xfrm>
        </p:grpSpPr>
        <p:sp>
          <p:nvSpPr>
            <p:cNvPr id="7" name="Arc 6">
              <a:extLst>
                <a:ext uri="{FF2B5EF4-FFF2-40B4-BE49-F238E27FC236}">
                  <a16:creationId xmlns:a16="http://schemas.microsoft.com/office/drawing/2014/main" id="{91462256-03D1-45BA-BEBB-7CBB075760E0}"/>
                </a:ext>
              </a:extLst>
            </p:cNvPr>
            <p:cNvSpPr/>
            <p:nvPr/>
          </p:nvSpPr>
          <p:spPr>
            <a:xfrm>
              <a:off x="2949251" y="1924050"/>
              <a:ext cx="3086100" cy="3086100"/>
            </a:xfrm>
            <a:prstGeom prst="arc">
              <a:avLst>
                <a:gd name="adj1" fmla="val 7363147"/>
                <a:gd name="adj2" fmla="val 14005183"/>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cxnSp>
          <p:nvCxnSpPr>
            <p:cNvPr id="9" name="Straight Connector 8">
              <a:extLst>
                <a:ext uri="{FF2B5EF4-FFF2-40B4-BE49-F238E27FC236}">
                  <a16:creationId xmlns:a16="http://schemas.microsoft.com/office/drawing/2014/main" id="{92B88A5F-7DD9-4368-94EE-EDE5D56B6F05}"/>
                </a:ext>
              </a:extLst>
            </p:cNvPr>
            <p:cNvCxnSpPr>
              <a:cxnSpLocks/>
              <a:stCxn id="7" idx="2"/>
            </p:cNvCxnSpPr>
            <p:nvPr/>
          </p:nvCxnSpPr>
          <p:spPr>
            <a:xfrm>
              <a:off x="3572723" y="2227996"/>
              <a:ext cx="324194" cy="40090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01F62D6B-8A64-4830-9BDB-306796D5F60A}"/>
                </a:ext>
              </a:extLst>
            </p:cNvPr>
            <p:cNvSpPr>
              <a:spLocks noChangeAspect="1"/>
            </p:cNvSpPr>
            <p:nvPr/>
          </p:nvSpPr>
          <p:spPr>
            <a:xfrm>
              <a:off x="2691368" y="2628900"/>
              <a:ext cx="685800" cy="6858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6" name="Oval 75">
              <a:extLst>
                <a:ext uri="{FF2B5EF4-FFF2-40B4-BE49-F238E27FC236}">
                  <a16:creationId xmlns:a16="http://schemas.microsoft.com/office/drawing/2014/main" id="{096B5C75-2E2F-496D-9015-9C9802F2D5A7}"/>
                </a:ext>
              </a:extLst>
            </p:cNvPr>
            <p:cNvSpPr>
              <a:spLocks noChangeAspect="1"/>
            </p:cNvSpPr>
            <p:nvPr/>
          </p:nvSpPr>
          <p:spPr>
            <a:xfrm>
              <a:off x="2684831" y="3611257"/>
              <a:ext cx="685800" cy="6858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7" name="Oval 76">
              <a:extLst>
                <a:ext uri="{FF2B5EF4-FFF2-40B4-BE49-F238E27FC236}">
                  <a16:creationId xmlns:a16="http://schemas.microsoft.com/office/drawing/2014/main" id="{57809A3C-21B2-4878-9357-ED91F2720244}"/>
                </a:ext>
              </a:extLst>
            </p:cNvPr>
            <p:cNvSpPr>
              <a:spLocks noChangeAspect="1"/>
            </p:cNvSpPr>
            <p:nvPr/>
          </p:nvSpPr>
          <p:spPr>
            <a:xfrm>
              <a:off x="3232203" y="4363304"/>
              <a:ext cx="685800" cy="6858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8" name="Arc 77">
              <a:extLst>
                <a:ext uri="{FF2B5EF4-FFF2-40B4-BE49-F238E27FC236}">
                  <a16:creationId xmlns:a16="http://schemas.microsoft.com/office/drawing/2014/main" id="{77EE653B-8CCE-4FF6-B36B-396618932A55}"/>
                </a:ext>
              </a:extLst>
            </p:cNvPr>
            <p:cNvSpPr/>
            <p:nvPr/>
          </p:nvSpPr>
          <p:spPr>
            <a:xfrm flipH="1">
              <a:off x="3012465" y="1885096"/>
              <a:ext cx="3086100" cy="3086100"/>
            </a:xfrm>
            <a:prstGeom prst="arc">
              <a:avLst>
                <a:gd name="adj1" fmla="val 7363147"/>
                <a:gd name="adj2" fmla="val 14005183"/>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dirty="0"/>
            </a:p>
          </p:txBody>
        </p:sp>
        <p:cxnSp>
          <p:nvCxnSpPr>
            <p:cNvPr id="79" name="Straight Connector 78">
              <a:extLst>
                <a:ext uri="{FF2B5EF4-FFF2-40B4-BE49-F238E27FC236}">
                  <a16:creationId xmlns:a16="http://schemas.microsoft.com/office/drawing/2014/main" id="{DF032B3B-E87B-4176-9FE1-824A1366A8E7}"/>
                </a:ext>
              </a:extLst>
            </p:cNvPr>
            <p:cNvCxnSpPr>
              <a:cxnSpLocks/>
            </p:cNvCxnSpPr>
            <p:nvPr/>
          </p:nvCxnSpPr>
          <p:spPr>
            <a:xfrm>
              <a:off x="5063902" y="4323496"/>
              <a:ext cx="324194" cy="400904"/>
            </a:xfrm>
            <a:prstGeom prst="line">
              <a:avLst/>
            </a:prstGeom>
            <a:ln/>
          </p:spPr>
          <p:style>
            <a:lnRef idx="1">
              <a:schemeClr val="accent2"/>
            </a:lnRef>
            <a:fillRef idx="0">
              <a:schemeClr val="accent2"/>
            </a:fillRef>
            <a:effectRef idx="0">
              <a:schemeClr val="accent2"/>
            </a:effectRef>
            <a:fontRef idx="minor">
              <a:schemeClr val="tx1"/>
            </a:fontRef>
          </p:style>
        </p:cxnSp>
        <p:sp>
          <p:nvSpPr>
            <p:cNvPr id="3" name="Oval 2">
              <a:extLst>
                <a:ext uri="{FF2B5EF4-FFF2-40B4-BE49-F238E27FC236}">
                  <a16:creationId xmlns:a16="http://schemas.microsoft.com/office/drawing/2014/main" id="{8CA1D144-B77D-4ABE-B25E-4785D161A2E0}"/>
                </a:ext>
              </a:extLst>
            </p:cNvPr>
            <p:cNvSpPr/>
            <p:nvPr/>
          </p:nvSpPr>
          <p:spPr>
            <a:xfrm>
              <a:off x="3463601" y="2438400"/>
              <a:ext cx="2057400" cy="205740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 name="Picture 5">
              <a:extLst>
                <a:ext uri="{FF2B5EF4-FFF2-40B4-BE49-F238E27FC236}">
                  <a16:creationId xmlns:a16="http://schemas.microsoft.com/office/drawing/2014/main" id="{5FAE304B-DC6F-45E5-8A39-1F63A3EA795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77285" y="2743200"/>
              <a:ext cx="1217981" cy="1371600"/>
            </a:xfrm>
            <a:prstGeom prst="rect">
              <a:avLst/>
            </a:prstGeom>
          </p:spPr>
        </p:pic>
        <p:sp>
          <p:nvSpPr>
            <p:cNvPr id="80" name="Oval 79">
              <a:extLst>
                <a:ext uri="{FF2B5EF4-FFF2-40B4-BE49-F238E27FC236}">
                  <a16:creationId xmlns:a16="http://schemas.microsoft.com/office/drawing/2014/main" id="{C14A30D9-02D1-4015-8D62-8A7A73FB7FDD}"/>
                </a:ext>
              </a:extLst>
            </p:cNvPr>
            <p:cNvSpPr>
              <a:spLocks noChangeAspect="1"/>
            </p:cNvSpPr>
            <p:nvPr/>
          </p:nvSpPr>
          <p:spPr>
            <a:xfrm>
              <a:off x="5271071" y="1924050"/>
              <a:ext cx="685800" cy="685800"/>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1" name="Oval 80">
              <a:extLst>
                <a:ext uri="{FF2B5EF4-FFF2-40B4-BE49-F238E27FC236}">
                  <a16:creationId xmlns:a16="http://schemas.microsoft.com/office/drawing/2014/main" id="{7D6962FA-3DBA-417C-A622-8AC9B8592D32}"/>
                </a:ext>
              </a:extLst>
            </p:cNvPr>
            <p:cNvSpPr>
              <a:spLocks noChangeAspect="1"/>
            </p:cNvSpPr>
            <p:nvPr/>
          </p:nvSpPr>
          <p:spPr>
            <a:xfrm>
              <a:off x="5732228" y="2826692"/>
              <a:ext cx="685800" cy="685800"/>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2" name="Oval 81">
              <a:extLst>
                <a:ext uri="{FF2B5EF4-FFF2-40B4-BE49-F238E27FC236}">
                  <a16:creationId xmlns:a16="http://schemas.microsoft.com/office/drawing/2014/main" id="{65C8CC24-3F0C-4153-9F6B-44596106BED1}"/>
                </a:ext>
              </a:extLst>
            </p:cNvPr>
            <p:cNvSpPr>
              <a:spLocks noChangeAspect="1"/>
            </p:cNvSpPr>
            <p:nvPr/>
          </p:nvSpPr>
          <p:spPr>
            <a:xfrm>
              <a:off x="5483873" y="3829478"/>
              <a:ext cx="685800" cy="685800"/>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3" name="Subtitle 10">
              <a:extLst>
                <a:ext uri="{FF2B5EF4-FFF2-40B4-BE49-F238E27FC236}">
                  <a16:creationId xmlns:a16="http://schemas.microsoft.com/office/drawing/2014/main" id="{11D6E184-99E8-4795-AE28-973A58D9FBFA}"/>
                </a:ext>
              </a:extLst>
            </p:cNvPr>
            <p:cNvSpPr txBox="1">
              <a:spLocks/>
            </p:cNvSpPr>
            <p:nvPr/>
          </p:nvSpPr>
          <p:spPr>
            <a:xfrm>
              <a:off x="937127" y="2677274"/>
              <a:ext cx="1645920" cy="548640"/>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2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Clr>
                  <a:srgbClr val="C2113A"/>
                </a:buClr>
                <a:buFont typeface="Wingdings" panose="05000000000000000000" pitchFamily="2" charset="2"/>
                <a:buChar char="§"/>
                <a:defRPr sz="28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SzPct val="75000"/>
                <a:buFont typeface="Wingdings" panose="05000000000000000000" pitchFamily="2" charset="2"/>
                <a:buChar char="ü"/>
                <a:defRPr sz="24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0" indent="0" algn="just" defTabSz="342900" eaLnBrk="0" hangingPunct="0">
                <a:spcBef>
                  <a:spcPct val="0"/>
                </a:spcBef>
                <a:buClrTx/>
                <a:buNone/>
                <a:defRPr/>
              </a:pPr>
              <a:r>
                <a:rPr lang="en-US" sz="1400" dirty="0">
                  <a:solidFill>
                    <a:schemeClr val="accent4"/>
                  </a:solidFill>
                  <a:latin typeface="Calibri" panose="020F0502020204030204" pitchFamily="34" charset="0"/>
                  <a:cs typeface="Arial" panose="020B0604020202020204" pitchFamily="34" charset="0"/>
                </a:rPr>
                <a:t>An essential medicine required at all levels of the health care system</a:t>
              </a:r>
            </a:p>
          </p:txBody>
        </p:sp>
        <p:sp>
          <p:nvSpPr>
            <p:cNvPr id="84" name="Subtitle 10">
              <a:extLst>
                <a:ext uri="{FF2B5EF4-FFF2-40B4-BE49-F238E27FC236}">
                  <a16:creationId xmlns:a16="http://schemas.microsoft.com/office/drawing/2014/main" id="{E6BFA38A-7A00-4310-A438-964684473CF8}"/>
                </a:ext>
              </a:extLst>
            </p:cNvPr>
            <p:cNvSpPr txBox="1">
              <a:spLocks/>
            </p:cNvSpPr>
            <p:nvPr/>
          </p:nvSpPr>
          <p:spPr>
            <a:xfrm>
              <a:off x="1219200" y="4672411"/>
              <a:ext cx="1934546" cy="548640"/>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2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Clr>
                  <a:srgbClr val="C2113A"/>
                </a:buClr>
                <a:buFont typeface="Wingdings" panose="05000000000000000000" pitchFamily="2" charset="2"/>
                <a:buChar char="§"/>
                <a:defRPr sz="28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SzPct val="75000"/>
                <a:buFont typeface="Wingdings" panose="05000000000000000000" pitchFamily="2" charset="2"/>
                <a:buChar char="ü"/>
                <a:defRPr sz="24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0" indent="0" algn="just" defTabSz="342900" eaLnBrk="0" hangingPunct="0">
                <a:spcBef>
                  <a:spcPct val="0"/>
                </a:spcBef>
                <a:buClrTx/>
                <a:buNone/>
                <a:defRPr/>
              </a:pPr>
              <a:r>
                <a:rPr lang="en-US" sz="1400" dirty="0">
                  <a:solidFill>
                    <a:schemeClr val="accent4"/>
                  </a:solidFill>
                  <a:latin typeface="Calibri" panose="020F0502020204030204" pitchFamily="34" charset="0"/>
                  <a:cs typeface="Arial" panose="020B0604020202020204" pitchFamily="34" charset="0"/>
                </a:rPr>
                <a:t>Only high quality, medical-grade oxygen should be given to patients</a:t>
              </a:r>
            </a:p>
          </p:txBody>
        </p:sp>
        <p:sp>
          <p:nvSpPr>
            <p:cNvPr id="85" name="Subtitle 10">
              <a:extLst>
                <a:ext uri="{FF2B5EF4-FFF2-40B4-BE49-F238E27FC236}">
                  <a16:creationId xmlns:a16="http://schemas.microsoft.com/office/drawing/2014/main" id="{35A20B0C-8057-42D7-B211-F4E40AEB740B}"/>
                </a:ext>
              </a:extLst>
            </p:cNvPr>
            <p:cNvSpPr txBox="1">
              <a:spLocks/>
            </p:cNvSpPr>
            <p:nvPr/>
          </p:nvSpPr>
          <p:spPr>
            <a:xfrm>
              <a:off x="935395" y="3660957"/>
              <a:ext cx="1714500" cy="548640"/>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2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Clr>
                  <a:srgbClr val="C2113A"/>
                </a:buClr>
                <a:buFont typeface="Wingdings" panose="05000000000000000000" pitchFamily="2" charset="2"/>
                <a:buChar char="§"/>
                <a:defRPr sz="28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SzPct val="75000"/>
                <a:buFont typeface="Wingdings" panose="05000000000000000000" pitchFamily="2" charset="2"/>
                <a:buChar char="ü"/>
                <a:defRPr sz="24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0" indent="0" algn="just" defTabSz="342900" eaLnBrk="0" hangingPunct="0">
                <a:spcBef>
                  <a:spcPct val="0"/>
                </a:spcBef>
                <a:buClrTx/>
                <a:buNone/>
                <a:defRPr/>
              </a:pPr>
              <a:r>
                <a:rPr lang="en-US" sz="1400" dirty="0">
                  <a:solidFill>
                    <a:schemeClr val="accent4"/>
                  </a:solidFill>
                  <a:latin typeface="Calibri" panose="020F0502020204030204" pitchFamily="34" charset="0"/>
                  <a:cs typeface="Arial" panose="020B0604020202020204" pitchFamily="34" charset="0"/>
                </a:rPr>
                <a:t>Oxygen of a minimum 90% purity and free from any contamination</a:t>
              </a:r>
            </a:p>
          </p:txBody>
        </p:sp>
        <p:pic>
          <p:nvPicPr>
            <p:cNvPr id="16" name="Picture 15">
              <a:extLst>
                <a:ext uri="{FF2B5EF4-FFF2-40B4-BE49-F238E27FC236}">
                  <a16:creationId xmlns:a16="http://schemas.microsoft.com/office/drawing/2014/main" id="{ED8C275C-04D0-4F07-BE82-6B3AB15E83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34353" y="2753003"/>
              <a:ext cx="411480" cy="370332"/>
            </a:xfrm>
            <a:prstGeom prst="rect">
              <a:avLst/>
            </a:prstGeom>
          </p:spPr>
        </p:pic>
        <p:pic>
          <p:nvPicPr>
            <p:cNvPr id="18" name="Picture 17">
              <a:extLst>
                <a:ext uri="{FF2B5EF4-FFF2-40B4-BE49-F238E27FC236}">
                  <a16:creationId xmlns:a16="http://schemas.microsoft.com/office/drawing/2014/main" id="{95CFE7A5-5736-4F9F-B93F-17E4887552B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20502" y="3747095"/>
              <a:ext cx="411480" cy="396240"/>
            </a:xfrm>
            <a:prstGeom prst="rect">
              <a:avLst/>
            </a:prstGeom>
          </p:spPr>
        </p:pic>
        <p:pic>
          <p:nvPicPr>
            <p:cNvPr id="20" name="Picture 19">
              <a:extLst>
                <a:ext uri="{FF2B5EF4-FFF2-40B4-BE49-F238E27FC236}">
                  <a16:creationId xmlns:a16="http://schemas.microsoft.com/office/drawing/2014/main" id="{D9E04307-6C84-4D12-AA04-1FE3EBADA75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77168" y="4518854"/>
              <a:ext cx="411480" cy="411480"/>
            </a:xfrm>
            <a:prstGeom prst="rect">
              <a:avLst/>
            </a:prstGeom>
          </p:spPr>
        </p:pic>
        <p:sp>
          <p:nvSpPr>
            <p:cNvPr id="92" name="Subtitle 10">
              <a:extLst>
                <a:ext uri="{FF2B5EF4-FFF2-40B4-BE49-F238E27FC236}">
                  <a16:creationId xmlns:a16="http://schemas.microsoft.com/office/drawing/2014/main" id="{BC716EA5-3C50-41B7-9472-CFB159CB8B02}"/>
                </a:ext>
              </a:extLst>
            </p:cNvPr>
            <p:cNvSpPr txBox="1">
              <a:spLocks/>
            </p:cNvSpPr>
            <p:nvPr/>
          </p:nvSpPr>
          <p:spPr>
            <a:xfrm>
              <a:off x="6130702" y="1924050"/>
              <a:ext cx="1988820" cy="548640"/>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2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Clr>
                  <a:srgbClr val="C2113A"/>
                </a:buClr>
                <a:buFont typeface="Wingdings" panose="05000000000000000000" pitchFamily="2" charset="2"/>
                <a:buChar char="§"/>
                <a:defRPr sz="28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SzPct val="75000"/>
                <a:buFont typeface="Wingdings" panose="05000000000000000000" pitchFamily="2" charset="2"/>
                <a:buChar char="ü"/>
                <a:defRPr sz="24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0" indent="0" algn="just" defTabSz="342900" eaLnBrk="0" hangingPunct="0">
                <a:spcBef>
                  <a:spcPct val="0"/>
                </a:spcBef>
                <a:buClrTx/>
                <a:buNone/>
                <a:defRPr/>
              </a:pPr>
              <a:r>
                <a:rPr lang="en-US" sz="1400" dirty="0">
                  <a:solidFill>
                    <a:schemeClr val="accent2"/>
                  </a:solidFill>
                  <a:latin typeface="Calibri" panose="020F0502020204030204" pitchFamily="34" charset="0"/>
                  <a:cs typeface="Arial" panose="020B0604020202020204" pitchFamily="34" charset="0"/>
                </a:rPr>
                <a:t>Oxygen is not a flammable gas, but it easily supports combustion</a:t>
              </a:r>
            </a:p>
          </p:txBody>
        </p:sp>
        <p:sp>
          <p:nvSpPr>
            <p:cNvPr id="93" name="Subtitle 10">
              <a:extLst>
                <a:ext uri="{FF2B5EF4-FFF2-40B4-BE49-F238E27FC236}">
                  <a16:creationId xmlns:a16="http://schemas.microsoft.com/office/drawing/2014/main" id="{9A1841AB-3564-4FA6-885B-5BE7CB1DA225}"/>
                </a:ext>
              </a:extLst>
            </p:cNvPr>
            <p:cNvSpPr txBox="1">
              <a:spLocks/>
            </p:cNvSpPr>
            <p:nvPr/>
          </p:nvSpPr>
          <p:spPr>
            <a:xfrm>
              <a:off x="6370784" y="3935277"/>
              <a:ext cx="1988819" cy="754380"/>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2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Clr>
                  <a:srgbClr val="C2113A"/>
                </a:buClr>
                <a:buFont typeface="Wingdings" panose="05000000000000000000" pitchFamily="2" charset="2"/>
                <a:buChar char="§"/>
                <a:defRPr sz="28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SzPct val="75000"/>
                <a:buFont typeface="Wingdings" panose="05000000000000000000" pitchFamily="2" charset="2"/>
                <a:buChar char="ü"/>
                <a:defRPr sz="24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0" indent="0" algn="just" defTabSz="342900" eaLnBrk="0" hangingPunct="0">
                <a:spcBef>
                  <a:spcPct val="0"/>
                </a:spcBef>
                <a:buClrTx/>
                <a:buNone/>
                <a:defRPr/>
              </a:pPr>
              <a:r>
                <a:rPr lang="en-US" sz="1400" dirty="0">
                  <a:solidFill>
                    <a:schemeClr val="accent2"/>
                  </a:solidFill>
                  <a:latin typeface="Calibri" panose="020F0502020204030204" pitchFamily="34" charset="0"/>
                  <a:cs typeface="Arial" panose="020B0604020202020204" pitchFamily="34" charset="0"/>
                </a:rPr>
                <a:t>Some fuels, such as oil and grease, burn almost explosively when combined with oxygen</a:t>
              </a:r>
            </a:p>
          </p:txBody>
        </p:sp>
        <p:sp>
          <p:nvSpPr>
            <p:cNvPr id="94" name="Subtitle 10">
              <a:extLst>
                <a:ext uri="{FF2B5EF4-FFF2-40B4-BE49-F238E27FC236}">
                  <a16:creationId xmlns:a16="http://schemas.microsoft.com/office/drawing/2014/main" id="{5B39B850-9F1B-4868-B138-C5E7748BB711}"/>
                </a:ext>
              </a:extLst>
            </p:cNvPr>
            <p:cNvSpPr txBox="1">
              <a:spLocks/>
            </p:cNvSpPr>
            <p:nvPr/>
          </p:nvSpPr>
          <p:spPr>
            <a:xfrm>
              <a:off x="6559222" y="2929664"/>
              <a:ext cx="1714500" cy="548640"/>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32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Clr>
                  <a:srgbClr val="C2113A"/>
                </a:buClr>
                <a:buFont typeface="Wingdings" panose="05000000000000000000" pitchFamily="2" charset="2"/>
                <a:buChar char="§"/>
                <a:defRPr sz="28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SzPct val="75000"/>
                <a:buFont typeface="Wingdings" panose="05000000000000000000" pitchFamily="2" charset="2"/>
                <a:buChar char="ü"/>
                <a:defRPr sz="24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9pPr>
            </a:lstStyle>
            <a:p>
              <a:pPr marL="0" indent="0" algn="just" defTabSz="342900" eaLnBrk="0" hangingPunct="0">
                <a:spcBef>
                  <a:spcPct val="0"/>
                </a:spcBef>
                <a:buClrTx/>
                <a:buNone/>
                <a:defRPr/>
              </a:pPr>
              <a:r>
                <a:rPr lang="en-US" sz="1400" dirty="0">
                  <a:solidFill>
                    <a:schemeClr val="accent2"/>
                  </a:solidFill>
                  <a:latin typeface="Calibri" panose="020F0502020204030204" pitchFamily="34" charset="0"/>
                  <a:cs typeface="Arial" panose="020B0604020202020204" pitchFamily="34" charset="0"/>
                </a:rPr>
                <a:t>Materials flammable in air will burn vigorously in oxygen</a:t>
              </a:r>
            </a:p>
          </p:txBody>
        </p:sp>
        <p:pic>
          <p:nvPicPr>
            <p:cNvPr id="22" name="Picture 21">
              <a:extLst>
                <a:ext uri="{FF2B5EF4-FFF2-40B4-BE49-F238E27FC236}">
                  <a16:creationId xmlns:a16="http://schemas.microsoft.com/office/drawing/2014/main" id="{CB2CD37E-7394-4BA5-90A8-E8CA53A0187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70295" y="2046070"/>
              <a:ext cx="287351" cy="411480"/>
            </a:xfrm>
            <a:prstGeom prst="rect">
              <a:avLst/>
            </a:prstGeom>
          </p:spPr>
        </p:pic>
        <p:pic>
          <p:nvPicPr>
            <p:cNvPr id="24" name="Picture 23">
              <a:extLst>
                <a:ext uri="{FF2B5EF4-FFF2-40B4-BE49-F238E27FC236}">
                  <a16:creationId xmlns:a16="http://schemas.microsoft.com/office/drawing/2014/main" id="{3C38231B-0868-4FD8-8057-9224AD6966E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54459" y="3005681"/>
              <a:ext cx="488213" cy="342900"/>
            </a:xfrm>
            <a:prstGeom prst="rect">
              <a:avLst/>
            </a:prstGeom>
          </p:spPr>
        </p:pic>
        <p:pic>
          <p:nvPicPr>
            <p:cNvPr id="26" name="Picture 25">
              <a:extLst>
                <a:ext uri="{FF2B5EF4-FFF2-40B4-BE49-F238E27FC236}">
                  <a16:creationId xmlns:a16="http://schemas.microsoft.com/office/drawing/2014/main" id="{810999F6-9115-4FEC-9874-65C225C7F4C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58070" y="3993959"/>
              <a:ext cx="392777" cy="411480"/>
            </a:xfrm>
            <a:prstGeom prst="rect">
              <a:avLst/>
            </a:prstGeom>
          </p:spPr>
        </p:pic>
      </p:grpSp>
    </p:spTree>
    <p:extLst>
      <p:ext uri="{BB962C8B-B14F-4D97-AF65-F5344CB8AC3E}">
        <p14:creationId xmlns:p14="http://schemas.microsoft.com/office/powerpoint/2010/main" val="408415013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87C7AC-3707-4D44-9591-4682AE5408F9}"/>
              </a:ext>
            </a:extLst>
          </p:cNvPr>
          <p:cNvSpPr>
            <a:spLocks noGrp="1"/>
          </p:cNvSpPr>
          <p:nvPr>
            <p:ph type="body" sz="quarter" idx="13"/>
          </p:nvPr>
        </p:nvSpPr>
        <p:spPr>
          <a:xfrm>
            <a:off x="6293172" y="1825428"/>
            <a:ext cx="1479228" cy="640380"/>
          </a:xfrm>
        </p:spPr>
        <p:txBody>
          <a:bodyPr>
            <a:noAutofit/>
          </a:bodyPr>
          <a:lstStyle/>
          <a:p>
            <a:pPr algn="ctr">
              <a:spcAft>
                <a:spcPts val="0"/>
              </a:spcAft>
            </a:pPr>
            <a:r>
              <a:rPr lang="en-IN" b="1" dirty="0">
                <a:latin typeface="Calibri" panose="020F0502020204030204" pitchFamily="34" charset="0"/>
              </a:rPr>
              <a:t>Multiparameter analysers (Concentration, flow and pressure)</a:t>
            </a:r>
          </a:p>
        </p:txBody>
      </p:sp>
      <p:sp>
        <p:nvSpPr>
          <p:cNvPr id="3" name="Text Placeholder 2">
            <a:extLst>
              <a:ext uri="{FF2B5EF4-FFF2-40B4-BE49-F238E27FC236}">
                <a16:creationId xmlns:a16="http://schemas.microsoft.com/office/drawing/2014/main" id="{D90A546C-9479-9D4A-A074-1D9226959E74}"/>
              </a:ext>
            </a:extLst>
          </p:cNvPr>
          <p:cNvSpPr>
            <a:spLocks noGrp="1"/>
          </p:cNvSpPr>
          <p:nvPr>
            <p:ph type="body" sz="quarter" idx="14"/>
          </p:nvPr>
        </p:nvSpPr>
        <p:spPr>
          <a:xfrm>
            <a:off x="885762" y="798691"/>
            <a:ext cx="7467600" cy="943271"/>
          </a:xfrm>
        </p:spPr>
        <p:txBody>
          <a:bodyPr anchor="b"/>
          <a:lstStyle/>
          <a:p>
            <a:pPr algn="ctr" defTabSz="457189" eaLnBrk="1" hangingPunct="1">
              <a:spcBef>
                <a:spcPts val="0"/>
              </a:spcBef>
              <a:buFont typeface="Arial" panose="020B0604020202020204" pitchFamily="34" charset="0"/>
              <a:buChar char=" "/>
              <a:defRPr/>
            </a:pPr>
            <a:r>
              <a:rPr lang="en-US" sz="3600" b="1" spc="-50" dirty="0">
                <a:solidFill>
                  <a:schemeClr val="accent2">
                    <a:lumMod val="75000"/>
                  </a:schemeClr>
                </a:solidFill>
                <a:latin typeface="Calibri" panose="020F0502020204030204" pitchFamily="34" charset="0"/>
                <a:ea typeface="+mj-ea"/>
                <a:cs typeface="+mj-cs"/>
              </a:rPr>
              <a:t>Types of Oxygen Analysers</a:t>
            </a:r>
          </a:p>
        </p:txBody>
      </p:sp>
      <p:pic>
        <p:nvPicPr>
          <p:cNvPr id="5" name="Picture 4">
            <a:extLst>
              <a:ext uri="{FF2B5EF4-FFF2-40B4-BE49-F238E27FC236}">
                <a16:creationId xmlns:a16="http://schemas.microsoft.com/office/drawing/2014/main" id="{F2375176-934D-5C4B-82DB-461893B57B2D}"/>
              </a:ext>
            </a:extLst>
          </p:cNvPr>
          <p:cNvPicPr>
            <a:picLocks noChangeAspect="1"/>
          </p:cNvPicPr>
          <p:nvPr/>
        </p:nvPicPr>
        <p:blipFill>
          <a:blip r:embed="rId2"/>
          <a:stretch>
            <a:fillRect/>
          </a:stretch>
        </p:blipFill>
        <p:spPr>
          <a:xfrm>
            <a:off x="4584222" y="2714641"/>
            <a:ext cx="958166" cy="887559"/>
          </a:xfrm>
          <a:prstGeom prst="roundRect">
            <a:avLst/>
          </a:prstGeom>
          <a:ln>
            <a:noFill/>
          </a:ln>
        </p:spPr>
      </p:pic>
      <p:pic>
        <p:nvPicPr>
          <p:cNvPr id="6" name="Picture 5">
            <a:extLst>
              <a:ext uri="{FF2B5EF4-FFF2-40B4-BE49-F238E27FC236}">
                <a16:creationId xmlns:a16="http://schemas.microsoft.com/office/drawing/2014/main" id="{62EDECA8-C9F9-0447-A6FE-C8E99B7F4A1A}"/>
              </a:ext>
            </a:extLst>
          </p:cNvPr>
          <p:cNvPicPr>
            <a:picLocks noChangeAspect="1"/>
          </p:cNvPicPr>
          <p:nvPr/>
        </p:nvPicPr>
        <p:blipFill>
          <a:blip r:embed="rId3"/>
          <a:stretch>
            <a:fillRect/>
          </a:stretch>
        </p:blipFill>
        <p:spPr>
          <a:xfrm>
            <a:off x="6455117" y="2627397"/>
            <a:ext cx="958166" cy="894009"/>
          </a:xfrm>
          <a:prstGeom prst="roundRect">
            <a:avLst/>
          </a:prstGeom>
          <a:ln>
            <a:noFill/>
          </a:ln>
        </p:spPr>
      </p:pic>
      <p:sp>
        <p:nvSpPr>
          <p:cNvPr id="7" name="TextBox 6">
            <a:extLst>
              <a:ext uri="{FF2B5EF4-FFF2-40B4-BE49-F238E27FC236}">
                <a16:creationId xmlns:a16="http://schemas.microsoft.com/office/drawing/2014/main" id="{2A08037D-ADAE-FF42-9D13-461956C8B4BE}"/>
              </a:ext>
            </a:extLst>
          </p:cNvPr>
          <p:cNvSpPr txBox="1"/>
          <p:nvPr/>
        </p:nvSpPr>
        <p:spPr>
          <a:xfrm>
            <a:off x="2362199" y="1878649"/>
            <a:ext cx="1675224" cy="678496"/>
          </a:xfrm>
          <a:prstGeom prst="rect">
            <a:avLst/>
          </a:prstGeom>
          <a:noFill/>
        </p:spPr>
        <p:txBody>
          <a:bodyPr wrap="square" lIns="0" tIns="0" rIns="0" bIns="0" rtlCol="0">
            <a:noAutofit/>
          </a:bodyPr>
          <a:lstStyle/>
          <a:p>
            <a:pPr algn="ctr">
              <a:spcAft>
                <a:spcPts val="0"/>
              </a:spcAft>
            </a:pPr>
            <a:r>
              <a:rPr lang="en-IN" sz="1200" b="1" dirty="0">
                <a:latin typeface="Calibri" panose="020F0502020204030204" pitchFamily="34" charset="0"/>
              </a:rPr>
              <a:t>Oxygen analyser for testing concentration- Electrochemical</a:t>
            </a:r>
          </a:p>
        </p:txBody>
      </p:sp>
      <p:pic>
        <p:nvPicPr>
          <p:cNvPr id="9" name="Picture 8">
            <a:extLst>
              <a:ext uri="{FF2B5EF4-FFF2-40B4-BE49-F238E27FC236}">
                <a16:creationId xmlns:a16="http://schemas.microsoft.com/office/drawing/2014/main" id="{392AD3A9-BF9E-EB40-9631-343ADF019700}"/>
              </a:ext>
            </a:extLst>
          </p:cNvPr>
          <p:cNvPicPr>
            <a:picLocks noChangeAspect="1"/>
          </p:cNvPicPr>
          <p:nvPr/>
        </p:nvPicPr>
        <p:blipFill>
          <a:blip r:embed="rId4"/>
          <a:stretch>
            <a:fillRect/>
          </a:stretch>
        </p:blipFill>
        <p:spPr>
          <a:xfrm>
            <a:off x="2602027" y="2730566"/>
            <a:ext cx="958166" cy="921136"/>
          </a:xfrm>
          <a:prstGeom prst="roundRect">
            <a:avLst/>
          </a:prstGeom>
          <a:ln>
            <a:noFill/>
          </a:ln>
        </p:spPr>
      </p:pic>
      <p:sp>
        <p:nvSpPr>
          <p:cNvPr id="11" name="Rectangle 10">
            <a:extLst>
              <a:ext uri="{FF2B5EF4-FFF2-40B4-BE49-F238E27FC236}">
                <a16:creationId xmlns:a16="http://schemas.microsoft.com/office/drawing/2014/main" id="{002D29CC-E076-C34B-8153-BE56B3935391}"/>
              </a:ext>
            </a:extLst>
          </p:cNvPr>
          <p:cNvSpPr/>
          <p:nvPr/>
        </p:nvSpPr>
        <p:spPr>
          <a:xfrm>
            <a:off x="4291490" y="1883644"/>
            <a:ext cx="1630177" cy="646331"/>
          </a:xfrm>
          <a:prstGeom prst="rect">
            <a:avLst/>
          </a:prstGeom>
        </p:spPr>
        <p:txBody>
          <a:bodyPr wrap="square">
            <a:spAutoFit/>
          </a:bodyPr>
          <a:lstStyle/>
          <a:p>
            <a:pPr algn="ctr">
              <a:spcAft>
                <a:spcPts val="0"/>
              </a:spcAft>
            </a:pPr>
            <a:r>
              <a:rPr lang="en-IN" sz="1200" b="1" dirty="0">
                <a:latin typeface="Calibri" panose="020F0502020204030204" pitchFamily="34" charset="0"/>
              </a:rPr>
              <a:t>Oxygen analyser for testing concentration- Ultrasonic</a:t>
            </a:r>
          </a:p>
        </p:txBody>
      </p:sp>
      <p:pic>
        <p:nvPicPr>
          <p:cNvPr id="13" name="Picture 12" descr="Diagram, table&#10;&#10;Description automatically generated">
            <a:extLst>
              <a:ext uri="{FF2B5EF4-FFF2-40B4-BE49-F238E27FC236}">
                <a16:creationId xmlns:a16="http://schemas.microsoft.com/office/drawing/2014/main" id="{5F30473D-F778-274B-BB22-17518494AC36}"/>
              </a:ext>
            </a:extLst>
          </p:cNvPr>
          <p:cNvPicPr>
            <a:picLocks noChangeAspect="1"/>
          </p:cNvPicPr>
          <p:nvPr/>
        </p:nvPicPr>
        <p:blipFill>
          <a:blip r:embed="rId5">
            <a:duotone>
              <a:schemeClr val="accent2">
                <a:shade val="45000"/>
                <a:satMod val="135000"/>
              </a:schemeClr>
              <a:prstClr val="white"/>
            </a:duotone>
          </a:blip>
          <a:stretch>
            <a:fillRect/>
          </a:stretch>
        </p:blipFill>
        <p:spPr>
          <a:xfrm>
            <a:off x="906783" y="3682995"/>
            <a:ext cx="7322817" cy="2565405"/>
          </a:xfrm>
          <a:prstGeom prst="rect">
            <a:avLst/>
          </a:prstGeom>
        </p:spPr>
      </p:pic>
    </p:spTree>
    <p:extLst>
      <p:ext uri="{BB962C8B-B14F-4D97-AF65-F5344CB8AC3E}">
        <p14:creationId xmlns:p14="http://schemas.microsoft.com/office/powerpoint/2010/main" val="27113175"/>
      </p:ext>
    </p:extLst>
  </p:cSld>
  <p:clrMapOvr>
    <a:masterClrMapping/>
  </p:clrMapOvr>
  <p:transition spd="med">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95C48A-1229-3E4F-99ED-EE4451772484}"/>
              </a:ext>
            </a:extLst>
          </p:cNvPr>
          <p:cNvSpPr>
            <a:spLocks noGrp="1"/>
          </p:cNvSpPr>
          <p:nvPr>
            <p:ph type="body" sz="quarter" idx="13"/>
          </p:nvPr>
        </p:nvSpPr>
        <p:spPr>
          <a:xfrm>
            <a:off x="837771" y="1792591"/>
            <a:ext cx="6336571" cy="4412117"/>
          </a:xfrm>
        </p:spPr>
        <p:txBody>
          <a:bodyPr>
            <a:noAutofit/>
          </a:bodyPr>
          <a:lstStyle/>
          <a:p>
            <a:pPr>
              <a:spcAft>
                <a:spcPts val="0"/>
              </a:spcAft>
            </a:pPr>
            <a:r>
              <a:rPr lang="en-IN" sz="1600" dirty="0">
                <a:latin typeface="Calibri" panose="020F0502020204030204" pitchFamily="34" charset="0"/>
              </a:rPr>
              <a:t>Mechanical ventilator is an apparatus which can replace normal mechanism of breathing either by providing intermittent or continuous flow of oxygen or air under pressure, which is connected to the patient by a tube inserted through mouth, the nose or an opening in the trachea.</a:t>
            </a:r>
          </a:p>
          <a:p>
            <a:pPr>
              <a:spcAft>
                <a:spcPts val="0"/>
              </a:spcAft>
            </a:pPr>
            <a:endParaRPr lang="en-IN" sz="1600" dirty="0">
              <a:latin typeface="Calibri" panose="020F0502020204030204" pitchFamily="34" charset="0"/>
            </a:endParaRPr>
          </a:p>
          <a:p>
            <a:pPr>
              <a:spcAft>
                <a:spcPts val="0"/>
              </a:spcAft>
            </a:pPr>
            <a:r>
              <a:rPr lang="en-IN" sz="1600" b="1" dirty="0">
                <a:latin typeface="Calibri" panose="020F0502020204030204" pitchFamily="34" charset="0"/>
              </a:rPr>
              <a:t>Mode</a:t>
            </a:r>
          </a:p>
          <a:p>
            <a:pPr>
              <a:spcAft>
                <a:spcPts val="0"/>
              </a:spcAft>
            </a:pPr>
            <a:r>
              <a:rPr lang="en-IN" sz="1600" dirty="0">
                <a:latin typeface="Calibri" panose="020F0502020204030204" pitchFamily="34" charset="0"/>
              </a:rPr>
              <a:t>Mode is the set up or level that characterises and modifies the way oxygen is delivered to the patient.</a:t>
            </a:r>
          </a:p>
          <a:p>
            <a:pPr>
              <a:spcAft>
                <a:spcPts val="0"/>
              </a:spcAft>
            </a:pPr>
            <a:endParaRPr lang="en-IN" sz="1600" dirty="0">
              <a:latin typeface="Calibri" panose="020F0502020204030204" pitchFamily="34" charset="0"/>
            </a:endParaRPr>
          </a:p>
          <a:p>
            <a:pPr>
              <a:spcAft>
                <a:spcPts val="0"/>
              </a:spcAft>
            </a:pPr>
            <a:r>
              <a:rPr lang="en-IN" sz="1600" b="1" dirty="0">
                <a:latin typeface="Calibri" panose="020F0502020204030204" pitchFamily="34" charset="0"/>
              </a:rPr>
              <a:t>Types of non-invasive mode</a:t>
            </a:r>
          </a:p>
          <a:p>
            <a:pPr marL="257175" indent="-257175">
              <a:spcAft>
                <a:spcPts val="0"/>
              </a:spcAft>
              <a:buClr>
                <a:schemeClr val="accent2"/>
              </a:buClr>
              <a:buFont typeface="+mj-lt"/>
              <a:buAutoNum type="arabicPeriod"/>
            </a:pPr>
            <a:r>
              <a:rPr lang="en-IN" sz="1600" dirty="0">
                <a:latin typeface="Calibri" panose="020F0502020204030204" pitchFamily="34" charset="0"/>
              </a:rPr>
              <a:t>BIPAP Mode</a:t>
            </a:r>
          </a:p>
          <a:p>
            <a:pPr marL="257175" indent="-257175">
              <a:spcAft>
                <a:spcPts val="0"/>
              </a:spcAft>
              <a:buClr>
                <a:schemeClr val="accent2"/>
              </a:buClr>
              <a:buFont typeface="+mj-lt"/>
              <a:buAutoNum type="arabicPeriod"/>
            </a:pPr>
            <a:r>
              <a:rPr lang="en-IN" sz="1600" dirty="0">
                <a:latin typeface="Calibri" panose="020F0502020204030204" pitchFamily="34" charset="0"/>
              </a:rPr>
              <a:t>C PAP Mode</a:t>
            </a:r>
          </a:p>
          <a:p>
            <a:pPr>
              <a:spcAft>
                <a:spcPts val="0"/>
              </a:spcAft>
            </a:pPr>
            <a:r>
              <a:rPr lang="en-IN" sz="1600" b="1" dirty="0">
                <a:latin typeface="Calibri" panose="020F0502020204030204" pitchFamily="34" charset="0"/>
              </a:rPr>
              <a:t>Types of invasive mode</a:t>
            </a:r>
          </a:p>
          <a:p>
            <a:pPr marL="257175" indent="-257175">
              <a:spcAft>
                <a:spcPts val="0"/>
              </a:spcAft>
              <a:buClr>
                <a:schemeClr val="accent2"/>
              </a:buClr>
              <a:buFont typeface="+mj-lt"/>
              <a:buAutoNum type="arabicPeriod"/>
            </a:pPr>
            <a:r>
              <a:rPr lang="en-IN" sz="1600" dirty="0">
                <a:latin typeface="Calibri" panose="020F0502020204030204" pitchFamily="34" charset="0"/>
              </a:rPr>
              <a:t>Controlled</a:t>
            </a:r>
          </a:p>
          <a:p>
            <a:pPr marL="257175" indent="-257175">
              <a:spcAft>
                <a:spcPts val="0"/>
              </a:spcAft>
              <a:buClr>
                <a:schemeClr val="accent2"/>
              </a:buClr>
              <a:buFont typeface="+mj-lt"/>
              <a:buAutoNum type="arabicPeriod"/>
            </a:pPr>
            <a:r>
              <a:rPr lang="en-IN" sz="1600" dirty="0">
                <a:latin typeface="Calibri" panose="020F0502020204030204" pitchFamily="34" charset="0"/>
              </a:rPr>
              <a:t>Supportive</a:t>
            </a:r>
          </a:p>
          <a:p>
            <a:pPr marL="257175" indent="-257175">
              <a:spcAft>
                <a:spcPts val="0"/>
              </a:spcAft>
              <a:buClr>
                <a:schemeClr val="accent2"/>
              </a:buClr>
              <a:buFont typeface="+mj-lt"/>
              <a:buAutoNum type="arabicPeriod"/>
            </a:pPr>
            <a:r>
              <a:rPr lang="en-IN" sz="1600" dirty="0">
                <a:latin typeface="Calibri" panose="020F0502020204030204" pitchFamily="34" charset="0"/>
              </a:rPr>
              <a:t>Combination</a:t>
            </a:r>
          </a:p>
          <a:p>
            <a:pPr>
              <a:spcAft>
                <a:spcPts val="0"/>
              </a:spcAft>
            </a:pPr>
            <a:r>
              <a:rPr lang="en-IN" sz="1600" dirty="0">
                <a:latin typeface="Calibri" panose="020F0502020204030204" pitchFamily="34" charset="0"/>
              </a:rPr>
              <a:t>Ventilator equipment maintenance includes cleaning, sterilization, adjustment, servicing, and repair.</a:t>
            </a:r>
          </a:p>
          <a:p>
            <a:pPr>
              <a:spcAft>
                <a:spcPts val="0"/>
              </a:spcAft>
            </a:pPr>
            <a:endParaRPr lang="en-US" sz="1400" dirty="0">
              <a:latin typeface="Calibri" panose="020F0502020204030204" pitchFamily="34" charset="0"/>
            </a:endParaRPr>
          </a:p>
        </p:txBody>
      </p:sp>
      <p:sp>
        <p:nvSpPr>
          <p:cNvPr id="3" name="Text Placeholder 2">
            <a:extLst>
              <a:ext uri="{FF2B5EF4-FFF2-40B4-BE49-F238E27FC236}">
                <a16:creationId xmlns:a16="http://schemas.microsoft.com/office/drawing/2014/main" id="{E4131BC9-F569-A144-8C2B-8038671F2EE5}"/>
              </a:ext>
            </a:extLst>
          </p:cNvPr>
          <p:cNvSpPr>
            <a:spLocks noGrp="1"/>
          </p:cNvSpPr>
          <p:nvPr>
            <p:ph type="body" sz="quarter" idx="14"/>
          </p:nvPr>
        </p:nvSpPr>
        <p:spPr>
          <a:xfrm>
            <a:off x="925070" y="880454"/>
            <a:ext cx="7380729" cy="821907"/>
          </a:xfrm>
        </p:spPr>
        <p:txBody>
          <a:bodyPr anchor="b"/>
          <a:lstStyle/>
          <a:p>
            <a:pPr algn="ctr" defTabSz="457189" eaLnBrk="1" hangingPunct="1">
              <a:spcBef>
                <a:spcPts val="0"/>
              </a:spcBef>
              <a:buFont typeface="Arial" panose="020B0604020202020204" pitchFamily="34" charset="0"/>
              <a:buChar char=" "/>
              <a:defRPr/>
            </a:pPr>
            <a:r>
              <a:rPr lang="en-US" sz="3600" b="1" spc="-50" dirty="0">
                <a:solidFill>
                  <a:schemeClr val="accent2">
                    <a:lumMod val="75000"/>
                  </a:schemeClr>
                </a:solidFill>
                <a:latin typeface="Calibri" panose="020F0502020204030204" pitchFamily="34" charset="0"/>
                <a:ea typeface="+mj-ea"/>
                <a:cs typeface="+mj-cs"/>
              </a:rPr>
              <a:t>Ventilators</a:t>
            </a:r>
          </a:p>
        </p:txBody>
      </p:sp>
      <p:grpSp>
        <p:nvGrpSpPr>
          <p:cNvPr id="9" name="Group 8">
            <a:extLst>
              <a:ext uri="{FF2B5EF4-FFF2-40B4-BE49-F238E27FC236}">
                <a16:creationId xmlns:a16="http://schemas.microsoft.com/office/drawing/2014/main" id="{3C3FA19F-3C81-4B49-9050-81E13C6DC25D}"/>
              </a:ext>
            </a:extLst>
          </p:cNvPr>
          <p:cNvGrpSpPr/>
          <p:nvPr/>
        </p:nvGrpSpPr>
        <p:grpSpPr>
          <a:xfrm>
            <a:off x="7280303" y="1768071"/>
            <a:ext cx="1625669" cy="2892400"/>
            <a:chOff x="7129160" y="910557"/>
            <a:chExt cx="1625669" cy="2892400"/>
          </a:xfrm>
        </p:grpSpPr>
        <p:pic>
          <p:nvPicPr>
            <p:cNvPr id="4" name="Picture 3">
              <a:extLst>
                <a:ext uri="{FF2B5EF4-FFF2-40B4-BE49-F238E27FC236}">
                  <a16:creationId xmlns:a16="http://schemas.microsoft.com/office/drawing/2014/main" id="{01A15927-55C2-2444-9472-C8AF55E2A08E}"/>
                </a:ext>
              </a:extLst>
            </p:cNvPr>
            <p:cNvPicPr>
              <a:picLocks noChangeAspect="1"/>
            </p:cNvPicPr>
            <p:nvPr/>
          </p:nvPicPr>
          <p:blipFill>
            <a:blip r:embed="rId2"/>
            <a:stretch>
              <a:fillRect/>
            </a:stretch>
          </p:blipFill>
          <p:spPr>
            <a:xfrm>
              <a:off x="7250072" y="910557"/>
              <a:ext cx="1382004" cy="2398550"/>
            </a:xfrm>
            <a:prstGeom prst="rect">
              <a:avLst/>
            </a:prstGeom>
          </p:spPr>
        </p:pic>
        <p:sp>
          <p:nvSpPr>
            <p:cNvPr id="6" name="TextBox 5">
              <a:extLst>
                <a:ext uri="{FF2B5EF4-FFF2-40B4-BE49-F238E27FC236}">
                  <a16:creationId xmlns:a16="http://schemas.microsoft.com/office/drawing/2014/main" id="{833B0E6B-F8F6-8D4D-8575-D5D44C72D82F}"/>
                </a:ext>
              </a:extLst>
            </p:cNvPr>
            <p:cNvSpPr txBox="1"/>
            <p:nvPr/>
          </p:nvSpPr>
          <p:spPr>
            <a:xfrm>
              <a:off x="7129160" y="3465026"/>
              <a:ext cx="1625669" cy="337931"/>
            </a:xfrm>
            <a:prstGeom prst="rect">
              <a:avLst/>
            </a:prstGeom>
            <a:noFill/>
          </p:spPr>
          <p:txBody>
            <a:bodyPr wrap="square" lIns="0" tIns="0" rIns="0" bIns="0" rtlCol="0">
              <a:noAutofit/>
            </a:bodyPr>
            <a:lstStyle/>
            <a:p>
              <a:pPr algn="ctr"/>
              <a:r>
                <a:rPr lang="en-US" sz="1200" dirty="0">
                  <a:latin typeface="Helvetica" pitchFamily="2" charset="0"/>
                </a:rPr>
                <a:t>Intensive Care Ventilator </a:t>
              </a:r>
            </a:p>
          </p:txBody>
        </p:sp>
      </p:grpSp>
      <p:grpSp>
        <p:nvGrpSpPr>
          <p:cNvPr id="8" name="Group 7">
            <a:extLst>
              <a:ext uri="{FF2B5EF4-FFF2-40B4-BE49-F238E27FC236}">
                <a16:creationId xmlns:a16="http://schemas.microsoft.com/office/drawing/2014/main" id="{3F360019-4132-4FFD-9569-1C1929FEF0B5}"/>
              </a:ext>
            </a:extLst>
          </p:cNvPr>
          <p:cNvGrpSpPr/>
          <p:nvPr/>
        </p:nvGrpSpPr>
        <p:grpSpPr>
          <a:xfrm>
            <a:off x="7174342" y="4791891"/>
            <a:ext cx="1854383" cy="1604547"/>
            <a:chOff x="7014805" y="3958878"/>
            <a:chExt cx="1854383" cy="1604547"/>
          </a:xfrm>
        </p:grpSpPr>
        <p:pic>
          <p:nvPicPr>
            <p:cNvPr id="5" name="Picture 4">
              <a:extLst>
                <a:ext uri="{FF2B5EF4-FFF2-40B4-BE49-F238E27FC236}">
                  <a16:creationId xmlns:a16="http://schemas.microsoft.com/office/drawing/2014/main" id="{BF1627B4-DD52-ED4E-BA9F-A6A4790DFD0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7014805" y="3958878"/>
              <a:ext cx="1854383" cy="1251709"/>
            </a:xfrm>
            <a:prstGeom prst="rect">
              <a:avLst/>
            </a:prstGeom>
          </p:spPr>
        </p:pic>
        <p:sp>
          <p:nvSpPr>
            <p:cNvPr id="7" name="TextBox 6">
              <a:extLst>
                <a:ext uri="{FF2B5EF4-FFF2-40B4-BE49-F238E27FC236}">
                  <a16:creationId xmlns:a16="http://schemas.microsoft.com/office/drawing/2014/main" id="{7080E2A2-18A2-3045-9D37-9937B9DF9801}"/>
                </a:ext>
              </a:extLst>
            </p:cNvPr>
            <p:cNvSpPr txBox="1"/>
            <p:nvPr/>
          </p:nvSpPr>
          <p:spPr>
            <a:xfrm>
              <a:off x="7325139" y="5210586"/>
              <a:ext cx="1421296" cy="352839"/>
            </a:xfrm>
            <a:prstGeom prst="rect">
              <a:avLst/>
            </a:prstGeom>
            <a:noFill/>
          </p:spPr>
          <p:txBody>
            <a:bodyPr wrap="square" lIns="0" tIns="0" rIns="0" bIns="0" rtlCol="0">
              <a:noAutofit/>
            </a:bodyPr>
            <a:lstStyle/>
            <a:p>
              <a:pPr algn="l"/>
              <a:r>
                <a:rPr lang="en-US" sz="1200" dirty="0">
                  <a:latin typeface="Helvetica" pitchFamily="2" charset="0"/>
                </a:rPr>
                <a:t>Portable Ventilator</a:t>
              </a:r>
            </a:p>
          </p:txBody>
        </p:sp>
      </p:grpSp>
    </p:spTree>
    <p:extLst>
      <p:ext uri="{BB962C8B-B14F-4D97-AF65-F5344CB8AC3E}">
        <p14:creationId xmlns:p14="http://schemas.microsoft.com/office/powerpoint/2010/main" val="3982975572"/>
      </p:ext>
    </p:extLst>
  </p:cSld>
  <p:clrMapOvr>
    <a:masterClrMapping/>
  </p:clrMapOvr>
  <p:transition spd="med">
    <p:fade/>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D050F1A-2649-A54D-BC15-1332264EEC0D}"/>
              </a:ext>
            </a:extLst>
          </p:cNvPr>
          <p:cNvSpPr/>
          <p:nvPr/>
        </p:nvSpPr>
        <p:spPr>
          <a:xfrm>
            <a:off x="0" y="2640496"/>
            <a:ext cx="6015696" cy="2236304"/>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ext Placeholder 1">
            <a:extLst>
              <a:ext uri="{FF2B5EF4-FFF2-40B4-BE49-F238E27FC236}">
                <a16:creationId xmlns:a16="http://schemas.microsoft.com/office/drawing/2014/main" id="{8AFD88F7-5E8E-B548-9CC4-03AB63639B51}"/>
              </a:ext>
            </a:extLst>
          </p:cNvPr>
          <p:cNvSpPr>
            <a:spLocks noGrp="1"/>
          </p:cNvSpPr>
          <p:nvPr>
            <p:ph type="body" sz="quarter" idx="13"/>
          </p:nvPr>
        </p:nvSpPr>
        <p:spPr>
          <a:xfrm>
            <a:off x="368396" y="2813602"/>
            <a:ext cx="5499004" cy="1910798"/>
          </a:xfrm>
        </p:spPr>
        <p:txBody>
          <a:bodyPr/>
          <a:lstStyle/>
          <a:p>
            <a:pPr algn="just"/>
            <a:r>
              <a:rPr lang="en-IN" sz="1800" dirty="0">
                <a:solidFill>
                  <a:schemeClr val="bg1"/>
                </a:solidFill>
                <a:latin typeface="Calibri" panose="020F0502020204030204" pitchFamily="34" charset="0"/>
              </a:rPr>
              <a:t>CPAP and BiPAP machines are both forms of positive airway pressure therapy, which uses compressed air to open and support the airway during sleep.</a:t>
            </a:r>
          </a:p>
          <a:p>
            <a:pPr algn="just"/>
            <a:r>
              <a:rPr lang="en-IN" sz="1800" dirty="0">
                <a:solidFill>
                  <a:schemeClr val="bg1"/>
                </a:solidFill>
                <a:latin typeface="Calibri" panose="020F0502020204030204" pitchFamily="34" charset="0"/>
              </a:rPr>
              <a:t>A portable machine generates pressurized air and directs it to the user's airway via a hose and mask system. Both systems use the same masks,  hoses, and other accessories.</a:t>
            </a:r>
          </a:p>
          <a:p>
            <a:endParaRPr lang="en-US" sz="1800" dirty="0">
              <a:latin typeface="Calibri" panose="020F0502020204030204" pitchFamily="34" charset="0"/>
            </a:endParaRPr>
          </a:p>
        </p:txBody>
      </p:sp>
      <p:sp>
        <p:nvSpPr>
          <p:cNvPr id="3" name="Text Placeholder 2">
            <a:extLst>
              <a:ext uri="{FF2B5EF4-FFF2-40B4-BE49-F238E27FC236}">
                <a16:creationId xmlns:a16="http://schemas.microsoft.com/office/drawing/2014/main" id="{AED6C8B7-F766-AD43-B74E-3707C6BF5C1F}"/>
              </a:ext>
            </a:extLst>
          </p:cNvPr>
          <p:cNvSpPr>
            <a:spLocks noGrp="1"/>
          </p:cNvSpPr>
          <p:nvPr>
            <p:ph type="body" sz="quarter" idx="14"/>
          </p:nvPr>
        </p:nvSpPr>
        <p:spPr>
          <a:xfrm>
            <a:off x="800100" y="609600"/>
            <a:ext cx="7543800" cy="1126986"/>
          </a:xfrm>
        </p:spPr>
        <p:txBody>
          <a:bodyPr anchor="b"/>
          <a:lstStyle/>
          <a:p>
            <a:pPr algn="ctr" defTabSz="457189" eaLnBrk="1" hangingPunct="1">
              <a:spcBef>
                <a:spcPts val="0"/>
              </a:spcBef>
              <a:buFont typeface="Arial" panose="020B0604020202020204" pitchFamily="34" charset="0"/>
              <a:buChar char=" "/>
              <a:defRPr/>
            </a:pPr>
            <a:r>
              <a:rPr lang="en-IN" sz="3600" b="1" spc="-50" dirty="0">
                <a:solidFill>
                  <a:schemeClr val="accent2">
                    <a:lumMod val="75000"/>
                  </a:schemeClr>
                </a:solidFill>
                <a:latin typeface="Calibri" panose="020F0502020204030204" pitchFamily="34" charset="0"/>
                <a:ea typeface="+mj-ea"/>
                <a:cs typeface="+mj-cs"/>
              </a:rPr>
              <a:t>CPAP &amp; BiPAP</a:t>
            </a:r>
          </a:p>
        </p:txBody>
      </p:sp>
      <p:pic>
        <p:nvPicPr>
          <p:cNvPr id="4" name="Picture 3">
            <a:extLst>
              <a:ext uri="{FF2B5EF4-FFF2-40B4-BE49-F238E27FC236}">
                <a16:creationId xmlns:a16="http://schemas.microsoft.com/office/drawing/2014/main" id="{6E3E5405-3175-B743-8A09-152533DE66DE}"/>
              </a:ext>
            </a:extLst>
          </p:cNvPr>
          <p:cNvPicPr>
            <a:picLocks noChangeAspect="1"/>
          </p:cNvPicPr>
          <p:nvPr/>
        </p:nvPicPr>
        <p:blipFill>
          <a:blip r:embed="rId2"/>
          <a:stretch>
            <a:fillRect/>
          </a:stretch>
        </p:blipFill>
        <p:spPr>
          <a:xfrm>
            <a:off x="6017675" y="2640496"/>
            <a:ext cx="2679604" cy="2236304"/>
          </a:xfrm>
          <a:prstGeom prst="rect">
            <a:avLst/>
          </a:prstGeom>
          <a:solidFill>
            <a:schemeClr val="accent2"/>
          </a:solidFill>
          <a:ln>
            <a:solidFill>
              <a:schemeClr val="accent2"/>
            </a:solidFill>
          </a:ln>
        </p:spPr>
      </p:pic>
    </p:spTree>
    <p:extLst>
      <p:ext uri="{BB962C8B-B14F-4D97-AF65-F5344CB8AC3E}">
        <p14:creationId xmlns:p14="http://schemas.microsoft.com/office/powerpoint/2010/main" val="1136800084"/>
      </p:ext>
    </p:extLst>
  </p:cSld>
  <p:clrMapOvr>
    <a:masterClrMapping/>
  </p:clrMapOvr>
  <p:transition spd="med">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3665537" y="2800350"/>
            <a:ext cx="4868863" cy="1257300"/>
          </a:xfrm>
        </p:spPr>
        <p:txBody>
          <a:bodyPr rtlCol="0" anchor="ctr">
            <a:noAutofit/>
          </a:bodyPr>
          <a:lstStyle/>
          <a:p>
            <a:pPr marL="0" indent="0" algn="ctr" eaLnBrk="1" fontAlgn="auto" hangingPunct="1">
              <a:lnSpc>
                <a:spcPct val="110000"/>
              </a:lnSpc>
              <a:spcBef>
                <a:spcPts val="0"/>
              </a:spcBef>
              <a:spcAft>
                <a:spcPts val="0"/>
              </a:spcAft>
              <a:buFont typeface="Calibri" panose="020F0502020204030204" pitchFamily="34" charset="0"/>
              <a:buNone/>
              <a:defRPr/>
            </a:pPr>
            <a:r>
              <a:rPr lang="en-US" sz="3600" b="1" dirty="0">
                <a:solidFill>
                  <a:schemeClr val="accent2">
                    <a:lumMod val="75000"/>
                  </a:schemeClr>
                </a:solidFill>
                <a:latin typeface="Calibri" panose="020F0502020204030204" pitchFamily="34" charset="0"/>
              </a:rPr>
              <a:t>Oxygen Supply Chain</a:t>
            </a:r>
          </a:p>
          <a:p>
            <a:pPr marL="561975" lvl="1" indent="-342900" eaLnBrk="1" fontAlgn="auto" hangingPunct="1">
              <a:lnSpc>
                <a:spcPct val="110000"/>
              </a:lnSpc>
              <a:spcBef>
                <a:spcPts val="0"/>
              </a:spcBef>
              <a:spcAft>
                <a:spcPts val="0"/>
              </a:spcAft>
              <a:buFont typeface="Arial" panose="020B0604020202020204" pitchFamily="34" charset="0"/>
              <a:buChar char="•"/>
              <a:defRPr/>
            </a:pPr>
            <a:endParaRPr lang="en-US" sz="1375" b="1" dirty="0">
              <a:solidFill>
                <a:schemeClr val="accent2">
                  <a:lumMod val="75000"/>
                </a:schemeClr>
              </a:solidFill>
              <a:latin typeface="Calibri" panose="020F0502020204030204" pitchFamily="34" charset="0"/>
            </a:endParaRPr>
          </a:p>
        </p:txBody>
      </p:sp>
    </p:spTree>
    <p:extLst>
      <p:ext uri="{BB962C8B-B14F-4D97-AF65-F5344CB8AC3E}">
        <p14:creationId xmlns:p14="http://schemas.microsoft.com/office/powerpoint/2010/main" val="200462682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6A4EE-6E29-4F6D-AE7A-A9FEC3BCC5E1}"/>
              </a:ext>
            </a:extLst>
          </p:cNvPr>
          <p:cNvSpPr>
            <a:spLocks noGrp="1"/>
          </p:cNvSpPr>
          <p:nvPr>
            <p:ph type="title"/>
          </p:nvPr>
        </p:nvSpPr>
        <p:spPr>
          <a:xfrm>
            <a:off x="877707" y="898633"/>
            <a:ext cx="7388586" cy="781812"/>
          </a:xfrm>
          <a:noFill/>
        </p:spPr>
        <p:txBody>
          <a:bodyPr>
            <a:normAutofit/>
          </a:bodyPr>
          <a:lstStyle/>
          <a:p>
            <a:pPr marL="68263" indent="-68263" algn="ctr" defTabSz="457189" eaLnBrk="1" hangingPunct="1">
              <a:lnSpc>
                <a:spcPts val="3000"/>
              </a:lnSpc>
              <a:spcBef>
                <a:spcPts val="0"/>
              </a:spcBef>
              <a:spcAft>
                <a:spcPts val="1350"/>
              </a:spcAft>
              <a:buClr>
                <a:schemeClr val="accent1"/>
              </a:buClr>
              <a:buSzPct val="100000"/>
              <a:buFont typeface="Arial" panose="020B0604020202020204" pitchFamily="34" charset="0"/>
              <a:buChar char=" "/>
              <a:defRPr/>
            </a:pPr>
            <a:r>
              <a:rPr lang="en-IN" b="1" spc="-50" dirty="0">
                <a:solidFill>
                  <a:schemeClr val="accent2">
                    <a:lumMod val="75000"/>
                  </a:schemeClr>
                </a:solidFill>
                <a:latin typeface="Calibri" panose="020F0502020204030204" pitchFamily="34" charset="0"/>
              </a:rPr>
              <a:t>Oxygen Supply Chain</a:t>
            </a:r>
          </a:p>
        </p:txBody>
      </p:sp>
      <p:graphicFrame>
        <p:nvGraphicFramePr>
          <p:cNvPr id="4" name="Content Placeholder 3">
            <a:extLst>
              <a:ext uri="{FF2B5EF4-FFF2-40B4-BE49-F238E27FC236}">
                <a16:creationId xmlns:a16="http://schemas.microsoft.com/office/drawing/2014/main" id="{D700BC4D-0377-485B-B443-9905EB9CF98D}"/>
              </a:ext>
            </a:extLst>
          </p:cNvPr>
          <p:cNvGraphicFramePr>
            <a:graphicFrameLocks noGrp="1"/>
          </p:cNvGraphicFramePr>
          <p:nvPr>
            <p:ph idx="1"/>
          </p:nvPr>
        </p:nvGraphicFramePr>
        <p:xfrm>
          <a:off x="685800" y="1828801"/>
          <a:ext cx="7893845" cy="4114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951230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ADD2D-9C34-41CF-BBEE-6F58BCB775CF}"/>
              </a:ext>
            </a:extLst>
          </p:cNvPr>
          <p:cNvSpPr>
            <a:spLocks noGrp="1"/>
          </p:cNvSpPr>
          <p:nvPr>
            <p:ph type="title"/>
          </p:nvPr>
        </p:nvSpPr>
        <p:spPr>
          <a:xfrm>
            <a:off x="600075" y="912468"/>
            <a:ext cx="7943850" cy="781812"/>
          </a:xfrm>
          <a:noFill/>
        </p:spPr>
        <p:txBody>
          <a:bodyPr>
            <a:normAutofit/>
          </a:bodyPr>
          <a:lstStyle/>
          <a:p>
            <a:pPr algn="ctr"/>
            <a:r>
              <a:rPr lang="en-GB" b="1" spc="-50" dirty="0">
                <a:solidFill>
                  <a:schemeClr val="accent2">
                    <a:lumMod val="75000"/>
                  </a:schemeClr>
                </a:solidFill>
                <a:latin typeface="Calibri" panose="020F0502020204030204" pitchFamily="34" charset="0"/>
              </a:rPr>
              <a:t>A Problem of Geography and Logistics</a:t>
            </a:r>
            <a:endParaRPr lang="en-IN" b="1" spc="-50" dirty="0">
              <a:solidFill>
                <a:schemeClr val="accent2">
                  <a:lumMod val="75000"/>
                </a:schemeClr>
              </a:solidFill>
              <a:latin typeface="Calibri" panose="020F0502020204030204" pitchFamily="34" charset="0"/>
            </a:endParaRPr>
          </a:p>
        </p:txBody>
      </p:sp>
      <p:sp>
        <p:nvSpPr>
          <p:cNvPr id="3" name="Content Placeholder 2">
            <a:extLst>
              <a:ext uri="{FF2B5EF4-FFF2-40B4-BE49-F238E27FC236}">
                <a16:creationId xmlns:a16="http://schemas.microsoft.com/office/drawing/2014/main" id="{FD419E6E-C663-44D0-85BD-2B1F36A178F9}"/>
              </a:ext>
            </a:extLst>
          </p:cNvPr>
          <p:cNvSpPr>
            <a:spLocks noGrp="1"/>
          </p:cNvSpPr>
          <p:nvPr>
            <p:ph idx="1"/>
          </p:nvPr>
        </p:nvSpPr>
        <p:spPr>
          <a:xfrm>
            <a:off x="4327419" y="1869362"/>
            <a:ext cx="4460205" cy="4173075"/>
          </a:xfrm>
        </p:spPr>
        <p:txBody>
          <a:bodyPr>
            <a:noAutofit/>
          </a:bodyPr>
          <a:lstStyle/>
          <a:p>
            <a:pPr algn="just"/>
            <a:r>
              <a:rPr lang="en-GB" sz="1400" b="1" dirty="0">
                <a:solidFill>
                  <a:schemeClr val="accent2"/>
                </a:solidFill>
                <a:latin typeface="Calibri" panose="020F0502020204030204" pitchFamily="34" charset="0"/>
              </a:rPr>
              <a:t>The problem of manufacturing: </a:t>
            </a:r>
            <a:r>
              <a:rPr lang="en-GB" sz="1400" dirty="0">
                <a:latin typeface="Calibri" panose="020F0502020204030204" pitchFamily="34" charset="0"/>
              </a:rPr>
              <a:t>Oxygen production is unevenly distributed across the country; therefore, travel distance for tankers is anywhere between 200-1000 kms for states relying on them. Moreover, ASUs &amp; LMO-based re-fillers are concentrated in specific districts and are not evenly distributed in the state.</a:t>
            </a:r>
          </a:p>
          <a:p>
            <a:pPr algn="just"/>
            <a:r>
              <a:rPr lang="en-GB" sz="1400" b="1" dirty="0">
                <a:solidFill>
                  <a:schemeClr val="accent2"/>
                </a:solidFill>
                <a:latin typeface="Calibri" panose="020F0502020204030204" pitchFamily="34" charset="0"/>
              </a:rPr>
              <a:t>The problem of transport: </a:t>
            </a:r>
            <a:r>
              <a:rPr lang="en-GB" sz="1400" dirty="0">
                <a:latin typeface="Calibri" panose="020F0502020204030204" pitchFamily="34" charset="0"/>
              </a:rPr>
              <a:t>High Covid-19 case-load states in North and Central India such as Delhi, Madhya Pradesh and Bihar have no significant production capacities of their own. Approx. 1200 oxygen tankers in the country.</a:t>
            </a:r>
            <a:endParaRPr lang="en-IN" sz="1400" dirty="0">
              <a:latin typeface="Calibri" panose="020F0502020204030204" pitchFamily="34" charset="0"/>
            </a:endParaRPr>
          </a:p>
          <a:p>
            <a:pPr algn="just"/>
            <a:r>
              <a:rPr lang="en-GB" sz="1400" b="1" dirty="0">
                <a:solidFill>
                  <a:schemeClr val="accent2"/>
                </a:solidFill>
                <a:latin typeface="Calibri" panose="020F0502020204030204" pitchFamily="34" charset="0"/>
              </a:rPr>
              <a:t>The problem of delay:</a:t>
            </a:r>
            <a:r>
              <a:rPr lang="en-GB" sz="1400" b="1" dirty="0">
                <a:solidFill>
                  <a:srgbClr val="F65050"/>
                </a:solidFill>
                <a:latin typeface="Calibri" panose="020F0502020204030204" pitchFamily="34" charset="0"/>
              </a:rPr>
              <a:t> </a:t>
            </a:r>
            <a:r>
              <a:rPr lang="en-GB" sz="1400" dirty="0">
                <a:latin typeface="Calibri" panose="020F0502020204030204" pitchFamily="34" charset="0"/>
              </a:rPr>
              <a:t>Due to where production units are located, a stretched distribution network, and what critics have said is bad planning.</a:t>
            </a:r>
          </a:p>
          <a:p>
            <a:pPr algn="just"/>
            <a:r>
              <a:rPr lang="en-IN" sz="1400" b="1" dirty="0">
                <a:solidFill>
                  <a:schemeClr val="accent2"/>
                </a:solidFill>
                <a:latin typeface="Calibri" panose="020F0502020204030204" pitchFamily="34" charset="0"/>
              </a:rPr>
              <a:t>The problem of storage: </a:t>
            </a:r>
            <a:r>
              <a:rPr lang="en-GB" sz="1400" dirty="0">
                <a:latin typeface="Calibri" panose="020F0502020204030204" pitchFamily="34" charset="0"/>
              </a:rPr>
              <a:t>Once Oxygen reaches its intended location, it needs to be stored in either cryogenic vessels or cylinders. Both are becoming increasingly scarce.</a:t>
            </a:r>
          </a:p>
          <a:p>
            <a:pPr algn="just"/>
            <a:endParaRPr lang="en-GB" sz="1400" dirty="0">
              <a:latin typeface="Calibri" panose="020F0502020204030204" pitchFamily="34" charset="0"/>
            </a:endParaRPr>
          </a:p>
          <a:p>
            <a:endParaRPr lang="en-GB" sz="1350" dirty="0">
              <a:latin typeface="Calibri" panose="020F0502020204030204" pitchFamily="34" charset="0"/>
            </a:endParaRPr>
          </a:p>
        </p:txBody>
      </p:sp>
      <p:grpSp>
        <p:nvGrpSpPr>
          <p:cNvPr id="4" name="Group 3">
            <a:extLst>
              <a:ext uri="{FF2B5EF4-FFF2-40B4-BE49-F238E27FC236}">
                <a16:creationId xmlns:a16="http://schemas.microsoft.com/office/drawing/2014/main" id="{7C2C78F0-107F-4AEB-819F-8F720D3624A1}"/>
              </a:ext>
            </a:extLst>
          </p:cNvPr>
          <p:cNvGrpSpPr/>
          <p:nvPr/>
        </p:nvGrpSpPr>
        <p:grpSpPr>
          <a:xfrm>
            <a:off x="615153" y="2038920"/>
            <a:ext cx="3522473" cy="4034007"/>
            <a:chOff x="2223983" y="1211009"/>
            <a:chExt cx="4696630" cy="5378676"/>
          </a:xfrm>
          <a:solidFill>
            <a:schemeClr val="bg1">
              <a:lumMod val="75000"/>
            </a:schemeClr>
          </a:solidFill>
        </p:grpSpPr>
        <p:grpSp>
          <p:nvGrpSpPr>
            <p:cNvPr id="5" name="Group 4">
              <a:extLst>
                <a:ext uri="{FF2B5EF4-FFF2-40B4-BE49-F238E27FC236}">
                  <a16:creationId xmlns:a16="http://schemas.microsoft.com/office/drawing/2014/main" id="{12758396-7E45-4186-B3A8-FFB97FF9DB5B}"/>
                </a:ext>
              </a:extLst>
            </p:cNvPr>
            <p:cNvGrpSpPr/>
            <p:nvPr/>
          </p:nvGrpSpPr>
          <p:grpSpPr>
            <a:xfrm>
              <a:off x="2223983" y="1211009"/>
              <a:ext cx="4696630" cy="5378676"/>
              <a:chOff x="2223983" y="1211009"/>
              <a:chExt cx="4696630" cy="5378676"/>
            </a:xfrm>
            <a:grpFill/>
          </p:grpSpPr>
          <p:grpSp>
            <p:nvGrpSpPr>
              <p:cNvPr id="7" name="Group 6">
                <a:extLst>
                  <a:ext uri="{FF2B5EF4-FFF2-40B4-BE49-F238E27FC236}">
                    <a16:creationId xmlns:a16="http://schemas.microsoft.com/office/drawing/2014/main" id="{7C45A2CE-1A36-45AB-AE99-178C651C0258}"/>
                  </a:ext>
                </a:extLst>
              </p:cNvPr>
              <p:cNvGrpSpPr/>
              <p:nvPr/>
            </p:nvGrpSpPr>
            <p:grpSpPr>
              <a:xfrm>
                <a:off x="2223983" y="1211009"/>
                <a:ext cx="4696630" cy="5378676"/>
                <a:chOff x="2223983" y="1211009"/>
                <a:chExt cx="4696630" cy="5378676"/>
              </a:xfrm>
              <a:grpFill/>
            </p:grpSpPr>
            <p:grpSp>
              <p:nvGrpSpPr>
                <p:cNvPr id="9" name="Group 8">
                  <a:extLst>
                    <a:ext uri="{FF2B5EF4-FFF2-40B4-BE49-F238E27FC236}">
                      <a16:creationId xmlns:a16="http://schemas.microsoft.com/office/drawing/2014/main" id="{F3F8CBBD-7F1E-4655-A1A2-6EE7B54AB120}"/>
                    </a:ext>
                  </a:extLst>
                </p:cNvPr>
                <p:cNvGrpSpPr/>
                <p:nvPr/>
              </p:nvGrpSpPr>
              <p:grpSpPr>
                <a:xfrm>
                  <a:off x="2223983" y="1211009"/>
                  <a:ext cx="4696630" cy="5378676"/>
                  <a:chOff x="2223983" y="1211009"/>
                  <a:chExt cx="4696630" cy="5378676"/>
                </a:xfrm>
                <a:grpFill/>
              </p:grpSpPr>
              <p:sp>
                <p:nvSpPr>
                  <p:cNvPr id="11" name="Freeform 1054">
                    <a:extLst>
                      <a:ext uri="{FF2B5EF4-FFF2-40B4-BE49-F238E27FC236}">
                        <a16:creationId xmlns:a16="http://schemas.microsoft.com/office/drawing/2014/main" id="{4DD7BB37-BC9B-4AEE-8C54-5CF078B7E149}"/>
                      </a:ext>
                    </a:extLst>
                  </p:cNvPr>
                  <p:cNvSpPr>
                    <a:spLocks/>
                  </p:cNvSpPr>
                  <p:nvPr/>
                </p:nvSpPr>
                <p:spPr bwMode="auto">
                  <a:xfrm>
                    <a:off x="3061511" y="1211009"/>
                    <a:ext cx="1153624" cy="878596"/>
                  </a:xfrm>
                  <a:custGeom>
                    <a:avLst/>
                    <a:gdLst>
                      <a:gd name="T0" fmla="*/ 234 w 927"/>
                      <a:gd name="T1" fmla="*/ 643 h 706"/>
                      <a:gd name="T2" fmla="*/ 288 w 927"/>
                      <a:gd name="T3" fmla="*/ 681 h 706"/>
                      <a:gd name="T4" fmla="*/ 351 w 927"/>
                      <a:gd name="T5" fmla="*/ 690 h 706"/>
                      <a:gd name="T6" fmla="*/ 372 w 927"/>
                      <a:gd name="T7" fmla="*/ 628 h 706"/>
                      <a:gd name="T8" fmla="*/ 420 w 927"/>
                      <a:gd name="T9" fmla="*/ 603 h 706"/>
                      <a:gd name="T10" fmla="*/ 490 w 927"/>
                      <a:gd name="T11" fmla="*/ 577 h 706"/>
                      <a:gd name="T12" fmla="*/ 543 w 927"/>
                      <a:gd name="T13" fmla="*/ 623 h 706"/>
                      <a:gd name="T14" fmla="*/ 603 w 927"/>
                      <a:gd name="T15" fmla="*/ 611 h 706"/>
                      <a:gd name="T16" fmla="*/ 640 w 927"/>
                      <a:gd name="T17" fmla="*/ 668 h 706"/>
                      <a:gd name="T18" fmla="*/ 678 w 927"/>
                      <a:gd name="T19" fmla="*/ 648 h 706"/>
                      <a:gd name="T20" fmla="*/ 673 w 927"/>
                      <a:gd name="T21" fmla="*/ 683 h 706"/>
                      <a:gd name="T22" fmla="*/ 723 w 927"/>
                      <a:gd name="T23" fmla="*/ 661 h 706"/>
                      <a:gd name="T24" fmla="*/ 763 w 927"/>
                      <a:gd name="T25" fmla="*/ 706 h 706"/>
                      <a:gd name="T26" fmla="*/ 809 w 927"/>
                      <a:gd name="T27" fmla="*/ 668 h 706"/>
                      <a:gd name="T28" fmla="*/ 808 w 927"/>
                      <a:gd name="T29" fmla="*/ 613 h 706"/>
                      <a:gd name="T30" fmla="*/ 789 w 927"/>
                      <a:gd name="T31" fmla="*/ 567 h 706"/>
                      <a:gd name="T32" fmla="*/ 766 w 927"/>
                      <a:gd name="T33" fmla="*/ 523 h 706"/>
                      <a:gd name="T34" fmla="*/ 756 w 927"/>
                      <a:gd name="T35" fmla="*/ 465 h 706"/>
                      <a:gd name="T36" fmla="*/ 804 w 927"/>
                      <a:gd name="T37" fmla="*/ 459 h 706"/>
                      <a:gd name="T38" fmla="*/ 829 w 927"/>
                      <a:gd name="T39" fmla="*/ 395 h 706"/>
                      <a:gd name="T40" fmla="*/ 879 w 927"/>
                      <a:gd name="T41" fmla="*/ 364 h 706"/>
                      <a:gd name="T42" fmla="*/ 904 w 927"/>
                      <a:gd name="T43" fmla="*/ 324 h 706"/>
                      <a:gd name="T44" fmla="*/ 921 w 927"/>
                      <a:gd name="T45" fmla="*/ 268 h 706"/>
                      <a:gd name="T46" fmla="*/ 899 w 927"/>
                      <a:gd name="T47" fmla="*/ 216 h 706"/>
                      <a:gd name="T48" fmla="*/ 839 w 927"/>
                      <a:gd name="T49" fmla="*/ 189 h 706"/>
                      <a:gd name="T50" fmla="*/ 793 w 927"/>
                      <a:gd name="T51" fmla="*/ 183 h 706"/>
                      <a:gd name="T52" fmla="*/ 759 w 927"/>
                      <a:gd name="T53" fmla="*/ 189 h 706"/>
                      <a:gd name="T54" fmla="*/ 695 w 927"/>
                      <a:gd name="T55" fmla="*/ 208 h 706"/>
                      <a:gd name="T56" fmla="*/ 655 w 927"/>
                      <a:gd name="T57" fmla="*/ 236 h 706"/>
                      <a:gd name="T58" fmla="*/ 620 w 927"/>
                      <a:gd name="T59" fmla="*/ 236 h 706"/>
                      <a:gd name="T60" fmla="*/ 573 w 927"/>
                      <a:gd name="T61" fmla="*/ 241 h 706"/>
                      <a:gd name="T62" fmla="*/ 552 w 927"/>
                      <a:gd name="T63" fmla="*/ 204 h 706"/>
                      <a:gd name="T64" fmla="*/ 500 w 927"/>
                      <a:gd name="T65" fmla="*/ 171 h 706"/>
                      <a:gd name="T66" fmla="*/ 464 w 927"/>
                      <a:gd name="T67" fmla="*/ 120 h 706"/>
                      <a:gd name="T68" fmla="*/ 412 w 927"/>
                      <a:gd name="T69" fmla="*/ 90 h 706"/>
                      <a:gd name="T70" fmla="*/ 344 w 927"/>
                      <a:gd name="T71" fmla="*/ 25 h 706"/>
                      <a:gd name="T72" fmla="*/ 304 w 927"/>
                      <a:gd name="T73" fmla="*/ 18 h 706"/>
                      <a:gd name="T74" fmla="*/ 248 w 927"/>
                      <a:gd name="T75" fmla="*/ 5 h 706"/>
                      <a:gd name="T76" fmla="*/ 203 w 927"/>
                      <a:gd name="T77" fmla="*/ 22 h 706"/>
                      <a:gd name="T78" fmla="*/ 141 w 927"/>
                      <a:gd name="T79" fmla="*/ 20 h 706"/>
                      <a:gd name="T80" fmla="*/ 161 w 927"/>
                      <a:gd name="T81" fmla="*/ 50 h 706"/>
                      <a:gd name="T82" fmla="*/ 76 w 927"/>
                      <a:gd name="T83" fmla="*/ 45 h 706"/>
                      <a:gd name="T84" fmla="*/ 33 w 927"/>
                      <a:gd name="T85" fmla="*/ 106 h 706"/>
                      <a:gd name="T86" fmla="*/ 5 w 927"/>
                      <a:gd name="T87" fmla="*/ 145 h 706"/>
                      <a:gd name="T88" fmla="*/ 47 w 927"/>
                      <a:gd name="T89" fmla="*/ 173 h 706"/>
                      <a:gd name="T90" fmla="*/ 88 w 927"/>
                      <a:gd name="T91" fmla="*/ 208 h 706"/>
                      <a:gd name="T92" fmla="*/ 146 w 927"/>
                      <a:gd name="T93" fmla="*/ 224 h 706"/>
                      <a:gd name="T94" fmla="*/ 146 w 927"/>
                      <a:gd name="T95" fmla="*/ 266 h 706"/>
                      <a:gd name="T96" fmla="*/ 171 w 927"/>
                      <a:gd name="T97" fmla="*/ 319 h 706"/>
                      <a:gd name="T98" fmla="*/ 128 w 927"/>
                      <a:gd name="T99" fmla="*/ 362 h 706"/>
                      <a:gd name="T100" fmla="*/ 105 w 927"/>
                      <a:gd name="T101" fmla="*/ 402 h 706"/>
                      <a:gd name="T102" fmla="*/ 113 w 927"/>
                      <a:gd name="T103" fmla="*/ 518 h 706"/>
                      <a:gd name="T104" fmla="*/ 126 w 927"/>
                      <a:gd name="T105" fmla="*/ 592 h 706"/>
                      <a:gd name="T106" fmla="*/ 193 w 927"/>
                      <a:gd name="T107" fmla="*/ 628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27" h="706">
                        <a:moveTo>
                          <a:pt x="213" y="630"/>
                        </a:moveTo>
                        <a:lnTo>
                          <a:pt x="229" y="633"/>
                        </a:lnTo>
                        <a:lnTo>
                          <a:pt x="234" y="620"/>
                        </a:lnTo>
                        <a:lnTo>
                          <a:pt x="241" y="623"/>
                        </a:lnTo>
                        <a:lnTo>
                          <a:pt x="236" y="630"/>
                        </a:lnTo>
                        <a:lnTo>
                          <a:pt x="234" y="643"/>
                        </a:lnTo>
                        <a:lnTo>
                          <a:pt x="229" y="656"/>
                        </a:lnTo>
                        <a:lnTo>
                          <a:pt x="236" y="673"/>
                        </a:lnTo>
                        <a:lnTo>
                          <a:pt x="258" y="673"/>
                        </a:lnTo>
                        <a:lnTo>
                          <a:pt x="271" y="680"/>
                        </a:lnTo>
                        <a:lnTo>
                          <a:pt x="278" y="675"/>
                        </a:lnTo>
                        <a:lnTo>
                          <a:pt x="288" y="681"/>
                        </a:lnTo>
                        <a:lnTo>
                          <a:pt x="294" y="683"/>
                        </a:lnTo>
                        <a:lnTo>
                          <a:pt x="311" y="696"/>
                        </a:lnTo>
                        <a:lnTo>
                          <a:pt x="322" y="701"/>
                        </a:lnTo>
                        <a:lnTo>
                          <a:pt x="337" y="706"/>
                        </a:lnTo>
                        <a:lnTo>
                          <a:pt x="337" y="690"/>
                        </a:lnTo>
                        <a:lnTo>
                          <a:pt x="351" y="690"/>
                        </a:lnTo>
                        <a:lnTo>
                          <a:pt x="366" y="680"/>
                        </a:lnTo>
                        <a:lnTo>
                          <a:pt x="377" y="673"/>
                        </a:lnTo>
                        <a:lnTo>
                          <a:pt x="384" y="660"/>
                        </a:lnTo>
                        <a:lnTo>
                          <a:pt x="384" y="648"/>
                        </a:lnTo>
                        <a:lnTo>
                          <a:pt x="384" y="635"/>
                        </a:lnTo>
                        <a:lnTo>
                          <a:pt x="372" y="628"/>
                        </a:lnTo>
                        <a:lnTo>
                          <a:pt x="371" y="621"/>
                        </a:lnTo>
                        <a:lnTo>
                          <a:pt x="377" y="615"/>
                        </a:lnTo>
                        <a:lnTo>
                          <a:pt x="391" y="621"/>
                        </a:lnTo>
                        <a:lnTo>
                          <a:pt x="396" y="620"/>
                        </a:lnTo>
                        <a:lnTo>
                          <a:pt x="409" y="605"/>
                        </a:lnTo>
                        <a:lnTo>
                          <a:pt x="420" y="603"/>
                        </a:lnTo>
                        <a:lnTo>
                          <a:pt x="430" y="596"/>
                        </a:lnTo>
                        <a:lnTo>
                          <a:pt x="432" y="588"/>
                        </a:lnTo>
                        <a:lnTo>
                          <a:pt x="447" y="580"/>
                        </a:lnTo>
                        <a:lnTo>
                          <a:pt x="462" y="580"/>
                        </a:lnTo>
                        <a:lnTo>
                          <a:pt x="482" y="583"/>
                        </a:lnTo>
                        <a:lnTo>
                          <a:pt x="490" y="577"/>
                        </a:lnTo>
                        <a:lnTo>
                          <a:pt x="495" y="575"/>
                        </a:lnTo>
                        <a:lnTo>
                          <a:pt x="497" y="582"/>
                        </a:lnTo>
                        <a:lnTo>
                          <a:pt x="495" y="588"/>
                        </a:lnTo>
                        <a:lnTo>
                          <a:pt x="499" y="596"/>
                        </a:lnTo>
                        <a:lnTo>
                          <a:pt x="535" y="623"/>
                        </a:lnTo>
                        <a:lnTo>
                          <a:pt x="543" y="623"/>
                        </a:lnTo>
                        <a:lnTo>
                          <a:pt x="552" y="628"/>
                        </a:lnTo>
                        <a:lnTo>
                          <a:pt x="560" y="631"/>
                        </a:lnTo>
                        <a:lnTo>
                          <a:pt x="565" y="626"/>
                        </a:lnTo>
                        <a:lnTo>
                          <a:pt x="575" y="630"/>
                        </a:lnTo>
                        <a:lnTo>
                          <a:pt x="592" y="620"/>
                        </a:lnTo>
                        <a:lnTo>
                          <a:pt x="603" y="611"/>
                        </a:lnTo>
                        <a:lnTo>
                          <a:pt x="615" y="625"/>
                        </a:lnTo>
                        <a:lnTo>
                          <a:pt x="618" y="633"/>
                        </a:lnTo>
                        <a:lnTo>
                          <a:pt x="630" y="646"/>
                        </a:lnTo>
                        <a:lnTo>
                          <a:pt x="627" y="655"/>
                        </a:lnTo>
                        <a:lnTo>
                          <a:pt x="635" y="660"/>
                        </a:lnTo>
                        <a:lnTo>
                          <a:pt x="640" y="668"/>
                        </a:lnTo>
                        <a:lnTo>
                          <a:pt x="648" y="665"/>
                        </a:lnTo>
                        <a:lnTo>
                          <a:pt x="651" y="658"/>
                        </a:lnTo>
                        <a:lnTo>
                          <a:pt x="658" y="663"/>
                        </a:lnTo>
                        <a:lnTo>
                          <a:pt x="663" y="658"/>
                        </a:lnTo>
                        <a:lnTo>
                          <a:pt x="670" y="660"/>
                        </a:lnTo>
                        <a:lnTo>
                          <a:pt x="678" y="648"/>
                        </a:lnTo>
                        <a:lnTo>
                          <a:pt x="681" y="643"/>
                        </a:lnTo>
                        <a:lnTo>
                          <a:pt x="686" y="645"/>
                        </a:lnTo>
                        <a:lnTo>
                          <a:pt x="686" y="653"/>
                        </a:lnTo>
                        <a:lnTo>
                          <a:pt x="685" y="663"/>
                        </a:lnTo>
                        <a:lnTo>
                          <a:pt x="680" y="673"/>
                        </a:lnTo>
                        <a:lnTo>
                          <a:pt x="673" y="683"/>
                        </a:lnTo>
                        <a:lnTo>
                          <a:pt x="675" y="688"/>
                        </a:lnTo>
                        <a:lnTo>
                          <a:pt x="683" y="686"/>
                        </a:lnTo>
                        <a:lnTo>
                          <a:pt x="690" y="680"/>
                        </a:lnTo>
                        <a:lnTo>
                          <a:pt x="696" y="673"/>
                        </a:lnTo>
                        <a:lnTo>
                          <a:pt x="713" y="665"/>
                        </a:lnTo>
                        <a:lnTo>
                          <a:pt x="723" y="661"/>
                        </a:lnTo>
                        <a:lnTo>
                          <a:pt x="733" y="651"/>
                        </a:lnTo>
                        <a:lnTo>
                          <a:pt x="738" y="660"/>
                        </a:lnTo>
                        <a:lnTo>
                          <a:pt x="740" y="673"/>
                        </a:lnTo>
                        <a:lnTo>
                          <a:pt x="740" y="685"/>
                        </a:lnTo>
                        <a:lnTo>
                          <a:pt x="748" y="691"/>
                        </a:lnTo>
                        <a:lnTo>
                          <a:pt x="763" y="706"/>
                        </a:lnTo>
                        <a:lnTo>
                          <a:pt x="768" y="700"/>
                        </a:lnTo>
                        <a:lnTo>
                          <a:pt x="781" y="695"/>
                        </a:lnTo>
                        <a:lnTo>
                          <a:pt x="781" y="681"/>
                        </a:lnTo>
                        <a:lnTo>
                          <a:pt x="794" y="681"/>
                        </a:lnTo>
                        <a:lnTo>
                          <a:pt x="801" y="675"/>
                        </a:lnTo>
                        <a:lnTo>
                          <a:pt x="809" y="668"/>
                        </a:lnTo>
                        <a:lnTo>
                          <a:pt x="821" y="678"/>
                        </a:lnTo>
                        <a:lnTo>
                          <a:pt x="826" y="666"/>
                        </a:lnTo>
                        <a:lnTo>
                          <a:pt x="844" y="648"/>
                        </a:lnTo>
                        <a:lnTo>
                          <a:pt x="829" y="635"/>
                        </a:lnTo>
                        <a:lnTo>
                          <a:pt x="821" y="621"/>
                        </a:lnTo>
                        <a:lnTo>
                          <a:pt x="808" y="613"/>
                        </a:lnTo>
                        <a:lnTo>
                          <a:pt x="813" y="606"/>
                        </a:lnTo>
                        <a:lnTo>
                          <a:pt x="814" y="593"/>
                        </a:lnTo>
                        <a:lnTo>
                          <a:pt x="821" y="583"/>
                        </a:lnTo>
                        <a:lnTo>
                          <a:pt x="821" y="573"/>
                        </a:lnTo>
                        <a:lnTo>
                          <a:pt x="811" y="570"/>
                        </a:lnTo>
                        <a:lnTo>
                          <a:pt x="789" y="567"/>
                        </a:lnTo>
                        <a:lnTo>
                          <a:pt x="766" y="565"/>
                        </a:lnTo>
                        <a:lnTo>
                          <a:pt x="761" y="555"/>
                        </a:lnTo>
                        <a:lnTo>
                          <a:pt x="758" y="545"/>
                        </a:lnTo>
                        <a:lnTo>
                          <a:pt x="758" y="533"/>
                        </a:lnTo>
                        <a:lnTo>
                          <a:pt x="756" y="522"/>
                        </a:lnTo>
                        <a:lnTo>
                          <a:pt x="766" y="523"/>
                        </a:lnTo>
                        <a:lnTo>
                          <a:pt x="776" y="520"/>
                        </a:lnTo>
                        <a:lnTo>
                          <a:pt x="778" y="512"/>
                        </a:lnTo>
                        <a:lnTo>
                          <a:pt x="773" y="502"/>
                        </a:lnTo>
                        <a:lnTo>
                          <a:pt x="764" y="495"/>
                        </a:lnTo>
                        <a:lnTo>
                          <a:pt x="759" y="480"/>
                        </a:lnTo>
                        <a:lnTo>
                          <a:pt x="756" y="465"/>
                        </a:lnTo>
                        <a:lnTo>
                          <a:pt x="759" y="459"/>
                        </a:lnTo>
                        <a:lnTo>
                          <a:pt x="771" y="464"/>
                        </a:lnTo>
                        <a:lnTo>
                          <a:pt x="779" y="460"/>
                        </a:lnTo>
                        <a:lnTo>
                          <a:pt x="788" y="457"/>
                        </a:lnTo>
                        <a:lnTo>
                          <a:pt x="798" y="460"/>
                        </a:lnTo>
                        <a:lnTo>
                          <a:pt x="804" y="459"/>
                        </a:lnTo>
                        <a:lnTo>
                          <a:pt x="819" y="464"/>
                        </a:lnTo>
                        <a:lnTo>
                          <a:pt x="819" y="450"/>
                        </a:lnTo>
                        <a:lnTo>
                          <a:pt x="828" y="439"/>
                        </a:lnTo>
                        <a:lnTo>
                          <a:pt x="838" y="429"/>
                        </a:lnTo>
                        <a:lnTo>
                          <a:pt x="834" y="407"/>
                        </a:lnTo>
                        <a:lnTo>
                          <a:pt x="829" y="395"/>
                        </a:lnTo>
                        <a:lnTo>
                          <a:pt x="839" y="394"/>
                        </a:lnTo>
                        <a:lnTo>
                          <a:pt x="863" y="395"/>
                        </a:lnTo>
                        <a:lnTo>
                          <a:pt x="863" y="377"/>
                        </a:lnTo>
                        <a:lnTo>
                          <a:pt x="863" y="372"/>
                        </a:lnTo>
                        <a:lnTo>
                          <a:pt x="871" y="367"/>
                        </a:lnTo>
                        <a:lnTo>
                          <a:pt x="879" y="364"/>
                        </a:lnTo>
                        <a:lnTo>
                          <a:pt x="892" y="364"/>
                        </a:lnTo>
                        <a:lnTo>
                          <a:pt x="897" y="359"/>
                        </a:lnTo>
                        <a:lnTo>
                          <a:pt x="896" y="349"/>
                        </a:lnTo>
                        <a:lnTo>
                          <a:pt x="901" y="337"/>
                        </a:lnTo>
                        <a:lnTo>
                          <a:pt x="904" y="329"/>
                        </a:lnTo>
                        <a:lnTo>
                          <a:pt x="904" y="324"/>
                        </a:lnTo>
                        <a:lnTo>
                          <a:pt x="911" y="316"/>
                        </a:lnTo>
                        <a:lnTo>
                          <a:pt x="909" y="306"/>
                        </a:lnTo>
                        <a:lnTo>
                          <a:pt x="909" y="296"/>
                        </a:lnTo>
                        <a:lnTo>
                          <a:pt x="914" y="287"/>
                        </a:lnTo>
                        <a:lnTo>
                          <a:pt x="917" y="276"/>
                        </a:lnTo>
                        <a:lnTo>
                          <a:pt x="921" y="268"/>
                        </a:lnTo>
                        <a:lnTo>
                          <a:pt x="921" y="258"/>
                        </a:lnTo>
                        <a:lnTo>
                          <a:pt x="924" y="244"/>
                        </a:lnTo>
                        <a:lnTo>
                          <a:pt x="927" y="233"/>
                        </a:lnTo>
                        <a:lnTo>
                          <a:pt x="922" y="229"/>
                        </a:lnTo>
                        <a:lnTo>
                          <a:pt x="906" y="221"/>
                        </a:lnTo>
                        <a:lnTo>
                          <a:pt x="899" y="216"/>
                        </a:lnTo>
                        <a:lnTo>
                          <a:pt x="896" y="208"/>
                        </a:lnTo>
                        <a:lnTo>
                          <a:pt x="892" y="199"/>
                        </a:lnTo>
                        <a:lnTo>
                          <a:pt x="884" y="193"/>
                        </a:lnTo>
                        <a:lnTo>
                          <a:pt x="871" y="201"/>
                        </a:lnTo>
                        <a:lnTo>
                          <a:pt x="863" y="201"/>
                        </a:lnTo>
                        <a:lnTo>
                          <a:pt x="839" y="189"/>
                        </a:lnTo>
                        <a:lnTo>
                          <a:pt x="826" y="186"/>
                        </a:lnTo>
                        <a:lnTo>
                          <a:pt x="818" y="179"/>
                        </a:lnTo>
                        <a:lnTo>
                          <a:pt x="818" y="171"/>
                        </a:lnTo>
                        <a:lnTo>
                          <a:pt x="806" y="171"/>
                        </a:lnTo>
                        <a:lnTo>
                          <a:pt x="796" y="173"/>
                        </a:lnTo>
                        <a:lnTo>
                          <a:pt x="793" y="183"/>
                        </a:lnTo>
                        <a:lnTo>
                          <a:pt x="793" y="188"/>
                        </a:lnTo>
                        <a:lnTo>
                          <a:pt x="788" y="196"/>
                        </a:lnTo>
                        <a:lnTo>
                          <a:pt x="779" y="196"/>
                        </a:lnTo>
                        <a:lnTo>
                          <a:pt x="768" y="189"/>
                        </a:lnTo>
                        <a:lnTo>
                          <a:pt x="764" y="184"/>
                        </a:lnTo>
                        <a:lnTo>
                          <a:pt x="759" y="189"/>
                        </a:lnTo>
                        <a:lnTo>
                          <a:pt x="740" y="191"/>
                        </a:lnTo>
                        <a:lnTo>
                          <a:pt x="731" y="191"/>
                        </a:lnTo>
                        <a:lnTo>
                          <a:pt x="723" y="194"/>
                        </a:lnTo>
                        <a:lnTo>
                          <a:pt x="713" y="204"/>
                        </a:lnTo>
                        <a:lnTo>
                          <a:pt x="703" y="199"/>
                        </a:lnTo>
                        <a:lnTo>
                          <a:pt x="695" y="208"/>
                        </a:lnTo>
                        <a:lnTo>
                          <a:pt x="685" y="211"/>
                        </a:lnTo>
                        <a:lnTo>
                          <a:pt x="680" y="211"/>
                        </a:lnTo>
                        <a:lnTo>
                          <a:pt x="680" y="219"/>
                        </a:lnTo>
                        <a:lnTo>
                          <a:pt x="671" y="221"/>
                        </a:lnTo>
                        <a:lnTo>
                          <a:pt x="665" y="238"/>
                        </a:lnTo>
                        <a:lnTo>
                          <a:pt x="655" y="236"/>
                        </a:lnTo>
                        <a:lnTo>
                          <a:pt x="650" y="228"/>
                        </a:lnTo>
                        <a:lnTo>
                          <a:pt x="640" y="229"/>
                        </a:lnTo>
                        <a:lnTo>
                          <a:pt x="640" y="241"/>
                        </a:lnTo>
                        <a:lnTo>
                          <a:pt x="640" y="246"/>
                        </a:lnTo>
                        <a:lnTo>
                          <a:pt x="632" y="243"/>
                        </a:lnTo>
                        <a:lnTo>
                          <a:pt x="620" y="236"/>
                        </a:lnTo>
                        <a:lnTo>
                          <a:pt x="613" y="239"/>
                        </a:lnTo>
                        <a:lnTo>
                          <a:pt x="613" y="244"/>
                        </a:lnTo>
                        <a:lnTo>
                          <a:pt x="600" y="243"/>
                        </a:lnTo>
                        <a:lnTo>
                          <a:pt x="592" y="243"/>
                        </a:lnTo>
                        <a:lnTo>
                          <a:pt x="583" y="246"/>
                        </a:lnTo>
                        <a:lnTo>
                          <a:pt x="573" y="241"/>
                        </a:lnTo>
                        <a:lnTo>
                          <a:pt x="573" y="234"/>
                        </a:lnTo>
                        <a:lnTo>
                          <a:pt x="585" y="233"/>
                        </a:lnTo>
                        <a:lnTo>
                          <a:pt x="583" y="218"/>
                        </a:lnTo>
                        <a:lnTo>
                          <a:pt x="573" y="208"/>
                        </a:lnTo>
                        <a:lnTo>
                          <a:pt x="562" y="204"/>
                        </a:lnTo>
                        <a:lnTo>
                          <a:pt x="552" y="204"/>
                        </a:lnTo>
                        <a:lnTo>
                          <a:pt x="543" y="196"/>
                        </a:lnTo>
                        <a:lnTo>
                          <a:pt x="532" y="198"/>
                        </a:lnTo>
                        <a:lnTo>
                          <a:pt x="522" y="198"/>
                        </a:lnTo>
                        <a:lnTo>
                          <a:pt x="505" y="184"/>
                        </a:lnTo>
                        <a:lnTo>
                          <a:pt x="502" y="181"/>
                        </a:lnTo>
                        <a:lnTo>
                          <a:pt x="500" y="171"/>
                        </a:lnTo>
                        <a:lnTo>
                          <a:pt x="504" y="161"/>
                        </a:lnTo>
                        <a:lnTo>
                          <a:pt x="504" y="153"/>
                        </a:lnTo>
                        <a:lnTo>
                          <a:pt x="495" y="141"/>
                        </a:lnTo>
                        <a:lnTo>
                          <a:pt x="487" y="141"/>
                        </a:lnTo>
                        <a:lnTo>
                          <a:pt x="474" y="136"/>
                        </a:lnTo>
                        <a:lnTo>
                          <a:pt x="464" y="120"/>
                        </a:lnTo>
                        <a:lnTo>
                          <a:pt x="459" y="113"/>
                        </a:lnTo>
                        <a:lnTo>
                          <a:pt x="454" y="110"/>
                        </a:lnTo>
                        <a:lnTo>
                          <a:pt x="437" y="110"/>
                        </a:lnTo>
                        <a:lnTo>
                          <a:pt x="429" y="96"/>
                        </a:lnTo>
                        <a:lnTo>
                          <a:pt x="424" y="88"/>
                        </a:lnTo>
                        <a:lnTo>
                          <a:pt x="412" y="90"/>
                        </a:lnTo>
                        <a:lnTo>
                          <a:pt x="392" y="76"/>
                        </a:lnTo>
                        <a:lnTo>
                          <a:pt x="381" y="65"/>
                        </a:lnTo>
                        <a:lnTo>
                          <a:pt x="369" y="45"/>
                        </a:lnTo>
                        <a:lnTo>
                          <a:pt x="356" y="38"/>
                        </a:lnTo>
                        <a:lnTo>
                          <a:pt x="351" y="32"/>
                        </a:lnTo>
                        <a:lnTo>
                          <a:pt x="344" y="25"/>
                        </a:lnTo>
                        <a:lnTo>
                          <a:pt x="344" y="13"/>
                        </a:lnTo>
                        <a:lnTo>
                          <a:pt x="336" y="12"/>
                        </a:lnTo>
                        <a:lnTo>
                          <a:pt x="334" y="2"/>
                        </a:lnTo>
                        <a:lnTo>
                          <a:pt x="324" y="5"/>
                        </a:lnTo>
                        <a:lnTo>
                          <a:pt x="314" y="17"/>
                        </a:lnTo>
                        <a:lnTo>
                          <a:pt x="304" y="18"/>
                        </a:lnTo>
                        <a:lnTo>
                          <a:pt x="299" y="13"/>
                        </a:lnTo>
                        <a:lnTo>
                          <a:pt x="291" y="23"/>
                        </a:lnTo>
                        <a:lnTo>
                          <a:pt x="281" y="10"/>
                        </a:lnTo>
                        <a:lnTo>
                          <a:pt x="268" y="7"/>
                        </a:lnTo>
                        <a:lnTo>
                          <a:pt x="259" y="0"/>
                        </a:lnTo>
                        <a:lnTo>
                          <a:pt x="248" y="5"/>
                        </a:lnTo>
                        <a:lnTo>
                          <a:pt x="249" y="12"/>
                        </a:lnTo>
                        <a:lnTo>
                          <a:pt x="244" y="15"/>
                        </a:lnTo>
                        <a:lnTo>
                          <a:pt x="239" y="12"/>
                        </a:lnTo>
                        <a:lnTo>
                          <a:pt x="231" y="10"/>
                        </a:lnTo>
                        <a:lnTo>
                          <a:pt x="213" y="23"/>
                        </a:lnTo>
                        <a:lnTo>
                          <a:pt x="203" y="22"/>
                        </a:lnTo>
                        <a:lnTo>
                          <a:pt x="189" y="38"/>
                        </a:lnTo>
                        <a:lnTo>
                          <a:pt x="181" y="35"/>
                        </a:lnTo>
                        <a:lnTo>
                          <a:pt x="175" y="28"/>
                        </a:lnTo>
                        <a:lnTo>
                          <a:pt x="171" y="23"/>
                        </a:lnTo>
                        <a:lnTo>
                          <a:pt x="151" y="20"/>
                        </a:lnTo>
                        <a:lnTo>
                          <a:pt x="141" y="20"/>
                        </a:lnTo>
                        <a:lnTo>
                          <a:pt x="143" y="28"/>
                        </a:lnTo>
                        <a:lnTo>
                          <a:pt x="153" y="33"/>
                        </a:lnTo>
                        <a:lnTo>
                          <a:pt x="163" y="38"/>
                        </a:lnTo>
                        <a:lnTo>
                          <a:pt x="168" y="43"/>
                        </a:lnTo>
                        <a:lnTo>
                          <a:pt x="168" y="48"/>
                        </a:lnTo>
                        <a:lnTo>
                          <a:pt x="161" y="50"/>
                        </a:lnTo>
                        <a:lnTo>
                          <a:pt x="148" y="50"/>
                        </a:lnTo>
                        <a:lnTo>
                          <a:pt x="135" y="47"/>
                        </a:lnTo>
                        <a:lnTo>
                          <a:pt x="116" y="43"/>
                        </a:lnTo>
                        <a:lnTo>
                          <a:pt x="108" y="42"/>
                        </a:lnTo>
                        <a:lnTo>
                          <a:pt x="103" y="43"/>
                        </a:lnTo>
                        <a:lnTo>
                          <a:pt x="76" y="45"/>
                        </a:lnTo>
                        <a:lnTo>
                          <a:pt x="68" y="50"/>
                        </a:lnTo>
                        <a:lnTo>
                          <a:pt x="70" y="66"/>
                        </a:lnTo>
                        <a:lnTo>
                          <a:pt x="58" y="75"/>
                        </a:lnTo>
                        <a:lnTo>
                          <a:pt x="45" y="83"/>
                        </a:lnTo>
                        <a:lnTo>
                          <a:pt x="43" y="98"/>
                        </a:lnTo>
                        <a:lnTo>
                          <a:pt x="33" y="106"/>
                        </a:lnTo>
                        <a:lnTo>
                          <a:pt x="22" y="111"/>
                        </a:lnTo>
                        <a:lnTo>
                          <a:pt x="7" y="113"/>
                        </a:lnTo>
                        <a:lnTo>
                          <a:pt x="2" y="123"/>
                        </a:lnTo>
                        <a:lnTo>
                          <a:pt x="5" y="133"/>
                        </a:lnTo>
                        <a:lnTo>
                          <a:pt x="0" y="138"/>
                        </a:lnTo>
                        <a:lnTo>
                          <a:pt x="5" y="145"/>
                        </a:lnTo>
                        <a:lnTo>
                          <a:pt x="7" y="150"/>
                        </a:lnTo>
                        <a:lnTo>
                          <a:pt x="0" y="163"/>
                        </a:lnTo>
                        <a:lnTo>
                          <a:pt x="10" y="171"/>
                        </a:lnTo>
                        <a:lnTo>
                          <a:pt x="25" y="173"/>
                        </a:lnTo>
                        <a:lnTo>
                          <a:pt x="37" y="166"/>
                        </a:lnTo>
                        <a:lnTo>
                          <a:pt x="47" y="173"/>
                        </a:lnTo>
                        <a:lnTo>
                          <a:pt x="58" y="173"/>
                        </a:lnTo>
                        <a:lnTo>
                          <a:pt x="67" y="168"/>
                        </a:lnTo>
                        <a:lnTo>
                          <a:pt x="73" y="176"/>
                        </a:lnTo>
                        <a:lnTo>
                          <a:pt x="73" y="188"/>
                        </a:lnTo>
                        <a:lnTo>
                          <a:pt x="78" y="203"/>
                        </a:lnTo>
                        <a:lnTo>
                          <a:pt x="88" y="208"/>
                        </a:lnTo>
                        <a:lnTo>
                          <a:pt x="103" y="213"/>
                        </a:lnTo>
                        <a:lnTo>
                          <a:pt x="108" y="223"/>
                        </a:lnTo>
                        <a:lnTo>
                          <a:pt x="118" y="231"/>
                        </a:lnTo>
                        <a:lnTo>
                          <a:pt x="136" y="229"/>
                        </a:lnTo>
                        <a:lnTo>
                          <a:pt x="138" y="224"/>
                        </a:lnTo>
                        <a:lnTo>
                          <a:pt x="146" y="224"/>
                        </a:lnTo>
                        <a:lnTo>
                          <a:pt x="151" y="233"/>
                        </a:lnTo>
                        <a:lnTo>
                          <a:pt x="140" y="238"/>
                        </a:lnTo>
                        <a:lnTo>
                          <a:pt x="136" y="249"/>
                        </a:lnTo>
                        <a:lnTo>
                          <a:pt x="136" y="258"/>
                        </a:lnTo>
                        <a:lnTo>
                          <a:pt x="138" y="271"/>
                        </a:lnTo>
                        <a:lnTo>
                          <a:pt x="146" y="266"/>
                        </a:lnTo>
                        <a:lnTo>
                          <a:pt x="160" y="272"/>
                        </a:lnTo>
                        <a:lnTo>
                          <a:pt x="173" y="277"/>
                        </a:lnTo>
                        <a:lnTo>
                          <a:pt x="185" y="286"/>
                        </a:lnTo>
                        <a:lnTo>
                          <a:pt x="180" y="292"/>
                        </a:lnTo>
                        <a:lnTo>
                          <a:pt x="181" y="299"/>
                        </a:lnTo>
                        <a:lnTo>
                          <a:pt x="171" y="319"/>
                        </a:lnTo>
                        <a:lnTo>
                          <a:pt x="163" y="329"/>
                        </a:lnTo>
                        <a:lnTo>
                          <a:pt x="148" y="332"/>
                        </a:lnTo>
                        <a:lnTo>
                          <a:pt x="138" y="334"/>
                        </a:lnTo>
                        <a:lnTo>
                          <a:pt x="128" y="346"/>
                        </a:lnTo>
                        <a:lnTo>
                          <a:pt x="128" y="356"/>
                        </a:lnTo>
                        <a:lnTo>
                          <a:pt x="128" y="362"/>
                        </a:lnTo>
                        <a:lnTo>
                          <a:pt x="116" y="362"/>
                        </a:lnTo>
                        <a:lnTo>
                          <a:pt x="101" y="364"/>
                        </a:lnTo>
                        <a:lnTo>
                          <a:pt x="96" y="377"/>
                        </a:lnTo>
                        <a:lnTo>
                          <a:pt x="93" y="387"/>
                        </a:lnTo>
                        <a:lnTo>
                          <a:pt x="100" y="394"/>
                        </a:lnTo>
                        <a:lnTo>
                          <a:pt x="105" y="402"/>
                        </a:lnTo>
                        <a:lnTo>
                          <a:pt x="103" y="432"/>
                        </a:lnTo>
                        <a:lnTo>
                          <a:pt x="106" y="447"/>
                        </a:lnTo>
                        <a:lnTo>
                          <a:pt x="111" y="462"/>
                        </a:lnTo>
                        <a:lnTo>
                          <a:pt x="106" y="475"/>
                        </a:lnTo>
                        <a:lnTo>
                          <a:pt x="108" y="500"/>
                        </a:lnTo>
                        <a:lnTo>
                          <a:pt x="113" y="518"/>
                        </a:lnTo>
                        <a:lnTo>
                          <a:pt x="110" y="535"/>
                        </a:lnTo>
                        <a:lnTo>
                          <a:pt x="108" y="552"/>
                        </a:lnTo>
                        <a:lnTo>
                          <a:pt x="110" y="572"/>
                        </a:lnTo>
                        <a:lnTo>
                          <a:pt x="111" y="578"/>
                        </a:lnTo>
                        <a:lnTo>
                          <a:pt x="123" y="585"/>
                        </a:lnTo>
                        <a:lnTo>
                          <a:pt x="126" y="592"/>
                        </a:lnTo>
                        <a:lnTo>
                          <a:pt x="135" y="600"/>
                        </a:lnTo>
                        <a:lnTo>
                          <a:pt x="140" y="593"/>
                        </a:lnTo>
                        <a:lnTo>
                          <a:pt x="150" y="598"/>
                        </a:lnTo>
                        <a:lnTo>
                          <a:pt x="178" y="615"/>
                        </a:lnTo>
                        <a:lnTo>
                          <a:pt x="194" y="621"/>
                        </a:lnTo>
                        <a:lnTo>
                          <a:pt x="193" y="628"/>
                        </a:lnTo>
                        <a:lnTo>
                          <a:pt x="213" y="630"/>
                        </a:lnTo>
                        <a:lnTo>
                          <a:pt x="213" y="630"/>
                        </a:lnTo>
                        <a:lnTo>
                          <a:pt x="213" y="630"/>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12" name="Freeform 1056">
                    <a:extLst>
                      <a:ext uri="{FF2B5EF4-FFF2-40B4-BE49-F238E27FC236}">
                        <a16:creationId xmlns:a16="http://schemas.microsoft.com/office/drawing/2014/main" id="{7489345C-EDF4-4E96-B06A-E14214E941E1}"/>
                      </a:ext>
                    </a:extLst>
                  </p:cNvPr>
                  <p:cNvSpPr>
                    <a:spLocks/>
                  </p:cNvSpPr>
                  <p:nvPr/>
                </p:nvSpPr>
                <p:spPr bwMode="auto">
                  <a:xfrm>
                    <a:off x="3489609" y="1922846"/>
                    <a:ext cx="518944" cy="512721"/>
                  </a:xfrm>
                  <a:custGeom>
                    <a:avLst/>
                    <a:gdLst>
                      <a:gd name="T0" fmla="*/ 359 w 417"/>
                      <a:gd name="T1" fmla="*/ 134 h 412"/>
                      <a:gd name="T2" fmla="*/ 374 w 417"/>
                      <a:gd name="T3" fmla="*/ 149 h 412"/>
                      <a:gd name="T4" fmla="*/ 386 w 417"/>
                      <a:gd name="T5" fmla="*/ 172 h 412"/>
                      <a:gd name="T6" fmla="*/ 387 w 417"/>
                      <a:gd name="T7" fmla="*/ 211 h 412"/>
                      <a:gd name="T8" fmla="*/ 402 w 417"/>
                      <a:gd name="T9" fmla="*/ 234 h 412"/>
                      <a:gd name="T10" fmla="*/ 392 w 417"/>
                      <a:gd name="T11" fmla="*/ 249 h 412"/>
                      <a:gd name="T12" fmla="*/ 397 w 417"/>
                      <a:gd name="T13" fmla="*/ 259 h 412"/>
                      <a:gd name="T14" fmla="*/ 407 w 417"/>
                      <a:gd name="T15" fmla="*/ 287 h 412"/>
                      <a:gd name="T16" fmla="*/ 412 w 417"/>
                      <a:gd name="T17" fmla="*/ 304 h 412"/>
                      <a:gd name="T18" fmla="*/ 411 w 417"/>
                      <a:gd name="T19" fmla="*/ 310 h 412"/>
                      <a:gd name="T20" fmla="*/ 396 w 417"/>
                      <a:gd name="T21" fmla="*/ 309 h 412"/>
                      <a:gd name="T22" fmla="*/ 381 w 417"/>
                      <a:gd name="T23" fmla="*/ 300 h 412"/>
                      <a:gd name="T24" fmla="*/ 364 w 417"/>
                      <a:gd name="T25" fmla="*/ 295 h 412"/>
                      <a:gd name="T26" fmla="*/ 342 w 417"/>
                      <a:gd name="T27" fmla="*/ 294 h 412"/>
                      <a:gd name="T28" fmla="*/ 322 w 417"/>
                      <a:gd name="T29" fmla="*/ 295 h 412"/>
                      <a:gd name="T30" fmla="*/ 301 w 417"/>
                      <a:gd name="T31" fmla="*/ 302 h 412"/>
                      <a:gd name="T32" fmla="*/ 284 w 417"/>
                      <a:gd name="T33" fmla="*/ 302 h 412"/>
                      <a:gd name="T34" fmla="*/ 271 w 417"/>
                      <a:gd name="T35" fmla="*/ 330 h 412"/>
                      <a:gd name="T36" fmla="*/ 259 w 417"/>
                      <a:gd name="T37" fmla="*/ 335 h 412"/>
                      <a:gd name="T38" fmla="*/ 268 w 417"/>
                      <a:gd name="T39" fmla="*/ 347 h 412"/>
                      <a:gd name="T40" fmla="*/ 259 w 417"/>
                      <a:gd name="T41" fmla="*/ 377 h 412"/>
                      <a:gd name="T42" fmla="*/ 264 w 417"/>
                      <a:gd name="T43" fmla="*/ 393 h 412"/>
                      <a:gd name="T44" fmla="*/ 258 w 417"/>
                      <a:gd name="T45" fmla="*/ 403 h 412"/>
                      <a:gd name="T46" fmla="*/ 228 w 417"/>
                      <a:gd name="T47" fmla="*/ 408 h 412"/>
                      <a:gd name="T48" fmla="*/ 211 w 417"/>
                      <a:gd name="T49" fmla="*/ 405 h 412"/>
                      <a:gd name="T50" fmla="*/ 189 w 417"/>
                      <a:gd name="T51" fmla="*/ 393 h 412"/>
                      <a:gd name="T52" fmla="*/ 186 w 417"/>
                      <a:gd name="T53" fmla="*/ 378 h 412"/>
                      <a:gd name="T54" fmla="*/ 178 w 417"/>
                      <a:gd name="T55" fmla="*/ 363 h 412"/>
                      <a:gd name="T56" fmla="*/ 161 w 417"/>
                      <a:gd name="T57" fmla="*/ 348 h 412"/>
                      <a:gd name="T58" fmla="*/ 145 w 417"/>
                      <a:gd name="T59" fmla="*/ 334 h 412"/>
                      <a:gd name="T60" fmla="*/ 118 w 417"/>
                      <a:gd name="T61" fmla="*/ 320 h 412"/>
                      <a:gd name="T62" fmla="*/ 123 w 417"/>
                      <a:gd name="T63" fmla="*/ 304 h 412"/>
                      <a:gd name="T64" fmla="*/ 123 w 417"/>
                      <a:gd name="T65" fmla="*/ 292 h 412"/>
                      <a:gd name="T66" fmla="*/ 100 w 417"/>
                      <a:gd name="T67" fmla="*/ 282 h 412"/>
                      <a:gd name="T68" fmla="*/ 95 w 417"/>
                      <a:gd name="T69" fmla="*/ 265 h 412"/>
                      <a:gd name="T70" fmla="*/ 81 w 417"/>
                      <a:gd name="T71" fmla="*/ 264 h 412"/>
                      <a:gd name="T72" fmla="*/ 78 w 417"/>
                      <a:gd name="T73" fmla="*/ 279 h 412"/>
                      <a:gd name="T74" fmla="*/ 57 w 417"/>
                      <a:gd name="T75" fmla="*/ 244 h 412"/>
                      <a:gd name="T76" fmla="*/ 45 w 417"/>
                      <a:gd name="T77" fmla="*/ 206 h 412"/>
                      <a:gd name="T78" fmla="*/ 28 w 417"/>
                      <a:gd name="T79" fmla="*/ 177 h 412"/>
                      <a:gd name="T80" fmla="*/ 10 w 417"/>
                      <a:gd name="T81" fmla="*/ 166 h 412"/>
                      <a:gd name="T82" fmla="*/ 12 w 417"/>
                      <a:gd name="T83" fmla="*/ 154 h 412"/>
                      <a:gd name="T84" fmla="*/ 20 w 417"/>
                      <a:gd name="T85" fmla="*/ 132 h 412"/>
                      <a:gd name="T86" fmla="*/ 33 w 417"/>
                      <a:gd name="T87" fmla="*/ 119 h 412"/>
                      <a:gd name="T88" fmla="*/ 33 w 417"/>
                      <a:gd name="T89" fmla="*/ 106 h 412"/>
                      <a:gd name="T90" fmla="*/ 40 w 417"/>
                      <a:gd name="T91" fmla="*/ 86 h 412"/>
                      <a:gd name="T92" fmla="*/ 25 w 417"/>
                      <a:gd name="T93" fmla="*/ 46 h 412"/>
                      <a:gd name="T94" fmla="*/ 53 w 417"/>
                      <a:gd name="T95" fmla="*/ 46 h 412"/>
                      <a:gd name="T96" fmla="*/ 86 w 417"/>
                      <a:gd name="T97" fmla="*/ 23 h 412"/>
                      <a:gd name="T98" fmla="*/ 126 w 417"/>
                      <a:gd name="T99" fmla="*/ 6 h 412"/>
                      <a:gd name="T100" fmla="*/ 151 w 417"/>
                      <a:gd name="T101" fmla="*/ 0 h 412"/>
                      <a:gd name="T102" fmla="*/ 155 w 417"/>
                      <a:gd name="T103" fmla="*/ 23 h 412"/>
                      <a:gd name="T104" fmla="*/ 214 w 417"/>
                      <a:gd name="T105" fmla="*/ 58 h 412"/>
                      <a:gd name="T106" fmla="*/ 261 w 417"/>
                      <a:gd name="T107" fmla="*/ 36 h 412"/>
                      <a:gd name="T108" fmla="*/ 288 w 417"/>
                      <a:gd name="T109" fmla="*/ 73 h 412"/>
                      <a:gd name="T110" fmla="*/ 298 w 417"/>
                      <a:gd name="T111" fmla="*/ 94 h 412"/>
                      <a:gd name="T112" fmla="*/ 316 w 417"/>
                      <a:gd name="T113" fmla="*/ 91 h 412"/>
                      <a:gd name="T114" fmla="*/ 331 w 417"/>
                      <a:gd name="T115" fmla="*/ 78 h 412"/>
                      <a:gd name="T116" fmla="*/ 342 w 417"/>
                      <a:gd name="T117" fmla="*/ 88 h 412"/>
                      <a:gd name="T118" fmla="*/ 331 w 417"/>
                      <a:gd name="T119" fmla="*/ 108 h 412"/>
                      <a:gd name="T120" fmla="*/ 351 w 417"/>
                      <a:gd name="T121" fmla="*/ 10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7" h="412">
                        <a:moveTo>
                          <a:pt x="351" y="103"/>
                        </a:moveTo>
                        <a:lnTo>
                          <a:pt x="364" y="118"/>
                        </a:lnTo>
                        <a:lnTo>
                          <a:pt x="359" y="134"/>
                        </a:lnTo>
                        <a:lnTo>
                          <a:pt x="361" y="144"/>
                        </a:lnTo>
                        <a:lnTo>
                          <a:pt x="369" y="144"/>
                        </a:lnTo>
                        <a:lnTo>
                          <a:pt x="374" y="149"/>
                        </a:lnTo>
                        <a:lnTo>
                          <a:pt x="372" y="159"/>
                        </a:lnTo>
                        <a:lnTo>
                          <a:pt x="379" y="164"/>
                        </a:lnTo>
                        <a:lnTo>
                          <a:pt x="386" y="172"/>
                        </a:lnTo>
                        <a:lnTo>
                          <a:pt x="394" y="181"/>
                        </a:lnTo>
                        <a:lnTo>
                          <a:pt x="387" y="202"/>
                        </a:lnTo>
                        <a:lnTo>
                          <a:pt x="387" y="211"/>
                        </a:lnTo>
                        <a:lnTo>
                          <a:pt x="387" y="222"/>
                        </a:lnTo>
                        <a:lnTo>
                          <a:pt x="396" y="229"/>
                        </a:lnTo>
                        <a:lnTo>
                          <a:pt x="402" y="234"/>
                        </a:lnTo>
                        <a:lnTo>
                          <a:pt x="402" y="242"/>
                        </a:lnTo>
                        <a:lnTo>
                          <a:pt x="396" y="245"/>
                        </a:lnTo>
                        <a:lnTo>
                          <a:pt x="392" y="249"/>
                        </a:lnTo>
                        <a:lnTo>
                          <a:pt x="391" y="255"/>
                        </a:lnTo>
                        <a:lnTo>
                          <a:pt x="394" y="259"/>
                        </a:lnTo>
                        <a:lnTo>
                          <a:pt x="397" y="259"/>
                        </a:lnTo>
                        <a:lnTo>
                          <a:pt x="401" y="267"/>
                        </a:lnTo>
                        <a:lnTo>
                          <a:pt x="404" y="275"/>
                        </a:lnTo>
                        <a:lnTo>
                          <a:pt x="407" y="287"/>
                        </a:lnTo>
                        <a:lnTo>
                          <a:pt x="409" y="294"/>
                        </a:lnTo>
                        <a:lnTo>
                          <a:pt x="407" y="299"/>
                        </a:lnTo>
                        <a:lnTo>
                          <a:pt x="412" y="304"/>
                        </a:lnTo>
                        <a:lnTo>
                          <a:pt x="417" y="309"/>
                        </a:lnTo>
                        <a:lnTo>
                          <a:pt x="417" y="314"/>
                        </a:lnTo>
                        <a:lnTo>
                          <a:pt x="411" y="310"/>
                        </a:lnTo>
                        <a:lnTo>
                          <a:pt x="406" y="314"/>
                        </a:lnTo>
                        <a:lnTo>
                          <a:pt x="397" y="312"/>
                        </a:lnTo>
                        <a:lnTo>
                          <a:pt x="396" y="309"/>
                        </a:lnTo>
                        <a:lnTo>
                          <a:pt x="394" y="304"/>
                        </a:lnTo>
                        <a:lnTo>
                          <a:pt x="386" y="300"/>
                        </a:lnTo>
                        <a:lnTo>
                          <a:pt x="381" y="300"/>
                        </a:lnTo>
                        <a:lnTo>
                          <a:pt x="376" y="302"/>
                        </a:lnTo>
                        <a:lnTo>
                          <a:pt x="371" y="295"/>
                        </a:lnTo>
                        <a:lnTo>
                          <a:pt x="364" y="295"/>
                        </a:lnTo>
                        <a:lnTo>
                          <a:pt x="357" y="300"/>
                        </a:lnTo>
                        <a:lnTo>
                          <a:pt x="351" y="295"/>
                        </a:lnTo>
                        <a:lnTo>
                          <a:pt x="342" y="294"/>
                        </a:lnTo>
                        <a:lnTo>
                          <a:pt x="337" y="287"/>
                        </a:lnTo>
                        <a:lnTo>
                          <a:pt x="329" y="285"/>
                        </a:lnTo>
                        <a:lnTo>
                          <a:pt x="322" y="295"/>
                        </a:lnTo>
                        <a:lnTo>
                          <a:pt x="316" y="292"/>
                        </a:lnTo>
                        <a:lnTo>
                          <a:pt x="309" y="299"/>
                        </a:lnTo>
                        <a:lnTo>
                          <a:pt x="301" y="302"/>
                        </a:lnTo>
                        <a:lnTo>
                          <a:pt x="293" y="305"/>
                        </a:lnTo>
                        <a:lnTo>
                          <a:pt x="288" y="300"/>
                        </a:lnTo>
                        <a:lnTo>
                          <a:pt x="284" y="302"/>
                        </a:lnTo>
                        <a:lnTo>
                          <a:pt x="278" y="312"/>
                        </a:lnTo>
                        <a:lnTo>
                          <a:pt x="266" y="324"/>
                        </a:lnTo>
                        <a:lnTo>
                          <a:pt x="271" y="330"/>
                        </a:lnTo>
                        <a:lnTo>
                          <a:pt x="268" y="335"/>
                        </a:lnTo>
                        <a:lnTo>
                          <a:pt x="261" y="330"/>
                        </a:lnTo>
                        <a:lnTo>
                          <a:pt x="259" y="335"/>
                        </a:lnTo>
                        <a:lnTo>
                          <a:pt x="264" y="340"/>
                        </a:lnTo>
                        <a:lnTo>
                          <a:pt x="271" y="342"/>
                        </a:lnTo>
                        <a:lnTo>
                          <a:pt x="268" y="347"/>
                        </a:lnTo>
                        <a:lnTo>
                          <a:pt x="258" y="353"/>
                        </a:lnTo>
                        <a:lnTo>
                          <a:pt x="259" y="368"/>
                        </a:lnTo>
                        <a:lnTo>
                          <a:pt x="259" y="377"/>
                        </a:lnTo>
                        <a:lnTo>
                          <a:pt x="264" y="378"/>
                        </a:lnTo>
                        <a:lnTo>
                          <a:pt x="259" y="385"/>
                        </a:lnTo>
                        <a:lnTo>
                          <a:pt x="264" y="393"/>
                        </a:lnTo>
                        <a:lnTo>
                          <a:pt x="268" y="398"/>
                        </a:lnTo>
                        <a:lnTo>
                          <a:pt x="264" y="403"/>
                        </a:lnTo>
                        <a:lnTo>
                          <a:pt x="258" y="403"/>
                        </a:lnTo>
                        <a:lnTo>
                          <a:pt x="246" y="403"/>
                        </a:lnTo>
                        <a:lnTo>
                          <a:pt x="236" y="410"/>
                        </a:lnTo>
                        <a:lnTo>
                          <a:pt x="228" y="408"/>
                        </a:lnTo>
                        <a:lnTo>
                          <a:pt x="223" y="412"/>
                        </a:lnTo>
                        <a:lnTo>
                          <a:pt x="219" y="408"/>
                        </a:lnTo>
                        <a:lnTo>
                          <a:pt x="211" y="405"/>
                        </a:lnTo>
                        <a:lnTo>
                          <a:pt x="201" y="405"/>
                        </a:lnTo>
                        <a:lnTo>
                          <a:pt x="191" y="398"/>
                        </a:lnTo>
                        <a:lnTo>
                          <a:pt x="189" y="393"/>
                        </a:lnTo>
                        <a:lnTo>
                          <a:pt x="181" y="392"/>
                        </a:lnTo>
                        <a:lnTo>
                          <a:pt x="186" y="387"/>
                        </a:lnTo>
                        <a:lnTo>
                          <a:pt x="186" y="378"/>
                        </a:lnTo>
                        <a:lnTo>
                          <a:pt x="186" y="372"/>
                        </a:lnTo>
                        <a:lnTo>
                          <a:pt x="181" y="367"/>
                        </a:lnTo>
                        <a:lnTo>
                          <a:pt x="178" y="363"/>
                        </a:lnTo>
                        <a:lnTo>
                          <a:pt x="171" y="358"/>
                        </a:lnTo>
                        <a:lnTo>
                          <a:pt x="166" y="352"/>
                        </a:lnTo>
                        <a:lnTo>
                          <a:pt x="161" y="348"/>
                        </a:lnTo>
                        <a:lnTo>
                          <a:pt x="158" y="344"/>
                        </a:lnTo>
                        <a:lnTo>
                          <a:pt x="151" y="339"/>
                        </a:lnTo>
                        <a:lnTo>
                          <a:pt x="145" y="334"/>
                        </a:lnTo>
                        <a:lnTo>
                          <a:pt x="130" y="330"/>
                        </a:lnTo>
                        <a:lnTo>
                          <a:pt x="121" y="324"/>
                        </a:lnTo>
                        <a:lnTo>
                          <a:pt x="118" y="320"/>
                        </a:lnTo>
                        <a:lnTo>
                          <a:pt x="118" y="315"/>
                        </a:lnTo>
                        <a:lnTo>
                          <a:pt x="123" y="310"/>
                        </a:lnTo>
                        <a:lnTo>
                          <a:pt x="123" y="304"/>
                        </a:lnTo>
                        <a:lnTo>
                          <a:pt x="120" y="300"/>
                        </a:lnTo>
                        <a:lnTo>
                          <a:pt x="121" y="297"/>
                        </a:lnTo>
                        <a:lnTo>
                          <a:pt x="123" y="292"/>
                        </a:lnTo>
                        <a:lnTo>
                          <a:pt x="118" y="287"/>
                        </a:lnTo>
                        <a:lnTo>
                          <a:pt x="106" y="280"/>
                        </a:lnTo>
                        <a:lnTo>
                          <a:pt x="100" y="282"/>
                        </a:lnTo>
                        <a:lnTo>
                          <a:pt x="98" y="279"/>
                        </a:lnTo>
                        <a:lnTo>
                          <a:pt x="98" y="270"/>
                        </a:lnTo>
                        <a:lnTo>
                          <a:pt x="95" y="265"/>
                        </a:lnTo>
                        <a:lnTo>
                          <a:pt x="91" y="262"/>
                        </a:lnTo>
                        <a:lnTo>
                          <a:pt x="86" y="262"/>
                        </a:lnTo>
                        <a:lnTo>
                          <a:pt x="81" y="264"/>
                        </a:lnTo>
                        <a:lnTo>
                          <a:pt x="88" y="269"/>
                        </a:lnTo>
                        <a:lnTo>
                          <a:pt x="83" y="275"/>
                        </a:lnTo>
                        <a:lnTo>
                          <a:pt x="78" y="279"/>
                        </a:lnTo>
                        <a:lnTo>
                          <a:pt x="73" y="280"/>
                        </a:lnTo>
                        <a:lnTo>
                          <a:pt x="63" y="259"/>
                        </a:lnTo>
                        <a:lnTo>
                          <a:pt x="57" y="244"/>
                        </a:lnTo>
                        <a:lnTo>
                          <a:pt x="50" y="229"/>
                        </a:lnTo>
                        <a:lnTo>
                          <a:pt x="45" y="221"/>
                        </a:lnTo>
                        <a:lnTo>
                          <a:pt x="45" y="206"/>
                        </a:lnTo>
                        <a:lnTo>
                          <a:pt x="43" y="192"/>
                        </a:lnTo>
                        <a:lnTo>
                          <a:pt x="40" y="186"/>
                        </a:lnTo>
                        <a:lnTo>
                          <a:pt x="28" y="177"/>
                        </a:lnTo>
                        <a:lnTo>
                          <a:pt x="20" y="169"/>
                        </a:lnTo>
                        <a:lnTo>
                          <a:pt x="13" y="171"/>
                        </a:lnTo>
                        <a:lnTo>
                          <a:pt x="10" y="166"/>
                        </a:lnTo>
                        <a:lnTo>
                          <a:pt x="0" y="164"/>
                        </a:lnTo>
                        <a:lnTo>
                          <a:pt x="3" y="156"/>
                        </a:lnTo>
                        <a:lnTo>
                          <a:pt x="12" y="154"/>
                        </a:lnTo>
                        <a:lnTo>
                          <a:pt x="10" y="146"/>
                        </a:lnTo>
                        <a:lnTo>
                          <a:pt x="10" y="137"/>
                        </a:lnTo>
                        <a:lnTo>
                          <a:pt x="20" y="132"/>
                        </a:lnTo>
                        <a:lnTo>
                          <a:pt x="28" y="128"/>
                        </a:lnTo>
                        <a:lnTo>
                          <a:pt x="28" y="121"/>
                        </a:lnTo>
                        <a:lnTo>
                          <a:pt x="33" y="119"/>
                        </a:lnTo>
                        <a:lnTo>
                          <a:pt x="42" y="118"/>
                        </a:lnTo>
                        <a:lnTo>
                          <a:pt x="40" y="114"/>
                        </a:lnTo>
                        <a:lnTo>
                          <a:pt x="33" y="106"/>
                        </a:lnTo>
                        <a:lnTo>
                          <a:pt x="28" y="101"/>
                        </a:lnTo>
                        <a:lnTo>
                          <a:pt x="33" y="96"/>
                        </a:lnTo>
                        <a:lnTo>
                          <a:pt x="40" y="86"/>
                        </a:lnTo>
                        <a:lnTo>
                          <a:pt x="40" y="59"/>
                        </a:lnTo>
                        <a:lnTo>
                          <a:pt x="28" y="56"/>
                        </a:lnTo>
                        <a:lnTo>
                          <a:pt x="25" y="46"/>
                        </a:lnTo>
                        <a:lnTo>
                          <a:pt x="33" y="39"/>
                        </a:lnTo>
                        <a:lnTo>
                          <a:pt x="47" y="46"/>
                        </a:lnTo>
                        <a:lnTo>
                          <a:pt x="53" y="46"/>
                        </a:lnTo>
                        <a:lnTo>
                          <a:pt x="65" y="29"/>
                        </a:lnTo>
                        <a:lnTo>
                          <a:pt x="78" y="29"/>
                        </a:lnTo>
                        <a:lnTo>
                          <a:pt x="86" y="23"/>
                        </a:lnTo>
                        <a:lnTo>
                          <a:pt x="90" y="15"/>
                        </a:lnTo>
                        <a:lnTo>
                          <a:pt x="105" y="5"/>
                        </a:lnTo>
                        <a:lnTo>
                          <a:pt x="126" y="6"/>
                        </a:lnTo>
                        <a:lnTo>
                          <a:pt x="138" y="10"/>
                        </a:lnTo>
                        <a:lnTo>
                          <a:pt x="145" y="3"/>
                        </a:lnTo>
                        <a:lnTo>
                          <a:pt x="151" y="0"/>
                        </a:lnTo>
                        <a:lnTo>
                          <a:pt x="153" y="8"/>
                        </a:lnTo>
                        <a:lnTo>
                          <a:pt x="153" y="16"/>
                        </a:lnTo>
                        <a:lnTo>
                          <a:pt x="155" y="23"/>
                        </a:lnTo>
                        <a:lnTo>
                          <a:pt x="191" y="48"/>
                        </a:lnTo>
                        <a:lnTo>
                          <a:pt x="198" y="49"/>
                        </a:lnTo>
                        <a:lnTo>
                          <a:pt x="214" y="58"/>
                        </a:lnTo>
                        <a:lnTo>
                          <a:pt x="223" y="51"/>
                        </a:lnTo>
                        <a:lnTo>
                          <a:pt x="231" y="56"/>
                        </a:lnTo>
                        <a:lnTo>
                          <a:pt x="261" y="36"/>
                        </a:lnTo>
                        <a:lnTo>
                          <a:pt x="271" y="49"/>
                        </a:lnTo>
                        <a:lnTo>
                          <a:pt x="274" y="59"/>
                        </a:lnTo>
                        <a:lnTo>
                          <a:pt x="288" y="73"/>
                        </a:lnTo>
                        <a:lnTo>
                          <a:pt x="283" y="81"/>
                        </a:lnTo>
                        <a:lnTo>
                          <a:pt x="291" y="88"/>
                        </a:lnTo>
                        <a:lnTo>
                          <a:pt x="298" y="94"/>
                        </a:lnTo>
                        <a:lnTo>
                          <a:pt x="307" y="89"/>
                        </a:lnTo>
                        <a:lnTo>
                          <a:pt x="307" y="83"/>
                        </a:lnTo>
                        <a:lnTo>
                          <a:pt x="316" y="91"/>
                        </a:lnTo>
                        <a:lnTo>
                          <a:pt x="321" y="83"/>
                        </a:lnTo>
                        <a:lnTo>
                          <a:pt x="327" y="86"/>
                        </a:lnTo>
                        <a:lnTo>
                          <a:pt x="331" y="78"/>
                        </a:lnTo>
                        <a:lnTo>
                          <a:pt x="339" y="68"/>
                        </a:lnTo>
                        <a:lnTo>
                          <a:pt x="344" y="73"/>
                        </a:lnTo>
                        <a:lnTo>
                          <a:pt x="342" y="88"/>
                        </a:lnTo>
                        <a:lnTo>
                          <a:pt x="339" y="96"/>
                        </a:lnTo>
                        <a:lnTo>
                          <a:pt x="334" y="103"/>
                        </a:lnTo>
                        <a:lnTo>
                          <a:pt x="331" y="108"/>
                        </a:lnTo>
                        <a:lnTo>
                          <a:pt x="331" y="114"/>
                        </a:lnTo>
                        <a:lnTo>
                          <a:pt x="342" y="111"/>
                        </a:lnTo>
                        <a:lnTo>
                          <a:pt x="351" y="103"/>
                        </a:lnTo>
                        <a:lnTo>
                          <a:pt x="351" y="103"/>
                        </a:lnTo>
                        <a:lnTo>
                          <a:pt x="351" y="103"/>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13" name="Freeform 1058">
                    <a:extLst>
                      <a:ext uri="{FF2B5EF4-FFF2-40B4-BE49-F238E27FC236}">
                        <a16:creationId xmlns:a16="http://schemas.microsoft.com/office/drawing/2014/main" id="{11A79B37-BD03-492A-80E6-5B61BFB81C3E}"/>
                      </a:ext>
                    </a:extLst>
                  </p:cNvPr>
                  <p:cNvSpPr>
                    <a:spLocks/>
                  </p:cNvSpPr>
                  <p:nvPr/>
                </p:nvSpPr>
                <p:spPr bwMode="auto">
                  <a:xfrm>
                    <a:off x="3212092" y="2048537"/>
                    <a:ext cx="471654" cy="535122"/>
                  </a:xfrm>
                  <a:custGeom>
                    <a:avLst/>
                    <a:gdLst>
                      <a:gd name="T0" fmla="*/ 258 w 379"/>
                      <a:gd name="T1" fmla="*/ 20 h 430"/>
                      <a:gd name="T2" fmla="*/ 231 w 379"/>
                      <a:gd name="T3" fmla="*/ 36 h 430"/>
                      <a:gd name="T4" fmla="*/ 226 w 379"/>
                      <a:gd name="T5" fmla="*/ 55 h 430"/>
                      <a:gd name="T6" fmla="*/ 235 w 379"/>
                      <a:gd name="T7" fmla="*/ 71 h 430"/>
                      <a:gd name="T8" fmla="*/ 261 w 379"/>
                      <a:gd name="T9" fmla="*/ 86 h 430"/>
                      <a:gd name="T10" fmla="*/ 276 w 379"/>
                      <a:gd name="T11" fmla="*/ 138 h 430"/>
                      <a:gd name="T12" fmla="*/ 306 w 379"/>
                      <a:gd name="T13" fmla="*/ 176 h 430"/>
                      <a:gd name="T14" fmla="*/ 308 w 379"/>
                      <a:gd name="T15" fmla="*/ 161 h 430"/>
                      <a:gd name="T16" fmla="*/ 319 w 379"/>
                      <a:gd name="T17" fmla="*/ 179 h 430"/>
                      <a:gd name="T18" fmla="*/ 334 w 379"/>
                      <a:gd name="T19" fmla="*/ 186 h 430"/>
                      <a:gd name="T20" fmla="*/ 343 w 379"/>
                      <a:gd name="T21" fmla="*/ 203 h 430"/>
                      <a:gd name="T22" fmla="*/ 339 w 379"/>
                      <a:gd name="T23" fmla="*/ 218 h 430"/>
                      <a:gd name="T24" fmla="*/ 368 w 379"/>
                      <a:gd name="T25" fmla="*/ 234 h 430"/>
                      <a:gd name="T26" fmla="*/ 373 w 379"/>
                      <a:gd name="T27" fmla="*/ 252 h 430"/>
                      <a:gd name="T28" fmla="*/ 373 w 379"/>
                      <a:gd name="T29" fmla="*/ 272 h 430"/>
                      <a:gd name="T30" fmla="*/ 376 w 379"/>
                      <a:gd name="T31" fmla="*/ 309 h 430"/>
                      <a:gd name="T32" fmla="*/ 368 w 379"/>
                      <a:gd name="T33" fmla="*/ 309 h 430"/>
                      <a:gd name="T34" fmla="*/ 353 w 379"/>
                      <a:gd name="T35" fmla="*/ 319 h 430"/>
                      <a:gd name="T36" fmla="*/ 333 w 379"/>
                      <a:gd name="T37" fmla="*/ 337 h 430"/>
                      <a:gd name="T38" fmla="*/ 338 w 379"/>
                      <a:gd name="T39" fmla="*/ 347 h 430"/>
                      <a:gd name="T40" fmla="*/ 318 w 379"/>
                      <a:gd name="T41" fmla="*/ 352 h 430"/>
                      <a:gd name="T42" fmla="*/ 291 w 379"/>
                      <a:gd name="T43" fmla="*/ 347 h 430"/>
                      <a:gd name="T44" fmla="*/ 290 w 379"/>
                      <a:gd name="T45" fmla="*/ 355 h 430"/>
                      <a:gd name="T46" fmla="*/ 281 w 379"/>
                      <a:gd name="T47" fmla="*/ 375 h 430"/>
                      <a:gd name="T48" fmla="*/ 286 w 379"/>
                      <a:gd name="T49" fmla="*/ 390 h 430"/>
                      <a:gd name="T50" fmla="*/ 268 w 379"/>
                      <a:gd name="T51" fmla="*/ 402 h 430"/>
                      <a:gd name="T52" fmla="*/ 248 w 379"/>
                      <a:gd name="T53" fmla="*/ 399 h 430"/>
                      <a:gd name="T54" fmla="*/ 213 w 379"/>
                      <a:gd name="T55" fmla="*/ 397 h 430"/>
                      <a:gd name="T56" fmla="*/ 196 w 379"/>
                      <a:gd name="T57" fmla="*/ 394 h 430"/>
                      <a:gd name="T58" fmla="*/ 181 w 379"/>
                      <a:gd name="T59" fmla="*/ 410 h 430"/>
                      <a:gd name="T60" fmla="*/ 170 w 379"/>
                      <a:gd name="T61" fmla="*/ 430 h 430"/>
                      <a:gd name="T62" fmla="*/ 158 w 379"/>
                      <a:gd name="T63" fmla="*/ 415 h 430"/>
                      <a:gd name="T64" fmla="*/ 163 w 379"/>
                      <a:gd name="T65" fmla="*/ 395 h 430"/>
                      <a:gd name="T66" fmla="*/ 155 w 379"/>
                      <a:gd name="T67" fmla="*/ 390 h 430"/>
                      <a:gd name="T68" fmla="*/ 147 w 379"/>
                      <a:gd name="T69" fmla="*/ 389 h 430"/>
                      <a:gd name="T70" fmla="*/ 143 w 379"/>
                      <a:gd name="T71" fmla="*/ 379 h 430"/>
                      <a:gd name="T72" fmla="*/ 115 w 379"/>
                      <a:gd name="T73" fmla="*/ 367 h 430"/>
                      <a:gd name="T74" fmla="*/ 73 w 379"/>
                      <a:gd name="T75" fmla="*/ 367 h 430"/>
                      <a:gd name="T76" fmla="*/ 5 w 379"/>
                      <a:gd name="T77" fmla="*/ 360 h 430"/>
                      <a:gd name="T78" fmla="*/ 10 w 379"/>
                      <a:gd name="T79" fmla="*/ 332 h 430"/>
                      <a:gd name="T80" fmla="*/ 12 w 379"/>
                      <a:gd name="T81" fmla="*/ 297 h 430"/>
                      <a:gd name="T82" fmla="*/ 32 w 379"/>
                      <a:gd name="T83" fmla="*/ 267 h 430"/>
                      <a:gd name="T84" fmla="*/ 70 w 379"/>
                      <a:gd name="T85" fmla="*/ 221 h 430"/>
                      <a:gd name="T86" fmla="*/ 110 w 379"/>
                      <a:gd name="T87" fmla="*/ 203 h 430"/>
                      <a:gd name="T88" fmla="*/ 87 w 379"/>
                      <a:gd name="T89" fmla="*/ 194 h 430"/>
                      <a:gd name="T90" fmla="*/ 105 w 379"/>
                      <a:gd name="T91" fmla="*/ 151 h 430"/>
                      <a:gd name="T92" fmla="*/ 95 w 379"/>
                      <a:gd name="T93" fmla="*/ 101 h 430"/>
                      <a:gd name="T94" fmla="*/ 133 w 379"/>
                      <a:gd name="T95" fmla="*/ 68 h 430"/>
                      <a:gd name="T96" fmla="*/ 188 w 379"/>
                      <a:gd name="T97" fmla="*/ 55 h 430"/>
                      <a:gd name="T98" fmla="*/ 191 w 379"/>
                      <a:gd name="T99" fmla="*/ 23 h 430"/>
                      <a:gd name="T100" fmla="*/ 231 w 379"/>
                      <a:gd name="T101" fmla="*/ 15 h 430"/>
                      <a:gd name="T102" fmla="*/ 258 w 379"/>
                      <a:gd name="T103" fmla="*/ 1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9" h="430">
                        <a:moveTo>
                          <a:pt x="258" y="10"/>
                        </a:moveTo>
                        <a:lnTo>
                          <a:pt x="266" y="20"/>
                        </a:lnTo>
                        <a:lnTo>
                          <a:pt x="258" y="20"/>
                        </a:lnTo>
                        <a:lnTo>
                          <a:pt x="250" y="22"/>
                        </a:lnTo>
                        <a:lnTo>
                          <a:pt x="251" y="28"/>
                        </a:lnTo>
                        <a:lnTo>
                          <a:pt x="231" y="36"/>
                        </a:lnTo>
                        <a:lnTo>
                          <a:pt x="231" y="45"/>
                        </a:lnTo>
                        <a:lnTo>
                          <a:pt x="235" y="56"/>
                        </a:lnTo>
                        <a:lnTo>
                          <a:pt x="226" y="55"/>
                        </a:lnTo>
                        <a:lnTo>
                          <a:pt x="223" y="65"/>
                        </a:lnTo>
                        <a:lnTo>
                          <a:pt x="233" y="66"/>
                        </a:lnTo>
                        <a:lnTo>
                          <a:pt x="235" y="71"/>
                        </a:lnTo>
                        <a:lnTo>
                          <a:pt x="243" y="70"/>
                        </a:lnTo>
                        <a:lnTo>
                          <a:pt x="253" y="80"/>
                        </a:lnTo>
                        <a:lnTo>
                          <a:pt x="261" y="86"/>
                        </a:lnTo>
                        <a:lnTo>
                          <a:pt x="268" y="106"/>
                        </a:lnTo>
                        <a:lnTo>
                          <a:pt x="268" y="123"/>
                        </a:lnTo>
                        <a:lnTo>
                          <a:pt x="276" y="138"/>
                        </a:lnTo>
                        <a:lnTo>
                          <a:pt x="293" y="179"/>
                        </a:lnTo>
                        <a:lnTo>
                          <a:pt x="296" y="183"/>
                        </a:lnTo>
                        <a:lnTo>
                          <a:pt x="306" y="176"/>
                        </a:lnTo>
                        <a:lnTo>
                          <a:pt x="309" y="171"/>
                        </a:lnTo>
                        <a:lnTo>
                          <a:pt x="304" y="166"/>
                        </a:lnTo>
                        <a:lnTo>
                          <a:pt x="308" y="161"/>
                        </a:lnTo>
                        <a:lnTo>
                          <a:pt x="314" y="163"/>
                        </a:lnTo>
                        <a:lnTo>
                          <a:pt x="321" y="171"/>
                        </a:lnTo>
                        <a:lnTo>
                          <a:pt x="319" y="179"/>
                        </a:lnTo>
                        <a:lnTo>
                          <a:pt x="323" y="184"/>
                        </a:lnTo>
                        <a:lnTo>
                          <a:pt x="329" y="181"/>
                        </a:lnTo>
                        <a:lnTo>
                          <a:pt x="334" y="186"/>
                        </a:lnTo>
                        <a:lnTo>
                          <a:pt x="339" y="186"/>
                        </a:lnTo>
                        <a:lnTo>
                          <a:pt x="346" y="193"/>
                        </a:lnTo>
                        <a:lnTo>
                          <a:pt x="343" y="203"/>
                        </a:lnTo>
                        <a:lnTo>
                          <a:pt x="346" y="208"/>
                        </a:lnTo>
                        <a:lnTo>
                          <a:pt x="346" y="213"/>
                        </a:lnTo>
                        <a:lnTo>
                          <a:pt x="339" y="218"/>
                        </a:lnTo>
                        <a:lnTo>
                          <a:pt x="341" y="224"/>
                        </a:lnTo>
                        <a:lnTo>
                          <a:pt x="353" y="231"/>
                        </a:lnTo>
                        <a:lnTo>
                          <a:pt x="368" y="234"/>
                        </a:lnTo>
                        <a:lnTo>
                          <a:pt x="361" y="243"/>
                        </a:lnTo>
                        <a:lnTo>
                          <a:pt x="366" y="249"/>
                        </a:lnTo>
                        <a:lnTo>
                          <a:pt x="373" y="252"/>
                        </a:lnTo>
                        <a:lnTo>
                          <a:pt x="369" y="264"/>
                        </a:lnTo>
                        <a:lnTo>
                          <a:pt x="364" y="276"/>
                        </a:lnTo>
                        <a:lnTo>
                          <a:pt x="373" y="272"/>
                        </a:lnTo>
                        <a:lnTo>
                          <a:pt x="379" y="284"/>
                        </a:lnTo>
                        <a:lnTo>
                          <a:pt x="374" y="294"/>
                        </a:lnTo>
                        <a:lnTo>
                          <a:pt x="376" y="309"/>
                        </a:lnTo>
                        <a:lnTo>
                          <a:pt x="376" y="321"/>
                        </a:lnTo>
                        <a:lnTo>
                          <a:pt x="369" y="319"/>
                        </a:lnTo>
                        <a:lnTo>
                          <a:pt x="368" y="309"/>
                        </a:lnTo>
                        <a:lnTo>
                          <a:pt x="358" y="311"/>
                        </a:lnTo>
                        <a:lnTo>
                          <a:pt x="349" y="311"/>
                        </a:lnTo>
                        <a:lnTo>
                          <a:pt x="353" y="319"/>
                        </a:lnTo>
                        <a:lnTo>
                          <a:pt x="341" y="327"/>
                        </a:lnTo>
                        <a:lnTo>
                          <a:pt x="333" y="331"/>
                        </a:lnTo>
                        <a:lnTo>
                          <a:pt x="333" y="337"/>
                        </a:lnTo>
                        <a:lnTo>
                          <a:pt x="344" y="336"/>
                        </a:lnTo>
                        <a:lnTo>
                          <a:pt x="348" y="344"/>
                        </a:lnTo>
                        <a:lnTo>
                          <a:pt x="338" y="347"/>
                        </a:lnTo>
                        <a:lnTo>
                          <a:pt x="336" y="354"/>
                        </a:lnTo>
                        <a:lnTo>
                          <a:pt x="328" y="357"/>
                        </a:lnTo>
                        <a:lnTo>
                          <a:pt x="318" y="352"/>
                        </a:lnTo>
                        <a:lnTo>
                          <a:pt x="306" y="351"/>
                        </a:lnTo>
                        <a:lnTo>
                          <a:pt x="301" y="352"/>
                        </a:lnTo>
                        <a:lnTo>
                          <a:pt x="291" y="347"/>
                        </a:lnTo>
                        <a:lnTo>
                          <a:pt x="288" y="344"/>
                        </a:lnTo>
                        <a:lnTo>
                          <a:pt x="283" y="346"/>
                        </a:lnTo>
                        <a:lnTo>
                          <a:pt x="290" y="355"/>
                        </a:lnTo>
                        <a:lnTo>
                          <a:pt x="293" y="357"/>
                        </a:lnTo>
                        <a:lnTo>
                          <a:pt x="290" y="365"/>
                        </a:lnTo>
                        <a:lnTo>
                          <a:pt x="281" y="375"/>
                        </a:lnTo>
                        <a:lnTo>
                          <a:pt x="286" y="380"/>
                        </a:lnTo>
                        <a:lnTo>
                          <a:pt x="291" y="384"/>
                        </a:lnTo>
                        <a:lnTo>
                          <a:pt x="286" y="390"/>
                        </a:lnTo>
                        <a:lnTo>
                          <a:pt x="281" y="392"/>
                        </a:lnTo>
                        <a:lnTo>
                          <a:pt x="278" y="389"/>
                        </a:lnTo>
                        <a:lnTo>
                          <a:pt x="268" y="402"/>
                        </a:lnTo>
                        <a:lnTo>
                          <a:pt x="260" y="405"/>
                        </a:lnTo>
                        <a:lnTo>
                          <a:pt x="251" y="405"/>
                        </a:lnTo>
                        <a:lnTo>
                          <a:pt x="248" y="399"/>
                        </a:lnTo>
                        <a:lnTo>
                          <a:pt x="236" y="390"/>
                        </a:lnTo>
                        <a:lnTo>
                          <a:pt x="226" y="395"/>
                        </a:lnTo>
                        <a:lnTo>
                          <a:pt x="213" y="397"/>
                        </a:lnTo>
                        <a:lnTo>
                          <a:pt x="211" y="404"/>
                        </a:lnTo>
                        <a:lnTo>
                          <a:pt x="203" y="399"/>
                        </a:lnTo>
                        <a:lnTo>
                          <a:pt x="196" y="394"/>
                        </a:lnTo>
                        <a:lnTo>
                          <a:pt x="190" y="397"/>
                        </a:lnTo>
                        <a:lnTo>
                          <a:pt x="181" y="405"/>
                        </a:lnTo>
                        <a:lnTo>
                          <a:pt x="181" y="410"/>
                        </a:lnTo>
                        <a:lnTo>
                          <a:pt x="173" y="415"/>
                        </a:lnTo>
                        <a:lnTo>
                          <a:pt x="175" y="425"/>
                        </a:lnTo>
                        <a:lnTo>
                          <a:pt x="170" y="430"/>
                        </a:lnTo>
                        <a:lnTo>
                          <a:pt x="163" y="427"/>
                        </a:lnTo>
                        <a:lnTo>
                          <a:pt x="163" y="420"/>
                        </a:lnTo>
                        <a:lnTo>
                          <a:pt x="158" y="415"/>
                        </a:lnTo>
                        <a:lnTo>
                          <a:pt x="162" y="405"/>
                        </a:lnTo>
                        <a:lnTo>
                          <a:pt x="168" y="400"/>
                        </a:lnTo>
                        <a:lnTo>
                          <a:pt x="163" y="395"/>
                        </a:lnTo>
                        <a:lnTo>
                          <a:pt x="163" y="389"/>
                        </a:lnTo>
                        <a:lnTo>
                          <a:pt x="158" y="385"/>
                        </a:lnTo>
                        <a:lnTo>
                          <a:pt x="155" y="390"/>
                        </a:lnTo>
                        <a:lnTo>
                          <a:pt x="157" y="395"/>
                        </a:lnTo>
                        <a:lnTo>
                          <a:pt x="150" y="395"/>
                        </a:lnTo>
                        <a:lnTo>
                          <a:pt x="147" y="389"/>
                        </a:lnTo>
                        <a:lnTo>
                          <a:pt x="150" y="382"/>
                        </a:lnTo>
                        <a:lnTo>
                          <a:pt x="152" y="377"/>
                        </a:lnTo>
                        <a:lnTo>
                          <a:pt x="143" y="379"/>
                        </a:lnTo>
                        <a:lnTo>
                          <a:pt x="133" y="379"/>
                        </a:lnTo>
                        <a:lnTo>
                          <a:pt x="125" y="370"/>
                        </a:lnTo>
                        <a:lnTo>
                          <a:pt x="115" y="367"/>
                        </a:lnTo>
                        <a:lnTo>
                          <a:pt x="100" y="367"/>
                        </a:lnTo>
                        <a:lnTo>
                          <a:pt x="80" y="372"/>
                        </a:lnTo>
                        <a:lnTo>
                          <a:pt x="73" y="367"/>
                        </a:lnTo>
                        <a:lnTo>
                          <a:pt x="62" y="367"/>
                        </a:lnTo>
                        <a:lnTo>
                          <a:pt x="35" y="365"/>
                        </a:lnTo>
                        <a:lnTo>
                          <a:pt x="5" y="360"/>
                        </a:lnTo>
                        <a:lnTo>
                          <a:pt x="0" y="352"/>
                        </a:lnTo>
                        <a:lnTo>
                          <a:pt x="9" y="344"/>
                        </a:lnTo>
                        <a:lnTo>
                          <a:pt x="10" y="332"/>
                        </a:lnTo>
                        <a:lnTo>
                          <a:pt x="17" y="324"/>
                        </a:lnTo>
                        <a:lnTo>
                          <a:pt x="5" y="304"/>
                        </a:lnTo>
                        <a:lnTo>
                          <a:pt x="12" y="297"/>
                        </a:lnTo>
                        <a:lnTo>
                          <a:pt x="10" y="286"/>
                        </a:lnTo>
                        <a:lnTo>
                          <a:pt x="29" y="279"/>
                        </a:lnTo>
                        <a:lnTo>
                          <a:pt x="32" y="267"/>
                        </a:lnTo>
                        <a:lnTo>
                          <a:pt x="40" y="262"/>
                        </a:lnTo>
                        <a:lnTo>
                          <a:pt x="64" y="236"/>
                        </a:lnTo>
                        <a:lnTo>
                          <a:pt x="70" y="221"/>
                        </a:lnTo>
                        <a:lnTo>
                          <a:pt x="88" y="213"/>
                        </a:lnTo>
                        <a:lnTo>
                          <a:pt x="100" y="208"/>
                        </a:lnTo>
                        <a:lnTo>
                          <a:pt x="110" y="203"/>
                        </a:lnTo>
                        <a:lnTo>
                          <a:pt x="103" y="194"/>
                        </a:lnTo>
                        <a:lnTo>
                          <a:pt x="92" y="203"/>
                        </a:lnTo>
                        <a:lnTo>
                          <a:pt x="87" y="194"/>
                        </a:lnTo>
                        <a:lnTo>
                          <a:pt x="90" y="173"/>
                        </a:lnTo>
                        <a:lnTo>
                          <a:pt x="90" y="163"/>
                        </a:lnTo>
                        <a:lnTo>
                          <a:pt x="105" y="151"/>
                        </a:lnTo>
                        <a:lnTo>
                          <a:pt x="97" y="130"/>
                        </a:lnTo>
                        <a:lnTo>
                          <a:pt x="88" y="115"/>
                        </a:lnTo>
                        <a:lnTo>
                          <a:pt x="95" y="101"/>
                        </a:lnTo>
                        <a:lnTo>
                          <a:pt x="112" y="81"/>
                        </a:lnTo>
                        <a:lnTo>
                          <a:pt x="125" y="78"/>
                        </a:lnTo>
                        <a:lnTo>
                          <a:pt x="133" y="68"/>
                        </a:lnTo>
                        <a:lnTo>
                          <a:pt x="160" y="63"/>
                        </a:lnTo>
                        <a:lnTo>
                          <a:pt x="175" y="61"/>
                        </a:lnTo>
                        <a:lnTo>
                          <a:pt x="188" y="55"/>
                        </a:lnTo>
                        <a:lnTo>
                          <a:pt x="196" y="38"/>
                        </a:lnTo>
                        <a:lnTo>
                          <a:pt x="196" y="31"/>
                        </a:lnTo>
                        <a:lnTo>
                          <a:pt x="191" y="23"/>
                        </a:lnTo>
                        <a:lnTo>
                          <a:pt x="216" y="33"/>
                        </a:lnTo>
                        <a:lnTo>
                          <a:pt x="216" y="15"/>
                        </a:lnTo>
                        <a:lnTo>
                          <a:pt x="231" y="15"/>
                        </a:lnTo>
                        <a:lnTo>
                          <a:pt x="250" y="0"/>
                        </a:lnTo>
                        <a:lnTo>
                          <a:pt x="258" y="10"/>
                        </a:lnTo>
                        <a:lnTo>
                          <a:pt x="258" y="10"/>
                        </a:lnTo>
                        <a:lnTo>
                          <a:pt x="258" y="1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14" name="Freeform 1060">
                    <a:extLst>
                      <a:ext uri="{FF2B5EF4-FFF2-40B4-BE49-F238E27FC236}">
                        <a16:creationId xmlns:a16="http://schemas.microsoft.com/office/drawing/2014/main" id="{6A0EAAD0-2994-40A7-98A8-FEC272F16813}"/>
                      </a:ext>
                    </a:extLst>
                  </p:cNvPr>
                  <p:cNvSpPr>
                    <a:spLocks/>
                  </p:cNvSpPr>
                  <p:nvPr/>
                </p:nvSpPr>
                <p:spPr bwMode="auto">
                  <a:xfrm>
                    <a:off x="3295472" y="2339743"/>
                    <a:ext cx="490321" cy="591123"/>
                  </a:xfrm>
                  <a:custGeom>
                    <a:avLst/>
                    <a:gdLst>
                      <a:gd name="T0" fmla="*/ 327 w 394"/>
                      <a:gd name="T1" fmla="*/ 27 h 475"/>
                      <a:gd name="T2" fmla="*/ 345 w 394"/>
                      <a:gd name="T3" fmla="*/ 62 h 475"/>
                      <a:gd name="T4" fmla="*/ 379 w 394"/>
                      <a:gd name="T5" fmla="*/ 78 h 475"/>
                      <a:gd name="T6" fmla="*/ 372 w 394"/>
                      <a:gd name="T7" fmla="*/ 117 h 475"/>
                      <a:gd name="T8" fmla="*/ 344 w 394"/>
                      <a:gd name="T9" fmla="*/ 146 h 475"/>
                      <a:gd name="T10" fmla="*/ 326 w 394"/>
                      <a:gd name="T11" fmla="*/ 195 h 475"/>
                      <a:gd name="T12" fmla="*/ 336 w 394"/>
                      <a:gd name="T13" fmla="*/ 249 h 475"/>
                      <a:gd name="T14" fmla="*/ 340 w 394"/>
                      <a:gd name="T15" fmla="*/ 309 h 475"/>
                      <a:gd name="T16" fmla="*/ 312 w 394"/>
                      <a:gd name="T17" fmla="*/ 304 h 475"/>
                      <a:gd name="T18" fmla="*/ 306 w 394"/>
                      <a:gd name="T19" fmla="*/ 331 h 475"/>
                      <a:gd name="T20" fmla="*/ 312 w 394"/>
                      <a:gd name="T21" fmla="*/ 349 h 475"/>
                      <a:gd name="T22" fmla="*/ 345 w 394"/>
                      <a:gd name="T23" fmla="*/ 352 h 475"/>
                      <a:gd name="T24" fmla="*/ 364 w 394"/>
                      <a:gd name="T25" fmla="*/ 364 h 475"/>
                      <a:gd name="T26" fmla="*/ 380 w 394"/>
                      <a:gd name="T27" fmla="*/ 397 h 475"/>
                      <a:gd name="T28" fmla="*/ 374 w 394"/>
                      <a:gd name="T29" fmla="*/ 426 h 475"/>
                      <a:gd name="T30" fmla="*/ 349 w 394"/>
                      <a:gd name="T31" fmla="*/ 452 h 475"/>
                      <a:gd name="T32" fmla="*/ 321 w 394"/>
                      <a:gd name="T33" fmla="*/ 452 h 475"/>
                      <a:gd name="T34" fmla="*/ 301 w 394"/>
                      <a:gd name="T35" fmla="*/ 475 h 475"/>
                      <a:gd name="T36" fmla="*/ 306 w 394"/>
                      <a:gd name="T37" fmla="*/ 441 h 475"/>
                      <a:gd name="T38" fmla="*/ 291 w 394"/>
                      <a:gd name="T39" fmla="*/ 394 h 475"/>
                      <a:gd name="T40" fmla="*/ 267 w 394"/>
                      <a:gd name="T41" fmla="*/ 426 h 475"/>
                      <a:gd name="T42" fmla="*/ 242 w 394"/>
                      <a:gd name="T43" fmla="*/ 414 h 475"/>
                      <a:gd name="T44" fmla="*/ 226 w 394"/>
                      <a:gd name="T45" fmla="*/ 407 h 475"/>
                      <a:gd name="T46" fmla="*/ 204 w 394"/>
                      <a:gd name="T47" fmla="*/ 416 h 475"/>
                      <a:gd name="T48" fmla="*/ 209 w 394"/>
                      <a:gd name="T49" fmla="*/ 450 h 475"/>
                      <a:gd name="T50" fmla="*/ 178 w 394"/>
                      <a:gd name="T51" fmla="*/ 436 h 475"/>
                      <a:gd name="T52" fmla="*/ 189 w 394"/>
                      <a:gd name="T53" fmla="*/ 399 h 475"/>
                      <a:gd name="T54" fmla="*/ 158 w 394"/>
                      <a:gd name="T55" fmla="*/ 357 h 475"/>
                      <a:gd name="T56" fmla="*/ 131 w 394"/>
                      <a:gd name="T57" fmla="*/ 301 h 475"/>
                      <a:gd name="T58" fmla="*/ 121 w 394"/>
                      <a:gd name="T59" fmla="*/ 273 h 475"/>
                      <a:gd name="T60" fmla="*/ 118 w 394"/>
                      <a:gd name="T61" fmla="*/ 234 h 475"/>
                      <a:gd name="T62" fmla="*/ 86 w 394"/>
                      <a:gd name="T63" fmla="*/ 239 h 475"/>
                      <a:gd name="T64" fmla="*/ 53 w 394"/>
                      <a:gd name="T65" fmla="*/ 218 h 475"/>
                      <a:gd name="T66" fmla="*/ 15 w 394"/>
                      <a:gd name="T67" fmla="*/ 226 h 475"/>
                      <a:gd name="T68" fmla="*/ 15 w 394"/>
                      <a:gd name="T69" fmla="*/ 180 h 475"/>
                      <a:gd name="T70" fmla="*/ 3 w 394"/>
                      <a:gd name="T71" fmla="*/ 161 h 475"/>
                      <a:gd name="T72" fmla="*/ 11 w 394"/>
                      <a:gd name="T73" fmla="*/ 136 h 475"/>
                      <a:gd name="T74" fmla="*/ 75 w 394"/>
                      <a:gd name="T75" fmla="*/ 143 h 475"/>
                      <a:gd name="T76" fmla="*/ 86 w 394"/>
                      <a:gd name="T77" fmla="*/ 156 h 475"/>
                      <a:gd name="T78" fmla="*/ 93 w 394"/>
                      <a:gd name="T79" fmla="*/ 173 h 475"/>
                      <a:gd name="T80" fmla="*/ 108 w 394"/>
                      <a:gd name="T81" fmla="*/ 191 h 475"/>
                      <a:gd name="T82" fmla="*/ 129 w 394"/>
                      <a:gd name="T83" fmla="*/ 158 h 475"/>
                      <a:gd name="T84" fmla="*/ 169 w 394"/>
                      <a:gd name="T85" fmla="*/ 155 h 475"/>
                      <a:gd name="T86" fmla="*/ 209 w 394"/>
                      <a:gd name="T87" fmla="*/ 155 h 475"/>
                      <a:gd name="T88" fmla="*/ 214 w 394"/>
                      <a:gd name="T89" fmla="*/ 140 h 475"/>
                      <a:gd name="T90" fmla="*/ 223 w 394"/>
                      <a:gd name="T91" fmla="*/ 107 h 475"/>
                      <a:gd name="T92" fmla="*/ 269 w 394"/>
                      <a:gd name="T93" fmla="*/ 120 h 475"/>
                      <a:gd name="T94" fmla="*/ 264 w 394"/>
                      <a:gd name="T95" fmla="*/ 95 h 475"/>
                      <a:gd name="T96" fmla="*/ 301 w 394"/>
                      <a:gd name="T97" fmla="*/ 73 h 475"/>
                      <a:gd name="T98" fmla="*/ 312 w 394"/>
                      <a:gd name="T99" fmla="*/ 48 h 475"/>
                      <a:gd name="T100" fmla="*/ 294 w 394"/>
                      <a:gd name="T101" fmla="*/ 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4" h="475">
                        <a:moveTo>
                          <a:pt x="301" y="0"/>
                        </a:moveTo>
                        <a:lnTo>
                          <a:pt x="314" y="10"/>
                        </a:lnTo>
                        <a:lnTo>
                          <a:pt x="316" y="17"/>
                        </a:lnTo>
                        <a:lnTo>
                          <a:pt x="321" y="17"/>
                        </a:lnTo>
                        <a:lnTo>
                          <a:pt x="327" y="27"/>
                        </a:lnTo>
                        <a:lnTo>
                          <a:pt x="336" y="28"/>
                        </a:lnTo>
                        <a:lnTo>
                          <a:pt x="342" y="40"/>
                        </a:lnTo>
                        <a:lnTo>
                          <a:pt x="342" y="48"/>
                        </a:lnTo>
                        <a:lnTo>
                          <a:pt x="336" y="58"/>
                        </a:lnTo>
                        <a:lnTo>
                          <a:pt x="345" y="62"/>
                        </a:lnTo>
                        <a:lnTo>
                          <a:pt x="345" y="67"/>
                        </a:lnTo>
                        <a:lnTo>
                          <a:pt x="357" y="73"/>
                        </a:lnTo>
                        <a:lnTo>
                          <a:pt x="365" y="72"/>
                        </a:lnTo>
                        <a:lnTo>
                          <a:pt x="375" y="75"/>
                        </a:lnTo>
                        <a:lnTo>
                          <a:pt x="379" y="78"/>
                        </a:lnTo>
                        <a:lnTo>
                          <a:pt x="380" y="75"/>
                        </a:lnTo>
                        <a:lnTo>
                          <a:pt x="394" y="78"/>
                        </a:lnTo>
                        <a:lnTo>
                          <a:pt x="394" y="93"/>
                        </a:lnTo>
                        <a:lnTo>
                          <a:pt x="379" y="105"/>
                        </a:lnTo>
                        <a:lnTo>
                          <a:pt x="372" y="117"/>
                        </a:lnTo>
                        <a:lnTo>
                          <a:pt x="372" y="130"/>
                        </a:lnTo>
                        <a:lnTo>
                          <a:pt x="359" y="133"/>
                        </a:lnTo>
                        <a:lnTo>
                          <a:pt x="354" y="131"/>
                        </a:lnTo>
                        <a:lnTo>
                          <a:pt x="345" y="135"/>
                        </a:lnTo>
                        <a:lnTo>
                          <a:pt x="344" y="146"/>
                        </a:lnTo>
                        <a:lnTo>
                          <a:pt x="342" y="155"/>
                        </a:lnTo>
                        <a:lnTo>
                          <a:pt x="345" y="158"/>
                        </a:lnTo>
                        <a:lnTo>
                          <a:pt x="336" y="170"/>
                        </a:lnTo>
                        <a:lnTo>
                          <a:pt x="327" y="186"/>
                        </a:lnTo>
                        <a:lnTo>
                          <a:pt x="326" y="195"/>
                        </a:lnTo>
                        <a:lnTo>
                          <a:pt x="324" y="206"/>
                        </a:lnTo>
                        <a:lnTo>
                          <a:pt x="324" y="216"/>
                        </a:lnTo>
                        <a:lnTo>
                          <a:pt x="331" y="228"/>
                        </a:lnTo>
                        <a:lnTo>
                          <a:pt x="339" y="236"/>
                        </a:lnTo>
                        <a:lnTo>
                          <a:pt x="336" y="249"/>
                        </a:lnTo>
                        <a:lnTo>
                          <a:pt x="331" y="263"/>
                        </a:lnTo>
                        <a:lnTo>
                          <a:pt x="332" y="273"/>
                        </a:lnTo>
                        <a:lnTo>
                          <a:pt x="344" y="278"/>
                        </a:lnTo>
                        <a:lnTo>
                          <a:pt x="345" y="294"/>
                        </a:lnTo>
                        <a:lnTo>
                          <a:pt x="340" y="309"/>
                        </a:lnTo>
                        <a:lnTo>
                          <a:pt x="337" y="303"/>
                        </a:lnTo>
                        <a:lnTo>
                          <a:pt x="332" y="299"/>
                        </a:lnTo>
                        <a:lnTo>
                          <a:pt x="326" y="299"/>
                        </a:lnTo>
                        <a:lnTo>
                          <a:pt x="321" y="304"/>
                        </a:lnTo>
                        <a:lnTo>
                          <a:pt x="312" y="304"/>
                        </a:lnTo>
                        <a:lnTo>
                          <a:pt x="307" y="304"/>
                        </a:lnTo>
                        <a:lnTo>
                          <a:pt x="309" y="316"/>
                        </a:lnTo>
                        <a:lnTo>
                          <a:pt x="311" y="321"/>
                        </a:lnTo>
                        <a:lnTo>
                          <a:pt x="309" y="328"/>
                        </a:lnTo>
                        <a:lnTo>
                          <a:pt x="306" y="331"/>
                        </a:lnTo>
                        <a:lnTo>
                          <a:pt x="301" y="336"/>
                        </a:lnTo>
                        <a:lnTo>
                          <a:pt x="296" y="342"/>
                        </a:lnTo>
                        <a:lnTo>
                          <a:pt x="297" y="349"/>
                        </a:lnTo>
                        <a:lnTo>
                          <a:pt x="304" y="351"/>
                        </a:lnTo>
                        <a:lnTo>
                          <a:pt x="312" y="349"/>
                        </a:lnTo>
                        <a:lnTo>
                          <a:pt x="321" y="347"/>
                        </a:lnTo>
                        <a:lnTo>
                          <a:pt x="327" y="352"/>
                        </a:lnTo>
                        <a:lnTo>
                          <a:pt x="336" y="361"/>
                        </a:lnTo>
                        <a:lnTo>
                          <a:pt x="345" y="357"/>
                        </a:lnTo>
                        <a:lnTo>
                          <a:pt x="345" y="352"/>
                        </a:lnTo>
                        <a:lnTo>
                          <a:pt x="354" y="352"/>
                        </a:lnTo>
                        <a:lnTo>
                          <a:pt x="357" y="349"/>
                        </a:lnTo>
                        <a:lnTo>
                          <a:pt x="359" y="356"/>
                        </a:lnTo>
                        <a:lnTo>
                          <a:pt x="362" y="356"/>
                        </a:lnTo>
                        <a:lnTo>
                          <a:pt x="364" y="364"/>
                        </a:lnTo>
                        <a:lnTo>
                          <a:pt x="370" y="367"/>
                        </a:lnTo>
                        <a:lnTo>
                          <a:pt x="379" y="367"/>
                        </a:lnTo>
                        <a:lnTo>
                          <a:pt x="380" y="372"/>
                        </a:lnTo>
                        <a:lnTo>
                          <a:pt x="380" y="394"/>
                        </a:lnTo>
                        <a:lnTo>
                          <a:pt x="380" y="397"/>
                        </a:lnTo>
                        <a:lnTo>
                          <a:pt x="387" y="402"/>
                        </a:lnTo>
                        <a:lnTo>
                          <a:pt x="379" y="406"/>
                        </a:lnTo>
                        <a:lnTo>
                          <a:pt x="379" y="412"/>
                        </a:lnTo>
                        <a:lnTo>
                          <a:pt x="370" y="421"/>
                        </a:lnTo>
                        <a:lnTo>
                          <a:pt x="374" y="426"/>
                        </a:lnTo>
                        <a:lnTo>
                          <a:pt x="379" y="427"/>
                        </a:lnTo>
                        <a:lnTo>
                          <a:pt x="375" y="431"/>
                        </a:lnTo>
                        <a:lnTo>
                          <a:pt x="374" y="444"/>
                        </a:lnTo>
                        <a:lnTo>
                          <a:pt x="367" y="444"/>
                        </a:lnTo>
                        <a:lnTo>
                          <a:pt x="349" y="452"/>
                        </a:lnTo>
                        <a:lnTo>
                          <a:pt x="345" y="454"/>
                        </a:lnTo>
                        <a:lnTo>
                          <a:pt x="337" y="455"/>
                        </a:lnTo>
                        <a:lnTo>
                          <a:pt x="332" y="454"/>
                        </a:lnTo>
                        <a:lnTo>
                          <a:pt x="329" y="457"/>
                        </a:lnTo>
                        <a:lnTo>
                          <a:pt x="321" y="452"/>
                        </a:lnTo>
                        <a:lnTo>
                          <a:pt x="312" y="457"/>
                        </a:lnTo>
                        <a:lnTo>
                          <a:pt x="321" y="465"/>
                        </a:lnTo>
                        <a:lnTo>
                          <a:pt x="312" y="465"/>
                        </a:lnTo>
                        <a:lnTo>
                          <a:pt x="306" y="470"/>
                        </a:lnTo>
                        <a:lnTo>
                          <a:pt x="301" y="475"/>
                        </a:lnTo>
                        <a:lnTo>
                          <a:pt x="296" y="472"/>
                        </a:lnTo>
                        <a:lnTo>
                          <a:pt x="301" y="467"/>
                        </a:lnTo>
                        <a:lnTo>
                          <a:pt x="301" y="455"/>
                        </a:lnTo>
                        <a:lnTo>
                          <a:pt x="306" y="445"/>
                        </a:lnTo>
                        <a:lnTo>
                          <a:pt x="306" y="441"/>
                        </a:lnTo>
                        <a:lnTo>
                          <a:pt x="301" y="421"/>
                        </a:lnTo>
                        <a:lnTo>
                          <a:pt x="301" y="416"/>
                        </a:lnTo>
                        <a:lnTo>
                          <a:pt x="307" y="411"/>
                        </a:lnTo>
                        <a:lnTo>
                          <a:pt x="301" y="399"/>
                        </a:lnTo>
                        <a:lnTo>
                          <a:pt x="291" y="394"/>
                        </a:lnTo>
                        <a:lnTo>
                          <a:pt x="286" y="397"/>
                        </a:lnTo>
                        <a:lnTo>
                          <a:pt x="284" y="402"/>
                        </a:lnTo>
                        <a:lnTo>
                          <a:pt x="272" y="411"/>
                        </a:lnTo>
                        <a:lnTo>
                          <a:pt x="266" y="416"/>
                        </a:lnTo>
                        <a:lnTo>
                          <a:pt x="267" y="426"/>
                        </a:lnTo>
                        <a:lnTo>
                          <a:pt x="261" y="424"/>
                        </a:lnTo>
                        <a:lnTo>
                          <a:pt x="257" y="429"/>
                        </a:lnTo>
                        <a:lnTo>
                          <a:pt x="252" y="422"/>
                        </a:lnTo>
                        <a:lnTo>
                          <a:pt x="247" y="419"/>
                        </a:lnTo>
                        <a:lnTo>
                          <a:pt x="242" y="414"/>
                        </a:lnTo>
                        <a:lnTo>
                          <a:pt x="246" y="406"/>
                        </a:lnTo>
                        <a:lnTo>
                          <a:pt x="236" y="402"/>
                        </a:lnTo>
                        <a:lnTo>
                          <a:pt x="227" y="399"/>
                        </a:lnTo>
                        <a:lnTo>
                          <a:pt x="223" y="399"/>
                        </a:lnTo>
                        <a:lnTo>
                          <a:pt x="226" y="407"/>
                        </a:lnTo>
                        <a:lnTo>
                          <a:pt x="221" y="411"/>
                        </a:lnTo>
                        <a:lnTo>
                          <a:pt x="229" y="416"/>
                        </a:lnTo>
                        <a:lnTo>
                          <a:pt x="229" y="421"/>
                        </a:lnTo>
                        <a:lnTo>
                          <a:pt x="221" y="417"/>
                        </a:lnTo>
                        <a:lnTo>
                          <a:pt x="204" y="416"/>
                        </a:lnTo>
                        <a:lnTo>
                          <a:pt x="206" y="426"/>
                        </a:lnTo>
                        <a:lnTo>
                          <a:pt x="206" y="429"/>
                        </a:lnTo>
                        <a:lnTo>
                          <a:pt x="206" y="436"/>
                        </a:lnTo>
                        <a:lnTo>
                          <a:pt x="209" y="444"/>
                        </a:lnTo>
                        <a:lnTo>
                          <a:pt x="209" y="450"/>
                        </a:lnTo>
                        <a:lnTo>
                          <a:pt x="204" y="445"/>
                        </a:lnTo>
                        <a:lnTo>
                          <a:pt x="201" y="442"/>
                        </a:lnTo>
                        <a:lnTo>
                          <a:pt x="196" y="445"/>
                        </a:lnTo>
                        <a:lnTo>
                          <a:pt x="184" y="444"/>
                        </a:lnTo>
                        <a:lnTo>
                          <a:pt x="178" y="436"/>
                        </a:lnTo>
                        <a:lnTo>
                          <a:pt x="186" y="427"/>
                        </a:lnTo>
                        <a:lnTo>
                          <a:pt x="184" y="419"/>
                        </a:lnTo>
                        <a:lnTo>
                          <a:pt x="189" y="411"/>
                        </a:lnTo>
                        <a:lnTo>
                          <a:pt x="184" y="411"/>
                        </a:lnTo>
                        <a:lnTo>
                          <a:pt x="189" y="399"/>
                        </a:lnTo>
                        <a:lnTo>
                          <a:pt x="196" y="401"/>
                        </a:lnTo>
                        <a:lnTo>
                          <a:pt x="191" y="391"/>
                        </a:lnTo>
                        <a:lnTo>
                          <a:pt x="184" y="376"/>
                        </a:lnTo>
                        <a:lnTo>
                          <a:pt x="178" y="369"/>
                        </a:lnTo>
                        <a:lnTo>
                          <a:pt x="158" y="357"/>
                        </a:lnTo>
                        <a:lnTo>
                          <a:pt x="141" y="341"/>
                        </a:lnTo>
                        <a:lnTo>
                          <a:pt x="141" y="331"/>
                        </a:lnTo>
                        <a:lnTo>
                          <a:pt x="131" y="329"/>
                        </a:lnTo>
                        <a:lnTo>
                          <a:pt x="131" y="311"/>
                        </a:lnTo>
                        <a:lnTo>
                          <a:pt x="131" y="301"/>
                        </a:lnTo>
                        <a:lnTo>
                          <a:pt x="124" y="288"/>
                        </a:lnTo>
                        <a:lnTo>
                          <a:pt x="129" y="283"/>
                        </a:lnTo>
                        <a:lnTo>
                          <a:pt x="133" y="278"/>
                        </a:lnTo>
                        <a:lnTo>
                          <a:pt x="133" y="273"/>
                        </a:lnTo>
                        <a:lnTo>
                          <a:pt x="121" y="273"/>
                        </a:lnTo>
                        <a:lnTo>
                          <a:pt x="118" y="268"/>
                        </a:lnTo>
                        <a:lnTo>
                          <a:pt x="114" y="264"/>
                        </a:lnTo>
                        <a:lnTo>
                          <a:pt x="114" y="251"/>
                        </a:lnTo>
                        <a:lnTo>
                          <a:pt x="119" y="244"/>
                        </a:lnTo>
                        <a:lnTo>
                          <a:pt x="118" y="234"/>
                        </a:lnTo>
                        <a:lnTo>
                          <a:pt x="110" y="238"/>
                        </a:lnTo>
                        <a:lnTo>
                          <a:pt x="110" y="231"/>
                        </a:lnTo>
                        <a:lnTo>
                          <a:pt x="93" y="239"/>
                        </a:lnTo>
                        <a:lnTo>
                          <a:pt x="90" y="234"/>
                        </a:lnTo>
                        <a:lnTo>
                          <a:pt x="86" y="239"/>
                        </a:lnTo>
                        <a:lnTo>
                          <a:pt x="73" y="238"/>
                        </a:lnTo>
                        <a:lnTo>
                          <a:pt x="71" y="231"/>
                        </a:lnTo>
                        <a:lnTo>
                          <a:pt x="58" y="228"/>
                        </a:lnTo>
                        <a:lnTo>
                          <a:pt x="61" y="221"/>
                        </a:lnTo>
                        <a:lnTo>
                          <a:pt x="53" y="218"/>
                        </a:lnTo>
                        <a:lnTo>
                          <a:pt x="46" y="215"/>
                        </a:lnTo>
                        <a:lnTo>
                          <a:pt x="38" y="223"/>
                        </a:lnTo>
                        <a:lnTo>
                          <a:pt x="25" y="221"/>
                        </a:lnTo>
                        <a:lnTo>
                          <a:pt x="18" y="229"/>
                        </a:lnTo>
                        <a:lnTo>
                          <a:pt x="15" y="226"/>
                        </a:lnTo>
                        <a:lnTo>
                          <a:pt x="15" y="218"/>
                        </a:lnTo>
                        <a:lnTo>
                          <a:pt x="8" y="206"/>
                        </a:lnTo>
                        <a:lnTo>
                          <a:pt x="15" y="203"/>
                        </a:lnTo>
                        <a:lnTo>
                          <a:pt x="18" y="196"/>
                        </a:lnTo>
                        <a:lnTo>
                          <a:pt x="15" y="180"/>
                        </a:lnTo>
                        <a:lnTo>
                          <a:pt x="18" y="173"/>
                        </a:lnTo>
                        <a:lnTo>
                          <a:pt x="21" y="163"/>
                        </a:lnTo>
                        <a:lnTo>
                          <a:pt x="13" y="165"/>
                        </a:lnTo>
                        <a:lnTo>
                          <a:pt x="5" y="168"/>
                        </a:lnTo>
                        <a:lnTo>
                          <a:pt x="3" y="161"/>
                        </a:lnTo>
                        <a:lnTo>
                          <a:pt x="0" y="156"/>
                        </a:lnTo>
                        <a:lnTo>
                          <a:pt x="5" y="150"/>
                        </a:lnTo>
                        <a:lnTo>
                          <a:pt x="11" y="148"/>
                        </a:lnTo>
                        <a:lnTo>
                          <a:pt x="13" y="143"/>
                        </a:lnTo>
                        <a:lnTo>
                          <a:pt x="11" y="136"/>
                        </a:lnTo>
                        <a:lnTo>
                          <a:pt x="30" y="133"/>
                        </a:lnTo>
                        <a:lnTo>
                          <a:pt x="46" y="131"/>
                        </a:lnTo>
                        <a:lnTo>
                          <a:pt x="60" y="136"/>
                        </a:lnTo>
                        <a:lnTo>
                          <a:pt x="66" y="143"/>
                        </a:lnTo>
                        <a:lnTo>
                          <a:pt x="75" y="143"/>
                        </a:lnTo>
                        <a:lnTo>
                          <a:pt x="85" y="141"/>
                        </a:lnTo>
                        <a:lnTo>
                          <a:pt x="78" y="153"/>
                        </a:lnTo>
                        <a:lnTo>
                          <a:pt x="83" y="161"/>
                        </a:lnTo>
                        <a:lnTo>
                          <a:pt x="90" y="160"/>
                        </a:lnTo>
                        <a:lnTo>
                          <a:pt x="86" y="156"/>
                        </a:lnTo>
                        <a:lnTo>
                          <a:pt x="91" y="150"/>
                        </a:lnTo>
                        <a:lnTo>
                          <a:pt x="96" y="153"/>
                        </a:lnTo>
                        <a:lnTo>
                          <a:pt x="95" y="161"/>
                        </a:lnTo>
                        <a:lnTo>
                          <a:pt x="100" y="165"/>
                        </a:lnTo>
                        <a:lnTo>
                          <a:pt x="93" y="173"/>
                        </a:lnTo>
                        <a:lnTo>
                          <a:pt x="91" y="180"/>
                        </a:lnTo>
                        <a:lnTo>
                          <a:pt x="95" y="186"/>
                        </a:lnTo>
                        <a:lnTo>
                          <a:pt x="96" y="193"/>
                        </a:lnTo>
                        <a:lnTo>
                          <a:pt x="105" y="195"/>
                        </a:lnTo>
                        <a:lnTo>
                          <a:pt x="108" y="191"/>
                        </a:lnTo>
                        <a:lnTo>
                          <a:pt x="106" y="181"/>
                        </a:lnTo>
                        <a:lnTo>
                          <a:pt x="114" y="175"/>
                        </a:lnTo>
                        <a:lnTo>
                          <a:pt x="114" y="168"/>
                        </a:lnTo>
                        <a:lnTo>
                          <a:pt x="124" y="160"/>
                        </a:lnTo>
                        <a:lnTo>
                          <a:pt x="129" y="158"/>
                        </a:lnTo>
                        <a:lnTo>
                          <a:pt x="136" y="165"/>
                        </a:lnTo>
                        <a:lnTo>
                          <a:pt x="146" y="168"/>
                        </a:lnTo>
                        <a:lnTo>
                          <a:pt x="146" y="161"/>
                        </a:lnTo>
                        <a:lnTo>
                          <a:pt x="159" y="160"/>
                        </a:lnTo>
                        <a:lnTo>
                          <a:pt x="169" y="155"/>
                        </a:lnTo>
                        <a:lnTo>
                          <a:pt x="178" y="161"/>
                        </a:lnTo>
                        <a:lnTo>
                          <a:pt x="184" y="170"/>
                        </a:lnTo>
                        <a:lnTo>
                          <a:pt x="194" y="171"/>
                        </a:lnTo>
                        <a:lnTo>
                          <a:pt x="201" y="166"/>
                        </a:lnTo>
                        <a:lnTo>
                          <a:pt x="209" y="155"/>
                        </a:lnTo>
                        <a:lnTo>
                          <a:pt x="214" y="158"/>
                        </a:lnTo>
                        <a:lnTo>
                          <a:pt x="223" y="151"/>
                        </a:lnTo>
                        <a:lnTo>
                          <a:pt x="226" y="148"/>
                        </a:lnTo>
                        <a:lnTo>
                          <a:pt x="221" y="148"/>
                        </a:lnTo>
                        <a:lnTo>
                          <a:pt x="214" y="140"/>
                        </a:lnTo>
                        <a:lnTo>
                          <a:pt x="223" y="131"/>
                        </a:lnTo>
                        <a:lnTo>
                          <a:pt x="226" y="121"/>
                        </a:lnTo>
                        <a:lnTo>
                          <a:pt x="221" y="118"/>
                        </a:lnTo>
                        <a:lnTo>
                          <a:pt x="216" y="110"/>
                        </a:lnTo>
                        <a:lnTo>
                          <a:pt x="223" y="107"/>
                        </a:lnTo>
                        <a:lnTo>
                          <a:pt x="226" y="112"/>
                        </a:lnTo>
                        <a:lnTo>
                          <a:pt x="234" y="117"/>
                        </a:lnTo>
                        <a:lnTo>
                          <a:pt x="242" y="113"/>
                        </a:lnTo>
                        <a:lnTo>
                          <a:pt x="259" y="121"/>
                        </a:lnTo>
                        <a:lnTo>
                          <a:pt x="269" y="120"/>
                        </a:lnTo>
                        <a:lnTo>
                          <a:pt x="272" y="112"/>
                        </a:lnTo>
                        <a:lnTo>
                          <a:pt x="281" y="108"/>
                        </a:lnTo>
                        <a:lnTo>
                          <a:pt x="277" y="100"/>
                        </a:lnTo>
                        <a:lnTo>
                          <a:pt x="264" y="102"/>
                        </a:lnTo>
                        <a:lnTo>
                          <a:pt x="264" y="95"/>
                        </a:lnTo>
                        <a:lnTo>
                          <a:pt x="272" y="95"/>
                        </a:lnTo>
                        <a:lnTo>
                          <a:pt x="286" y="83"/>
                        </a:lnTo>
                        <a:lnTo>
                          <a:pt x="282" y="75"/>
                        </a:lnTo>
                        <a:lnTo>
                          <a:pt x="294" y="75"/>
                        </a:lnTo>
                        <a:lnTo>
                          <a:pt x="301" y="73"/>
                        </a:lnTo>
                        <a:lnTo>
                          <a:pt x="304" y="85"/>
                        </a:lnTo>
                        <a:lnTo>
                          <a:pt x="311" y="85"/>
                        </a:lnTo>
                        <a:lnTo>
                          <a:pt x="311" y="70"/>
                        </a:lnTo>
                        <a:lnTo>
                          <a:pt x="306" y="60"/>
                        </a:lnTo>
                        <a:lnTo>
                          <a:pt x="312" y="48"/>
                        </a:lnTo>
                        <a:lnTo>
                          <a:pt x="306" y="38"/>
                        </a:lnTo>
                        <a:lnTo>
                          <a:pt x="297" y="40"/>
                        </a:lnTo>
                        <a:lnTo>
                          <a:pt x="307" y="17"/>
                        </a:lnTo>
                        <a:lnTo>
                          <a:pt x="299" y="13"/>
                        </a:lnTo>
                        <a:lnTo>
                          <a:pt x="294" y="5"/>
                        </a:lnTo>
                        <a:lnTo>
                          <a:pt x="301" y="0"/>
                        </a:lnTo>
                        <a:lnTo>
                          <a:pt x="301" y="0"/>
                        </a:lnTo>
                        <a:lnTo>
                          <a:pt x="301" y="0"/>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15" name="Freeform 1062">
                    <a:extLst>
                      <a:ext uri="{FF2B5EF4-FFF2-40B4-BE49-F238E27FC236}">
                        <a16:creationId xmlns:a16="http://schemas.microsoft.com/office/drawing/2014/main" id="{CAE2041A-D463-46A5-9B00-5E641856A481}"/>
                      </a:ext>
                    </a:extLst>
                  </p:cNvPr>
                  <p:cNvSpPr>
                    <a:spLocks/>
                  </p:cNvSpPr>
                  <p:nvPr/>
                </p:nvSpPr>
                <p:spPr bwMode="auto">
                  <a:xfrm>
                    <a:off x="3783304" y="2242675"/>
                    <a:ext cx="550056" cy="496543"/>
                  </a:xfrm>
                  <a:custGeom>
                    <a:avLst/>
                    <a:gdLst>
                      <a:gd name="T0" fmla="*/ 321 w 442"/>
                      <a:gd name="T1" fmla="*/ 344 h 399"/>
                      <a:gd name="T2" fmla="*/ 339 w 442"/>
                      <a:gd name="T3" fmla="*/ 317 h 399"/>
                      <a:gd name="T4" fmla="*/ 341 w 442"/>
                      <a:gd name="T5" fmla="*/ 288 h 399"/>
                      <a:gd name="T6" fmla="*/ 361 w 442"/>
                      <a:gd name="T7" fmla="*/ 266 h 399"/>
                      <a:gd name="T8" fmla="*/ 364 w 442"/>
                      <a:gd name="T9" fmla="*/ 243 h 399"/>
                      <a:gd name="T10" fmla="*/ 376 w 442"/>
                      <a:gd name="T11" fmla="*/ 219 h 399"/>
                      <a:gd name="T12" fmla="*/ 407 w 442"/>
                      <a:gd name="T13" fmla="*/ 203 h 399"/>
                      <a:gd name="T14" fmla="*/ 435 w 442"/>
                      <a:gd name="T15" fmla="*/ 190 h 399"/>
                      <a:gd name="T16" fmla="*/ 434 w 442"/>
                      <a:gd name="T17" fmla="*/ 171 h 399"/>
                      <a:gd name="T18" fmla="*/ 402 w 442"/>
                      <a:gd name="T19" fmla="*/ 153 h 399"/>
                      <a:gd name="T20" fmla="*/ 381 w 442"/>
                      <a:gd name="T21" fmla="*/ 146 h 399"/>
                      <a:gd name="T22" fmla="*/ 351 w 442"/>
                      <a:gd name="T23" fmla="*/ 135 h 399"/>
                      <a:gd name="T24" fmla="*/ 339 w 442"/>
                      <a:gd name="T25" fmla="*/ 113 h 399"/>
                      <a:gd name="T26" fmla="*/ 329 w 442"/>
                      <a:gd name="T27" fmla="*/ 98 h 399"/>
                      <a:gd name="T28" fmla="*/ 309 w 442"/>
                      <a:gd name="T29" fmla="*/ 88 h 399"/>
                      <a:gd name="T30" fmla="*/ 294 w 442"/>
                      <a:gd name="T31" fmla="*/ 75 h 399"/>
                      <a:gd name="T32" fmla="*/ 268 w 442"/>
                      <a:gd name="T33" fmla="*/ 75 h 399"/>
                      <a:gd name="T34" fmla="*/ 249 w 442"/>
                      <a:gd name="T35" fmla="*/ 67 h 399"/>
                      <a:gd name="T36" fmla="*/ 224 w 442"/>
                      <a:gd name="T37" fmla="*/ 43 h 399"/>
                      <a:gd name="T38" fmla="*/ 218 w 442"/>
                      <a:gd name="T39" fmla="*/ 20 h 399"/>
                      <a:gd name="T40" fmla="*/ 194 w 442"/>
                      <a:gd name="T41" fmla="*/ 0 h 399"/>
                      <a:gd name="T42" fmla="*/ 170 w 442"/>
                      <a:gd name="T43" fmla="*/ 28 h 399"/>
                      <a:gd name="T44" fmla="*/ 181 w 442"/>
                      <a:gd name="T45" fmla="*/ 58 h 399"/>
                      <a:gd name="T46" fmla="*/ 163 w 442"/>
                      <a:gd name="T47" fmla="*/ 57 h 399"/>
                      <a:gd name="T48" fmla="*/ 150 w 442"/>
                      <a:gd name="T49" fmla="*/ 43 h 399"/>
                      <a:gd name="T50" fmla="*/ 131 w 442"/>
                      <a:gd name="T51" fmla="*/ 37 h 399"/>
                      <a:gd name="T52" fmla="*/ 115 w 442"/>
                      <a:gd name="T53" fmla="*/ 37 h 399"/>
                      <a:gd name="T54" fmla="*/ 93 w 442"/>
                      <a:gd name="T55" fmla="*/ 30 h 399"/>
                      <a:gd name="T56" fmla="*/ 73 w 442"/>
                      <a:gd name="T57" fmla="*/ 42 h 399"/>
                      <a:gd name="T58" fmla="*/ 47 w 442"/>
                      <a:gd name="T59" fmla="*/ 45 h 399"/>
                      <a:gd name="T60" fmla="*/ 33 w 442"/>
                      <a:gd name="T61" fmla="*/ 73 h 399"/>
                      <a:gd name="T62" fmla="*/ 23 w 442"/>
                      <a:gd name="T63" fmla="*/ 78 h 399"/>
                      <a:gd name="T64" fmla="*/ 30 w 442"/>
                      <a:gd name="T65" fmla="*/ 91 h 399"/>
                      <a:gd name="T66" fmla="*/ 27 w 442"/>
                      <a:gd name="T67" fmla="*/ 123 h 399"/>
                      <a:gd name="T68" fmla="*/ 30 w 442"/>
                      <a:gd name="T69" fmla="*/ 146 h 399"/>
                      <a:gd name="T70" fmla="*/ 0 w 442"/>
                      <a:gd name="T71" fmla="*/ 161 h 399"/>
                      <a:gd name="T72" fmla="*/ 37 w 442"/>
                      <a:gd name="T73" fmla="*/ 180 h 399"/>
                      <a:gd name="T74" fmla="*/ 47 w 442"/>
                      <a:gd name="T75" fmla="*/ 203 h 399"/>
                      <a:gd name="T76" fmla="*/ 32 w 442"/>
                      <a:gd name="T77" fmla="*/ 221 h 399"/>
                      <a:gd name="T78" fmla="*/ 30 w 442"/>
                      <a:gd name="T79" fmla="*/ 254 h 399"/>
                      <a:gd name="T80" fmla="*/ 48 w 442"/>
                      <a:gd name="T81" fmla="*/ 268 h 399"/>
                      <a:gd name="T82" fmla="*/ 65 w 442"/>
                      <a:gd name="T83" fmla="*/ 286 h 399"/>
                      <a:gd name="T84" fmla="*/ 100 w 442"/>
                      <a:gd name="T85" fmla="*/ 259 h 399"/>
                      <a:gd name="T86" fmla="*/ 116 w 442"/>
                      <a:gd name="T87" fmla="*/ 271 h 399"/>
                      <a:gd name="T88" fmla="*/ 133 w 442"/>
                      <a:gd name="T89" fmla="*/ 281 h 399"/>
                      <a:gd name="T90" fmla="*/ 170 w 442"/>
                      <a:gd name="T91" fmla="*/ 301 h 399"/>
                      <a:gd name="T92" fmla="*/ 146 w 442"/>
                      <a:gd name="T93" fmla="*/ 312 h 399"/>
                      <a:gd name="T94" fmla="*/ 160 w 442"/>
                      <a:gd name="T95" fmla="*/ 326 h 399"/>
                      <a:gd name="T96" fmla="*/ 178 w 442"/>
                      <a:gd name="T97" fmla="*/ 344 h 399"/>
                      <a:gd name="T98" fmla="*/ 194 w 442"/>
                      <a:gd name="T99" fmla="*/ 341 h 399"/>
                      <a:gd name="T100" fmla="*/ 206 w 442"/>
                      <a:gd name="T101" fmla="*/ 357 h 399"/>
                      <a:gd name="T102" fmla="*/ 223 w 442"/>
                      <a:gd name="T103" fmla="*/ 364 h 399"/>
                      <a:gd name="T104" fmla="*/ 236 w 442"/>
                      <a:gd name="T105" fmla="*/ 382 h 399"/>
                      <a:gd name="T106" fmla="*/ 251 w 442"/>
                      <a:gd name="T107" fmla="*/ 384 h 399"/>
                      <a:gd name="T108" fmla="*/ 269 w 442"/>
                      <a:gd name="T109" fmla="*/ 381 h 399"/>
                      <a:gd name="T110" fmla="*/ 281 w 442"/>
                      <a:gd name="T111" fmla="*/ 386 h 399"/>
                      <a:gd name="T112" fmla="*/ 294 w 442"/>
                      <a:gd name="T113" fmla="*/ 389 h 399"/>
                      <a:gd name="T114" fmla="*/ 306 w 442"/>
                      <a:gd name="T115" fmla="*/ 399 h 399"/>
                      <a:gd name="T116" fmla="*/ 317 w 442"/>
                      <a:gd name="T117" fmla="*/ 37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2" h="399">
                        <a:moveTo>
                          <a:pt x="317" y="379"/>
                        </a:moveTo>
                        <a:lnTo>
                          <a:pt x="319" y="359"/>
                        </a:lnTo>
                        <a:lnTo>
                          <a:pt x="321" y="344"/>
                        </a:lnTo>
                        <a:lnTo>
                          <a:pt x="336" y="337"/>
                        </a:lnTo>
                        <a:lnTo>
                          <a:pt x="342" y="329"/>
                        </a:lnTo>
                        <a:lnTo>
                          <a:pt x="339" y="317"/>
                        </a:lnTo>
                        <a:lnTo>
                          <a:pt x="346" y="314"/>
                        </a:lnTo>
                        <a:lnTo>
                          <a:pt x="337" y="296"/>
                        </a:lnTo>
                        <a:lnTo>
                          <a:pt x="341" y="288"/>
                        </a:lnTo>
                        <a:lnTo>
                          <a:pt x="352" y="278"/>
                        </a:lnTo>
                        <a:lnTo>
                          <a:pt x="359" y="274"/>
                        </a:lnTo>
                        <a:lnTo>
                          <a:pt x="361" y="266"/>
                        </a:lnTo>
                        <a:lnTo>
                          <a:pt x="351" y="261"/>
                        </a:lnTo>
                        <a:lnTo>
                          <a:pt x="351" y="253"/>
                        </a:lnTo>
                        <a:lnTo>
                          <a:pt x="364" y="243"/>
                        </a:lnTo>
                        <a:lnTo>
                          <a:pt x="372" y="238"/>
                        </a:lnTo>
                        <a:lnTo>
                          <a:pt x="376" y="229"/>
                        </a:lnTo>
                        <a:lnTo>
                          <a:pt x="376" y="219"/>
                        </a:lnTo>
                        <a:lnTo>
                          <a:pt x="387" y="216"/>
                        </a:lnTo>
                        <a:lnTo>
                          <a:pt x="394" y="216"/>
                        </a:lnTo>
                        <a:lnTo>
                          <a:pt x="407" y="203"/>
                        </a:lnTo>
                        <a:lnTo>
                          <a:pt x="415" y="190"/>
                        </a:lnTo>
                        <a:lnTo>
                          <a:pt x="420" y="185"/>
                        </a:lnTo>
                        <a:lnTo>
                          <a:pt x="435" y="190"/>
                        </a:lnTo>
                        <a:lnTo>
                          <a:pt x="442" y="186"/>
                        </a:lnTo>
                        <a:lnTo>
                          <a:pt x="439" y="175"/>
                        </a:lnTo>
                        <a:lnTo>
                          <a:pt x="434" y="171"/>
                        </a:lnTo>
                        <a:lnTo>
                          <a:pt x="424" y="171"/>
                        </a:lnTo>
                        <a:lnTo>
                          <a:pt x="409" y="163"/>
                        </a:lnTo>
                        <a:lnTo>
                          <a:pt x="402" y="153"/>
                        </a:lnTo>
                        <a:lnTo>
                          <a:pt x="392" y="146"/>
                        </a:lnTo>
                        <a:lnTo>
                          <a:pt x="387" y="141"/>
                        </a:lnTo>
                        <a:lnTo>
                          <a:pt x="381" y="146"/>
                        </a:lnTo>
                        <a:lnTo>
                          <a:pt x="374" y="145"/>
                        </a:lnTo>
                        <a:lnTo>
                          <a:pt x="362" y="140"/>
                        </a:lnTo>
                        <a:lnTo>
                          <a:pt x="351" y="135"/>
                        </a:lnTo>
                        <a:lnTo>
                          <a:pt x="339" y="126"/>
                        </a:lnTo>
                        <a:lnTo>
                          <a:pt x="339" y="118"/>
                        </a:lnTo>
                        <a:lnTo>
                          <a:pt x="339" y="113"/>
                        </a:lnTo>
                        <a:lnTo>
                          <a:pt x="344" y="106"/>
                        </a:lnTo>
                        <a:lnTo>
                          <a:pt x="337" y="101"/>
                        </a:lnTo>
                        <a:lnTo>
                          <a:pt x="329" y="98"/>
                        </a:lnTo>
                        <a:lnTo>
                          <a:pt x="322" y="98"/>
                        </a:lnTo>
                        <a:lnTo>
                          <a:pt x="314" y="91"/>
                        </a:lnTo>
                        <a:lnTo>
                          <a:pt x="309" y="88"/>
                        </a:lnTo>
                        <a:lnTo>
                          <a:pt x="301" y="85"/>
                        </a:lnTo>
                        <a:lnTo>
                          <a:pt x="297" y="80"/>
                        </a:lnTo>
                        <a:lnTo>
                          <a:pt x="294" y="75"/>
                        </a:lnTo>
                        <a:lnTo>
                          <a:pt x="284" y="72"/>
                        </a:lnTo>
                        <a:lnTo>
                          <a:pt x="274" y="70"/>
                        </a:lnTo>
                        <a:lnTo>
                          <a:pt x="268" y="75"/>
                        </a:lnTo>
                        <a:lnTo>
                          <a:pt x="263" y="78"/>
                        </a:lnTo>
                        <a:lnTo>
                          <a:pt x="249" y="73"/>
                        </a:lnTo>
                        <a:lnTo>
                          <a:pt x="249" y="67"/>
                        </a:lnTo>
                        <a:lnTo>
                          <a:pt x="243" y="63"/>
                        </a:lnTo>
                        <a:lnTo>
                          <a:pt x="234" y="53"/>
                        </a:lnTo>
                        <a:lnTo>
                          <a:pt x="224" y="43"/>
                        </a:lnTo>
                        <a:lnTo>
                          <a:pt x="216" y="35"/>
                        </a:lnTo>
                        <a:lnTo>
                          <a:pt x="218" y="27"/>
                        </a:lnTo>
                        <a:lnTo>
                          <a:pt x="218" y="20"/>
                        </a:lnTo>
                        <a:lnTo>
                          <a:pt x="206" y="10"/>
                        </a:lnTo>
                        <a:lnTo>
                          <a:pt x="201" y="5"/>
                        </a:lnTo>
                        <a:lnTo>
                          <a:pt x="194" y="0"/>
                        </a:lnTo>
                        <a:lnTo>
                          <a:pt x="189" y="10"/>
                        </a:lnTo>
                        <a:lnTo>
                          <a:pt x="184" y="20"/>
                        </a:lnTo>
                        <a:lnTo>
                          <a:pt x="170" y="28"/>
                        </a:lnTo>
                        <a:lnTo>
                          <a:pt x="170" y="42"/>
                        </a:lnTo>
                        <a:lnTo>
                          <a:pt x="181" y="52"/>
                        </a:lnTo>
                        <a:lnTo>
                          <a:pt x="181" y="58"/>
                        </a:lnTo>
                        <a:lnTo>
                          <a:pt x="175" y="55"/>
                        </a:lnTo>
                        <a:lnTo>
                          <a:pt x="170" y="57"/>
                        </a:lnTo>
                        <a:lnTo>
                          <a:pt x="163" y="57"/>
                        </a:lnTo>
                        <a:lnTo>
                          <a:pt x="158" y="52"/>
                        </a:lnTo>
                        <a:lnTo>
                          <a:pt x="158" y="47"/>
                        </a:lnTo>
                        <a:lnTo>
                          <a:pt x="150" y="43"/>
                        </a:lnTo>
                        <a:lnTo>
                          <a:pt x="143" y="43"/>
                        </a:lnTo>
                        <a:lnTo>
                          <a:pt x="138" y="45"/>
                        </a:lnTo>
                        <a:lnTo>
                          <a:pt x="131" y="37"/>
                        </a:lnTo>
                        <a:lnTo>
                          <a:pt x="125" y="40"/>
                        </a:lnTo>
                        <a:lnTo>
                          <a:pt x="121" y="45"/>
                        </a:lnTo>
                        <a:lnTo>
                          <a:pt x="115" y="37"/>
                        </a:lnTo>
                        <a:lnTo>
                          <a:pt x="106" y="37"/>
                        </a:lnTo>
                        <a:lnTo>
                          <a:pt x="100" y="30"/>
                        </a:lnTo>
                        <a:lnTo>
                          <a:pt x="93" y="30"/>
                        </a:lnTo>
                        <a:lnTo>
                          <a:pt x="85" y="40"/>
                        </a:lnTo>
                        <a:lnTo>
                          <a:pt x="80" y="37"/>
                        </a:lnTo>
                        <a:lnTo>
                          <a:pt x="73" y="42"/>
                        </a:lnTo>
                        <a:lnTo>
                          <a:pt x="57" y="48"/>
                        </a:lnTo>
                        <a:lnTo>
                          <a:pt x="52" y="45"/>
                        </a:lnTo>
                        <a:lnTo>
                          <a:pt x="47" y="45"/>
                        </a:lnTo>
                        <a:lnTo>
                          <a:pt x="40" y="57"/>
                        </a:lnTo>
                        <a:lnTo>
                          <a:pt x="30" y="67"/>
                        </a:lnTo>
                        <a:lnTo>
                          <a:pt x="33" y="73"/>
                        </a:lnTo>
                        <a:lnTo>
                          <a:pt x="32" y="78"/>
                        </a:lnTo>
                        <a:lnTo>
                          <a:pt x="23" y="73"/>
                        </a:lnTo>
                        <a:lnTo>
                          <a:pt x="23" y="78"/>
                        </a:lnTo>
                        <a:lnTo>
                          <a:pt x="25" y="83"/>
                        </a:lnTo>
                        <a:lnTo>
                          <a:pt x="32" y="87"/>
                        </a:lnTo>
                        <a:lnTo>
                          <a:pt x="30" y="91"/>
                        </a:lnTo>
                        <a:lnTo>
                          <a:pt x="20" y="96"/>
                        </a:lnTo>
                        <a:lnTo>
                          <a:pt x="22" y="121"/>
                        </a:lnTo>
                        <a:lnTo>
                          <a:pt x="27" y="123"/>
                        </a:lnTo>
                        <a:lnTo>
                          <a:pt x="20" y="130"/>
                        </a:lnTo>
                        <a:lnTo>
                          <a:pt x="30" y="143"/>
                        </a:lnTo>
                        <a:lnTo>
                          <a:pt x="30" y="146"/>
                        </a:lnTo>
                        <a:lnTo>
                          <a:pt x="8" y="146"/>
                        </a:lnTo>
                        <a:lnTo>
                          <a:pt x="0" y="156"/>
                        </a:lnTo>
                        <a:lnTo>
                          <a:pt x="0" y="161"/>
                        </a:lnTo>
                        <a:lnTo>
                          <a:pt x="10" y="161"/>
                        </a:lnTo>
                        <a:lnTo>
                          <a:pt x="22" y="171"/>
                        </a:lnTo>
                        <a:lnTo>
                          <a:pt x="37" y="180"/>
                        </a:lnTo>
                        <a:lnTo>
                          <a:pt x="50" y="188"/>
                        </a:lnTo>
                        <a:lnTo>
                          <a:pt x="50" y="196"/>
                        </a:lnTo>
                        <a:lnTo>
                          <a:pt x="47" y="203"/>
                        </a:lnTo>
                        <a:lnTo>
                          <a:pt x="35" y="211"/>
                        </a:lnTo>
                        <a:lnTo>
                          <a:pt x="32" y="214"/>
                        </a:lnTo>
                        <a:lnTo>
                          <a:pt x="32" y="221"/>
                        </a:lnTo>
                        <a:lnTo>
                          <a:pt x="28" y="234"/>
                        </a:lnTo>
                        <a:lnTo>
                          <a:pt x="27" y="243"/>
                        </a:lnTo>
                        <a:lnTo>
                          <a:pt x="30" y="254"/>
                        </a:lnTo>
                        <a:lnTo>
                          <a:pt x="35" y="269"/>
                        </a:lnTo>
                        <a:lnTo>
                          <a:pt x="42" y="273"/>
                        </a:lnTo>
                        <a:lnTo>
                          <a:pt x="48" y="268"/>
                        </a:lnTo>
                        <a:lnTo>
                          <a:pt x="55" y="271"/>
                        </a:lnTo>
                        <a:lnTo>
                          <a:pt x="53" y="279"/>
                        </a:lnTo>
                        <a:lnTo>
                          <a:pt x="65" y="286"/>
                        </a:lnTo>
                        <a:lnTo>
                          <a:pt x="78" y="276"/>
                        </a:lnTo>
                        <a:lnTo>
                          <a:pt x="88" y="264"/>
                        </a:lnTo>
                        <a:lnTo>
                          <a:pt x="100" y="259"/>
                        </a:lnTo>
                        <a:lnTo>
                          <a:pt x="110" y="254"/>
                        </a:lnTo>
                        <a:lnTo>
                          <a:pt x="115" y="261"/>
                        </a:lnTo>
                        <a:lnTo>
                          <a:pt x="116" y="271"/>
                        </a:lnTo>
                        <a:lnTo>
                          <a:pt x="121" y="279"/>
                        </a:lnTo>
                        <a:lnTo>
                          <a:pt x="128" y="283"/>
                        </a:lnTo>
                        <a:lnTo>
                          <a:pt x="133" y="281"/>
                        </a:lnTo>
                        <a:lnTo>
                          <a:pt x="145" y="291"/>
                        </a:lnTo>
                        <a:lnTo>
                          <a:pt x="160" y="294"/>
                        </a:lnTo>
                        <a:lnTo>
                          <a:pt x="170" y="301"/>
                        </a:lnTo>
                        <a:lnTo>
                          <a:pt x="165" y="307"/>
                        </a:lnTo>
                        <a:lnTo>
                          <a:pt x="155" y="311"/>
                        </a:lnTo>
                        <a:lnTo>
                          <a:pt x="146" y="312"/>
                        </a:lnTo>
                        <a:lnTo>
                          <a:pt x="145" y="317"/>
                        </a:lnTo>
                        <a:lnTo>
                          <a:pt x="151" y="322"/>
                        </a:lnTo>
                        <a:lnTo>
                          <a:pt x="160" y="326"/>
                        </a:lnTo>
                        <a:lnTo>
                          <a:pt x="168" y="334"/>
                        </a:lnTo>
                        <a:lnTo>
                          <a:pt x="173" y="344"/>
                        </a:lnTo>
                        <a:lnTo>
                          <a:pt x="178" y="344"/>
                        </a:lnTo>
                        <a:lnTo>
                          <a:pt x="181" y="341"/>
                        </a:lnTo>
                        <a:lnTo>
                          <a:pt x="188" y="339"/>
                        </a:lnTo>
                        <a:lnTo>
                          <a:pt x="194" y="341"/>
                        </a:lnTo>
                        <a:lnTo>
                          <a:pt x="198" y="344"/>
                        </a:lnTo>
                        <a:lnTo>
                          <a:pt x="196" y="351"/>
                        </a:lnTo>
                        <a:lnTo>
                          <a:pt x="206" y="357"/>
                        </a:lnTo>
                        <a:lnTo>
                          <a:pt x="213" y="361"/>
                        </a:lnTo>
                        <a:lnTo>
                          <a:pt x="216" y="366"/>
                        </a:lnTo>
                        <a:lnTo>
                          <a:pt x="223" y="364"/>
                        </a:lnTo>
                        <a:lnTo>
                          <a:pt x="231" y="369"/>
                        </a:lnTo>
                        <a:lnTo>
                          <a:pt x="228" y="379"/>
                        </a:lnTo>
                        <a:lnTo>
                          <a:pt x="236" y="382"/>
                        </a:lnTo>
                        <a:lnTo>
                          <a:pt x="243" y="381"/>
                        </a:lnTo>
                        <a:lnTo>
                          <a:pt x="248" y="376"/>
                        </a:lnTo>
                        <a:lnTo>
                          <a:pt x="251" y="384"/>
                        </a:lnTo>
                        <a:lnTo>
                          <a:pt x="259" y="382"/>
                        </a:lnTo>
                        <a:lnTo>
                          <a:pt x="266" y="386"/>
                        </a:lnTo>
                        <a:lnTo>
                          <a:pt x="269" y="381"/>
                        </a:lnTo>
                        <a:lnTo>
                          <a:pt x="276" y="377"/>
                        </a:lnTo>
                        <a:lnTo>
                          <a:pt x="281" y="379"/>
                        </a:lnTo>
                        <a:lnTo>
                          <a:pt x="281" y="386"/>
                        </a:lnTo>
                        <a:lnTo>
                          <a:pt x="286" y="391"/>
                        </a:lnTo>
                        <a:lnTo>
                          <a:pt x="288" y="384"/>
                        </a:lnTo>
                        <a:lnTo>
                          <a:pt x="294" y="389"/>
                        </a:lnTo>
                        <a:lnTo>
                          <a:pt x="292" y="396"/>
                        </a:lnTo>
                        <a:lnTo>
                          <a:pt x="301" y="397"/>
                        </a:lnTo>
                        <a:lnTo>
                          <a:pt x="306" y="399"/>
                        </a:lnTo>
                        <a:lnTo>
                          <a:pt x="309" y="392"/>
                        </a:lnTo>
                        <a:lnTo>
                          <a:pt x="316" y="386"/>
                        </a:lnTo>
                        <a:lnTo>
                          <a:pt x="317" y="379"/>
                        </a:lnTo>
                        <a:lnTo>
                          <a:pt x="317" y="379"/>
                        </a:lnTo>
                        <a:lnTo>
                          <a:pt x="317" y="379"/>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16" name="Freeform 1064">
                    <a:extLst>
                      <a:ext uri="{FF2B5EF4-FFF2-40B4-BE49-F238E27FC236}">
                        <a16:creationId xmlns:a16="http://schemas.microsoft.com/office/drawing/2014/main" id="{FB6586DC-6BAF-4B33-A6FD-7A384786BB18}"/>
                      </a:ext>
                    </a:extLst>
                  </p:cNvPr>
                  <p:cNvSpPr>
                    <a:spLocks/>
                  </p:cNvSpPr>
                  <p:nvPr/>
                </p:nvSpPr>
                <p:spPr bwMode="auto">
                  <a:xfrm>
                    <a:off x="3696191" y="2441789"/>
                    <a:ext cx="1214603" cy="1166068"/>
                  </a:xfrm>
                  <a:custGeom>
                    <a:avLst/>
                    <a:gdLst>
                      <a:gd name="T0" fmla="*/ 811 w 976"/>
                      <a:gd name="T1" fmla="*/ 425 h 937"/>
                      <a:gd name="T2" fmla="*/ 884 w 976"/>
                      <a:gd name="T3" fmla="*/ 468 h 937"/>
                      <a:gd name="T4" fmla="*/ 923 w 976"/>
                      <a:gd name="T5" fmla="*/ 501 h 937"/>
                      <a:gd name="T6" fmla="*/ 904 w 976"/>
                      <a:gd name="T7" fmla="*/ 536 h 937"/>
                      <a:gd name="T8" fmla="*/ 918 w 976"/>
                      <a:gd name="T9" fmla="*/ 579 h 937"/>
                      <a:gd name="T10" fmla="*/ 967 w 976"/>
                      <a:gd name="T11" fmla="*/ 648 h 937"/>
                      <a:gd name="T12" fmla="*/ 899 w 976"/>
                      <a:gd name="T13" fmla="*/ 681 h 937"/>
                      <a:gd name="T14" fmla="*/ 818 w 976"/>
                      <a:gd name="T15" fmla="*/ 744 h 937"/>
                      <a:gd name="T16" fmla="*/ 841 w 976"/>
                      <a:gd name="T17" fmla="*/ 825 h 937"/>
                      <a:gd name="T18" fmla="*/ 803 w 976"/>
                      <a:gd name="T19" fmla="*/ 917 h 937"/>
                      <a:gd name="T20" fmla="*/ 723 w 976"/>
                      <a:gd name="T21" fmla="*/ 895 h 937"/>
                      <a:gd name="T22" fmla="*/ 746 w 976"/>
                      <a:gd name="T23" fmla="*/ 837 h 937"/>
                      <a:gd name="T24" fmla="*/ 687 w 976"/>
                      <a:gd name="T25" fmla="*/ 835 h 937"/>
                      <a:gd name="T26" fmla="*/ 630 w 976"/>
                      <a:gd name="T27" fmla="*/ 797 h 937"/>
                      <a:gd name="T28" fmla="*/ 575 w 976"/>
                      <a:gd name="T29" fmla="*/ 747 h 937"/>
                      <a:gd name="T30" fmla="*/ 540 w 976"/>
                      <a:gd name="T31" fmla="*/ 759 h 937"/>
                      <a:gd name="T32" fmla="*/ 507 w 976"/>
                      <a:gd name="T33" fmla="*/ 789 h 937"/>
                      <a:gd name="T34" fmla="*/ 489 w 976"/>
                      <a:gd name="T35" fmla="*/ 754 h 937"/>
                      <a:gd name="T36" fmla="*/ 436 w 976"/>
                      <a:gd name="T37" fmla="*/ 777 h 937"/>
                      <a:gd name="T38" fmla="*/ 424 w 976"/>
                      <a:gd name="T39" fmla="*/ 769 h 937"/>
                      <a:gd name="T40" fmla="*/ 406 w 976"/>
                      <a:gd name="T41" fmla="*/ 721 h 937"/>
                      <a:gd name="T42" fmla="*/ 358 w 976"/>
                      <a:gd name="T43" fmla="*/ 764 h 937"/>
                      <a:gd name="T44" fmla="*/ 296 w 976"/>
                      <a:gd name="T45" fmla="*/ 771 h 937"/>
                      <a:gd name="T46" fmla="*/ 291 w 976"/>
                      <a:gd name="T47" fmla="*/ 732 h 937"/>
                      <a:gd name="T48" fmla="*/ 249 w 976"/>
                      <a:gd name="T49" fmla="*/ 749 h 937"/>
                      <a:gd name="T50" fmla="*/ 238 w 976"/>
                      <a:gd name="T51" fmla="*/ 732 h 937"/>
                      <a:gd name="T52" fmla="*/ 235 w 976"/>
                      <a:gd name="T53" fmla="*/ 709 h 937"/>
                      <a:gd name="T54" fmla="*/ 218 w 976"/>
                      <a:gd name="T55" fmla="*/ 714 h 937"/>
                      <a:gd name="T56" fmla="*/ 178 w 976"/>
                      <a:gd name="T57" fmla="*/ 729 h 937"/>
                      <a:gd name="T58" fmla="*/ 208 w 976"/>
                      <a:gd name="T59" fmla="*/ 791 h 937"/>
                      <a:gd name="T60" fmla="*/ 236 w 976"/>
                      <a:gd name="T61" fmla="*/ 837 h 937"/>
                      <a:gd name="T62" fmla="*/ 215 w 976"/>
                      <a:gd name="T63" fmla="*/ 887 h 937"/>
                      <a:gd name="T64" fmla="*/ 156 w 976"/>
                      <a:gd name="T65" fmla="*/ 854 h 937"/>
                      <a:gd name="T66" fmla="*/ 135 w 976"/>
                      <a:gd name="T67" fmla="*/ 792 h 937"/>
                      <a:gd name="T68" fmla="*/ 153 w 976"/>
                      <a:gd name="T69" fmla="*/ 722 h 937"/>
                      <a:gd name="T70" fmla="*/ 221 w 976"/>
                      <a:gd name="T71" fmla="*/ 674 h 937"/>
                      <a:gd name="T72" fmla="*/ 245 w 976"/>
                      <a:gd name="T73" fmla="*/ 621 h 937"/>
                      <a:gd name="T74" fmla="*/ 231 w 976"/>
                      <a:gd name="T75" fmla="*/ 530 h 937"/>
                      <a:gd name="T76" fmla="*/ 170 w 976"/>
                      <a:gd name="T77" fmla="*/ 515 h 937"/>
                      <a:gd name="T78" fmla="*/ 153 w 976"/>
                      <a:gd name="T79" fmla="*/ 500 h 937"/>
                      <a:gd name="T80" fmla="*/ 118 w 976"/>
                      <a:gd name="T81" fmla="*/ 513 h 937"/>
                      <a:gd name="T82" fmla="*/ 47 w 976"/>
                      <a:gd name="T83" fmla="*/ 523 h 937"/>
                      <a:gd name="T84" fmla="*/ 70 w 976"/>
                      <a:gd name="T85" fmla="*/ 490 h 937"/>
                      <a:gd name="T86" fmla="*/ 70 w 976"/>
                      <a:gd name="T87" fmla="*/ 443 h 937"/>
                      <a:gd name="T88" fmla="*/ 27 w 976"/>
                      <a:gd name="T89" fmla="*/ 368 h 937"/>
                      <a:gd name="T90" fmla="*/ 58 w 976"/>
                      <a:gd name="T91" fmla="*/ 294 h 937"/>
                      <a:gd name="T92" fmla="*/ 37 w 976"/>
                      <a:gd name="T93" fmla="*/ 237 h 937"/>
                      <a:gd name="T94" fmla="*/ 7 w 976"/>
                      <a:gd name="T95" fmla="*/ 176 h 937"/>
                      <a:gd name="T96" fmla="*/ 18 w 976"/>
                      <a:gd name="T97" fmla="*/ 71 h 937"/>
                      <a:gd name="T98" fmla="*/ 80 w 976"/>
                      <a:gd name="T99" fmla="*/ 0 h 937"/>
                      <a:gd name="T100" fmla="*/ 110 w 976"/>
                      <a:gd name="T101" fmla="*/ 113 h 937"/>
                      <a:gd name="T102" fmla="*/ 191 w 976"/>
                      <a:gd name="T103" fmla="*/ 119 h 937"/>
                      <a:gd name="T104" fmla="*/ 226 w 976"/>
                      <a:gd name="T105" fmla="*/ 162 h 937"/>
                      <a:gd name="T106" fmla="*/ 274 w 976"/>
                      <a:gd name="T107" fmla="*/ 196 h 937"/>
                      <a:gd name="T108" fmla="*/ 321 w 976"/>
                      <a:gd name="T109" fmla="*/ 222 h 937"/>
                      <a:gd name="T110" fmla="*/ 362 w 976"/>
                      <a:gd name="T111" fmla="*/ 234 h 937"/>
                      <a:gd name="T112" fmla="*/ 451 w 976"/>
                      <a:gd name="T113" fmla="*/ 259 h 937"/>
                      <a:gd name="T114" fmla="*/ 567 w 976"/>
                      <a:gd name="T115" fmla="*/ 324 h 937"/>
                      <a:gd name="T116" fmla="*/ 728 w 976"/>
                      <a:gd name="T117" fmla="*/ 393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6" h="937">
                        <a:moveTo>
                          <a:pt x="728" y="393"/>
                        </a:moveTo>
                        <a:lnTo>
                          <a:pt x="731" y="407"/>
                        </a:lnTo>
                        <a:lnTo>
                          <a:pt x="745" y="412"/>
                        </a:lnTo>
                        <a:lnTo>
                          <a:pt x="765" y="415"/>
                        </a:lnTo>
                        <a:lnTo>
                          <a:pt x="780" y="415"/>
                        </a:lnTo>
                        <a:lnTo>
                          <a:pt x="796" y="420"/>
                        </a:lnTo>
                        <a:lnTo>
                          <a:pt x="803" y="433"/>
                        </a:lnTo>
                        <a:lnTo>
                          <a:pt x="813" y="433"/>
                        </a:lnTo>
                        <a:lnTo>
                          <a:pt x="811" y="425"/>
                        </a:lnTo>
                        <a:lnTo>
                          <a:pt x="813" y="412"/>
                        </a:lnTo>
                        <a:lnTo>
                          <a:pt x="818" y="412"/>
                        </a:lnTo>
                        <a:lnTo>
                          <a:pt x="844" y="412"/>
                        </a:lnTo>
                        <a:lnTo>
                          <a:pt x="864" y="422"/>
                        </a:lnTo>
                        <a:lnTo>
                          <a:pt x="871" y="432"/>
                        </a:lnTo>
                        <a:lnTo>
                          <a:pt x="873" y="443"/>
                        </a:lnTo>
                        <a:lnTo>
                          <a:pt x="886" y="450"/>
                        </a:lnTo>
                        <a:lnTo>
                          <a:pt x="883" y="462"/>
                        </a:lnTo>
                        <a:lnTo>
                          <a:pt x="884" y="468"/>
                        </a:lnTo>
                        <a:lnTo>
                          <a:pt x="891" y="471"/>
                        </a:lnTo>
                        <a:lnTo>
                          <a:pt x="894" y="476"/>
                        </a:lnTo>
                        <a:lnTo>
                          <a:pt x="898" y="481"/>
                        </a:lnTo>
                        <a:lnTo>
                          <a:pt x="896" y="496"/>
                        </a:lnTo>
                        <a:lnTo>
                          <a:pt x="908" y="498"/>
                        </a:lnTo>
                        <a:lnTo>
                          <a:pt x="911" y="501"/>
                        </a:lnTo>
                        <a:lnTo>
                          <a:pt x="916" y="501"/>
                        </a:lnTo>
                        <a:lnTo>
                          <a:pt x="919" y="498"/>
                        </a:lnTo>
                        <a:lnTo>
                          <a:pt x="923" y="501"/>
                        </a:lnTo>
                        <a:lnTo>
                          <a:pt x="923" y="511"/>
                        </a:lnTo>
                        <a:lnTo>
                          <a:pt x="919" y="516"/>
                        </a:lnTo>
                        <a:lnTo>
                          <a:pt x="923" y="518"/>
                        </a:lnTo>
                        <a:lnTo>
                          <a:pt x="936" y="521"/>
                        </a:lnTo>
                        <a:lnTo>
                          <a:pt x="946" y="530"/>
                        </a:lnTo>
                        <a:lnTo>
                          <a:pt x="936" y="536"/>
                        </a:lnTo>
                        <a:lnTo>
                          <a:pt x="921" y="538"/>
                        </a:lnTo>
                        <a:lnTo>
                          <a:pt x="913" y="533"/>
                        </a:lnTo>
                        <a:lnTo>
                          <a:pt x="904" y="536"/>
                        </a:lnTo>
                        <a:lnTo>
                          <a:pt x="903" y="541"/>
                        </a:lnTo>
                        <a:lnTo>
                          <a:pt x="901" y="548"/>
                        </a:lnTo>
                        <a:lnTo>
                          <a:pt x="881" y="548"/>
                        </a:lnTo>
                        <a:lnTo>
                          <a:pt x="878" y="555"/>
                        </a:lnTo>
                        <a:lnTo>
                          <a:pt x="884" y="561"/>
                        </a:lnTo>
                        <a:lnTo>
                          <a:pt x="891" y="561"/>
                        </a:lnTo>
                        <a:lnTo>
                          <a:pt x="903" y="568"/>
                        </a:lnTo>
                        <a:lnTo>
                          <a:pt x="916" y="571"/>
                        </a:lnTo>
                        <a:lnTo>
                          <a:pt x="918" y="579"/>
                        </a:lnTo>
                        <a:lnTo>
                          <a:pt x="914" y="589"/>
                        </a:lnTo>
                        <a:lnTo>
                          <a:pt x="898" y="589"/>
                        </a:lnTo>
                        <a:lnTo>
                          <a:pt x="899" y="598"/>
                        </a:lnTo>
                        <a:lnTo>
                          <a:pt x="899" y="606"/>
                        </a:lnTo>
                        <a:lnTo>
                          <a:pt x="916" y="618"/>
                        </a:lnTo>
                        <a:lnTo>
                          <a:pt x="931" y="631"/>
                        </a:lnTo>
                        <a:lnTo>
                          <a:pt x="949" y="634"/>
                        </a:lnTo>
                        <a:lnTo>
                          <a:pt x="954" y="641"/>
                        </a:lnTo>
                        <a:lnTo>
                          <a:pt x="967" y="648"/>
                        </a:lnTo>
                        <a:lnTo>
                          <a:pt x="976" y="653"/>
                        </a:lnTo>
                        <a:lnTo>
                          <a:pt x="967" y="668"/>
                        </a:lnTo>
                        <a:lnTo>
                          <a:pt x="956" y="664"/>
                        </a:lnTo>
                        <a:lnTo>
                          <a:pt x="939" y="661"/>
                        </a:lnTo>
                        <a:lnTo>
                          <a:pt x="928" y="668"/>
                        </a:lnTo>
                        <a:lnTo>
                          <a:pt x="913" y="664"/>
                        </a:lnTo>
                        <a:lnTo>
                          <a:pt x="908" y="671"/>
                        </a:lnTo>
                        <a:lnTo>
                          <a:pt x="908" y="676"/>
                        </a:lnTo>
                        <a:lnTo>
                          <a:pt x="899" y="681"/>
                        </a:lnTo>
                        <a:lnTo>
                          <a:pt x="888" y="689"/>
                        </a:lnTo>
                        <a:lnTo>
                          <a:pt x="878" y="699"/>
                        </a:lnTo>
                        <a:lnTo>
                          <a:pt x="879" y="706"/>
                        </a:lnTo>
                        <a:lnTo>
                          <a:pt x="873" y="712"/>
                        </a:lnTo>
                        <a:lnTo>
                          <a:pt x="863" y="711"/>
                        </a:lnTo>
                        <a:lnTo>
                          <a:pt x="848" y="719"/>
                        </a:lnTo>
                        <a:lnTo>
                          <a:pt x="828" y="731"/>
                        </a:lnTo>
                        <a:lnTo>
                          <a:pt x="816" y="739"/>
                        </a:lnTo>
                        <a:lnTo>
                          <a:pt x="818" y="744"/>
                        </a:lnTo>
                        <a:lnTo>
                          <a:pt x="815" y="754"/>
                        </a:lnTo>
                        <a:lnTo>
                          <a:pt x="810" y="766"/>
                        </a:lnTo>
                        <a:lnTo>
                          <a:pt x="815" y="779"/>
                        </a:lnTo>
                        <a:lnTo>
                          <a:pt x="819" y="792"/>
                        </a:lnTo>
                        <a:lnTo>
                          <a:pt x="823" y="802"/>
                        </a:lnTo>
                        <a:lnTo>
                          <a:pt x="829" y="809"/>
                        </a:lnTo>
                        <a:lnTo>
                          <a:pt x="836" y="814"/>
                        </a:lnTo>
                        <a:lnTo>
                          <a:pt x="836" y="820"/>
                        </a:lnTo>
                        <a:lnTo>
                          <a:pt x="841" y="825"/>
                        </a:lnTo>
                        <a:lnTo>
                          <a:pt x="838" y="837"/>
                        </a:lnTo>
                        <a:lnTo>
                          <a:pt x="833" y="840"/>
                        </a:lnTo>
                        <a:lnTo>
                          <a:pt x="823" y="849"/>
                        </a:lnTo>
                        <a:lnTo>
                          <a:pt x="831" y="860"/>
                        </a:lnTo>
                        <a:lnTo>
                          <a:pt x="824" y="870"/>
                        </a:lnTo>
                        <a:lnTo>
                          <a:pt x="821" y="885"/>
                        </a:lnTo>
                        <a:lnTo>
                          <a:pt x="819" y="899"/>
                        </a:lnTo>
                        <a:lnTo>
                          <a:pt x="813" y="908"/>
                        </a:lnTo>
                        <a:lnTo>
                          <a:pt x="803" y="917"/>
                        </a:lnTo>
                        <a:lnTo>
                          <a:pt x="800" y="927"/>
                        </a:lnTo>
                        <a:lnTo>
                          <a:pt x="790" y="935"/>
                        </a:lnTo>
                        <a:lnTo>
                          <a:pt x="775" y="937"/>
                        </a:lnTo>
                        <a:lnTo>
                          <a:pt x="761" y="935"/>
                        </a:lnTo>
                        <a:lnTo>
                          <a:pt x="750" y="925"/>
                        </a:lnTo>
                        <a:lnTo>
                          <a:pt x="741" y="915"/>
                        </a:lnTo>
                        <a:lnTo>
                          <a:pt x="736" y="908"/>
                        </a:lnTo>
                        <a:lnTo>
                          <a:pt x="725" y="902"/>
                        </a:lnTo>
                        <a:lnTo>
                          <a:pt x="723" y="895"/>
                        </a:lnTo>
                        <a:lnTo>
                          <a:pt x="736" y="895"/>
                        </a:lnTo>
                        <a:lnTo>
                          <a:pt x="733" y="885"/>
                        </a:lnTo>
                        <a:lnTo>
                          <a:pt x="743" y="875"/>
                        </a:lnTo>
                        <a:lnTo>
                          <a:pt x="740" y="865"/>
                        </a:lnTo>
                        <a:lnTo>
                          <a:pt x="733" y="864"/>
                        </a:lnTo>
                        <a:lnTo>
                          <a:pt x="730" y="852"/>
                        </a:lnTo>
                        <a:lnTo>
                          <a:pt x="733" y="840"/>
                        </a:lnTo>
                        <a:lnTo>
                          <a:pt x="740" y="842"/>
                        </a:lnTo>
                        <a:lnTo>
                          <a:pt x="746" y="837"/>
                        </a:lnTo>
                        <a:lnTo>
                          <a:pt x="738" y="827"/>
                        </a:lnTo>
                        <a:lnTo>
                          <a:pt x="730" y="825"/>
                        </a:lnTo>
                        <a:lnTo>
                          <a:pt x="728" y="819"/>
                        </a:lnTo>
                        <a:lnTo>
                          <a:pt x="718" y="822"/>
                        </a:lnTo>
                        <a:lnTo>
                          <a:pt x="705" y="824"/>
                        </a:lnTo>
                        <a:lnTo>
                          <a:pt x="695" y="820"/>
                        </a:lnTo>
                        <a:lnTo>
                          <a:pt x="690" y="825"/>
                        </a:lnTo>
                        <a:lnTo>
                          <a:pt x="692" y="830"/>
                        </a:lnTo>
                        <a:lnTo>
                          <a:pt x="687" y="835"/>
                        </a:lnTo>
                        <a:lnTo>
                          <a:pt x="682" y="829"/>
                        </a:lnTo>
                        <a:lnTo>
                          <a:pt x="677" y="820"/>
                        </a:lnTo>
                        <a:lnTo>
                          <a:pt x="670" y="825"/>
                        </a:lnTo>
                        <a:lnTo>
                          <a:pt x="668" y="820"/>
                        </a:lnTo>
                        <a:lnTo>
                          <a:pt x="673" y="812"/>
                        </a:lnTo>
                        <a:lnTo>
                          <a:pt x="667" y="814"/>
                        </a:lnTo>
                        <a:lnTo>
                          <a:pt x="662" y="807"/>
                        </a:lnTo>
                        <a:lnTo>
                          <a:pt x="648" y="800"/>
                        </a:lnTo>
                        <a:lnTo>
                          <a:pt x="630" y="797"/>
                        </a:lnTo>
                        <a:lnTo>
                          <a:pt x="625" y="787"/>
                        </a:lnTo>
                        <a:lnTo>
                          <a:pt x="627" y="777"/>
                        </a:lnTo>
                        <a:lnTo>
                          <a:pt x="612" y="772"/>
                        </a:lnTo>
                        <a:lnTo>
                          <a:pt x="597" y="771"/>
                        </a:lnTo>
                        <a:lnTo>
                          <a:pt x="592" y="766"/>
                        </a:lnTo>
                        <a:lnTo>
                          <a:pt x="584" y="767"/>
                        </a:lnTo>
                        <a:lnTo>
                          <a:pt x="585" y="759"/>
                        </a:lnTo>
                        <a:lnTo>
                          <a:pt x="589" y="751"/>
                        </a:lnTo>
                        <a:lnTo>
                          <a:pt x="575" y="747"/>
                        </a:lnTo>
                        <a:lnTo>
                          <a:pt x="570" y="751"/>
                        </a:lnTo>
                        <a:lnTo>
                          <a:pt x="569" y="757"/>
                        </a:lnTo>
                        <a:lnTo>
                          <a:pt x="574" y="761"/>
                        </a:lnTo>
                        <a:lnTo>
                          <a:pt x="567" y="767"/>
                        </a:lnTo>
                        <a:lnTo>
                          <a:pt x="559" y="766"/>
                        </a:lnTo>
                        <a:lnTo>
                          <a:pt x="564" y="759"/>
                        </a:lnTo>
                        <a:lnTo>
                          <a:pt x="557" y="754"/>
                        </a:lnTo>
                        <a:lnTo>
                          <a:pt x="544" y="754"/>
                        </a:lnTo>
                        <a:lnTo>
                          <a:pt x="540" y="759"/>
                        </a:lnTo>
                        <a:lnTo>
                          <a:pt x="542" y="767"/>
                        </a:lnTo>
                        <a:lnTo>
                          <a:pt x="537" y="781"/>
                        </a:lnTo>
                        <a:lnTo>
                          <a:pt x="537" y="789"/>
                        </a:lnTo>
                        <a:lnTo>
                          <a:pt x="532" y="787"/>
                        </a:lnTo>
                        <a:lnTo>
                          <a:pt x="525" y="787"/>
                        </a:lnTo>
                        <a:lnTo>
                          <a:pt x="525" y="792"/>
                        </a:lnTo>
                        <a:lnTo>
                          <a:pt x="520" y="792"/>
                        </a:lnTo>
                        <a:lnTo>
                          <a:pt x="514" y="786"/>
                        </a:lnTo>
                        <a:lnTo>
                          <a:pt x="507" y="789"/>
                        </a:lnTo>
                        <a:lnTo>
                          <a:pt x="500" y="787"/>
                        </a:lnTo>
                        <a:lnTo>
                          <a:pt x="490" y="789"/>
                        </a:lnTo>
                        <a:lnTo>
                          <a:pt x="480" y="791"/>
                        </a:lnTo>
                        <a:lnTo>
                          <a:pt x="484" y="786"/>
                        </a:lnTo>
                        <a:lnTo>
                          <a:pt x="490" y="776"/>
                        </a:lnTo>
                        <a:lnTo>
                          <a:pt x="494" y="769"/>
                        </a:lnTo>
                        <a:lnTo>
                          <a:pt x="495" y="754"/>
                        </a:lnTo>
                        <a:lnTo>
                          <a:pt x="490" y="751"/>
                        </a:lnTo>
                        <a:lnTo>
                          <a:pt x="489" y="754"/>
                        </a:lnTo>
                        <a:lnTo>
                          <a:pt x="485" y="759"/>
                        </a:lnTo>
                        <a:lnTo>
                          <a:pt x="479" y="759"/>
                        </a:lnTo>
                        <a:lnTo>
                          <a:pt x="469" y="762"/>
                        </a:lnTo>
                        <a:lnTo>
                          <a:pt x="459" y="762"/>
                        </a:lnTo>
                        <a:lnTo>
                          <a:pt x="454" y="767"/>
                        </a:lnTo>
                        <a:lnTo>
                          <a:pt x="449" y="772"/>
                        </a:lnTo>
                        <a:lnTo>
                          <a:pt x="442" y="777"/>
                        </a:lnTo>
                        <a:lnTo>
                          <a:pt x="434" y="781"/>
                        </a:lnTo>
                        <a:lnTo>
                          <a:pt x="436" y="777"/>
                        </a:lnTo>
                        <a:lnTo>
                          <a:pt x="439" y="772"/>
                        </a:lnTo>
                        <a:lnTo>
                          <a:pt x="434" y="769"/>
                        </a:lnTo>
                        <a:lnTo>
                          <a:pt x="429" y="772"/>
                        </a:lnTo>
                        <a:lnTo>
                          <a:pt x="431" y="776"/>
                        </a:lnTo>
                        <a:lnTo>
                          <a:pt x="422" y="777"/>
                        </a:lnTo>
                        <a:lnTo>
                          <a:pt x="414" y="777"/>
                        </a:lnTo>
                        <a:lnTo>
                          <a:pt x="411" y="771"/>
                        </a:lnTo>
                        <a:lnTo>
                          <a:pt x="417" y="769"/>
                        </a:lnTo>
                        <a:lnTo>
                          <a:pt x="424" y="769"/>
                        </a:lnTo>
                        <a:lnTo>
                          <a:pt x="421" y="761"/>
                        </a:lnTo>
                        <a:lnTo>
                          <a:pt x="426" y="757"/>
                        </a:lnTo>
                        <a:lnTo>
                          <a:pt x="432" y="749"/>
                        </a:lnTo>
                        <a:lnTo>
                          <a:pt x="432" y="744"/>
                        </a:lnTo>
                        <a:lnTo>
                          <a:pt x="424" y="742"/>
                        </a:lnTo>
                        <a:lnTo>
                          <a:pt x="419" y="734"/>
                        </a:lnTo>
                        <a:lnTo>
                          <a:pt x="417" y="726"/>
                        </a:lnTo>
                        <a:lnTo>
                          <a:pt x="419" y="717"/>
                        </a:lnTo>
                        <a:lnTo>
                          <a:pt x="406" y="721"/>
                        </a:lnTo>
                        <a:lnTo>
                          <a:pt x="394" y="729"/>
                        </a:lnTo>
                        <a:lnTo>
                          <a:pt x="382" y="729"/>
                        </a:lnTo>
                        <a:lnTo>
                          <a:pt x="377" y="739"/>
                        </a:lnTo>
                        <a:lnTo>
                          <a:pt x="369" y="739"/>
                        </a:lnTo>
                        <a:lnTo>
                          <a:pt x="364" y="746"/>
                        </a:lnTo>
                        <a:lnTo>
                          <a:pt x="356" y="746"/>
                        </a:lnTo>
                        <a:lnTo>
                          <a:pt x="358" y="751"/>
                        </a:lnTo>
                        <a:lnTo>
                          <a:pt x="359" y="757"/>
                        </a:lnTo>
                        <a:lnTo>
                          <a:pt x="358" y="764"/>
                        </a:lnTo>
                        <a:lnTo>
                          <a:pt x="351" y="759"/>
                        </a:lnTo>
                        <a:lnTo>
                          <a:pt x="341" y="759"/>
                        </a:lnTo>
                        <a:lnTo>
                          <a:pt x="328" y="757"/>
                        </a:lnTo>
                        <a:lnTo>
                          <a:pt x="321" y="756"/>
                        </a:lnTo>
                        <a:lnTo>
                          <a:pt x="318" y="761"/>
                        </a:lnTo>
                        <a:lnTo>
                          <a:pt x="311" y="766"/>
                        </a:lnTo>
                        <a:lnTo>
                          <a:pt x="306" y="759"/>
                        </a:lnTo>
                        <a:lnTo>
                          <a:pt x="301" y="762"/>
                        </a:lnTo>
                        <a:lnTo>
                          <a:pt x="296" y="771"/>
                        </a:lnTo>
                        <a:lnTo>
                          <a:pt x="293" y="766"/>
                        </a:lnTo>
                        <a:lnTo>
                          <a:pt x="296" y="761"/>
                        </a:lnTo>
                        <a:lnTo>
                          <a:pt x="298" y="752"/>
                        </a:lnTo>
                        <a:lnTo>
                          <a:pt x="304" y="749"/>
                        </a:lnTo>
                        <a:lnTo>
                          <a:pt x="309" y="741"/>
                        </a:lnTo>
                        <a:lnTo>
                          <a:pt x="306" y="736"/>
                        </a:lnTo>
                        <a:lnTo>
                          <a:pt x="303" y="741"/>
                        </a:lnTo>
                        <a:lnTo>
                          <a:pt x="296" y="739"/>
                        </a:lnTo>
                        <a:lnTo>
                          <a:pt x="291" y="732"/>
                        </a:lnTo>
                        <a:lnTo>
                          <a:pt x="286" y="736"/>
                        </a:lnTo>
                        <a:lnTo>
                          <a:pt x="288" y="744"/>
                        </a:lnTo>
                        <a:lnTo>
                          <a:pt x="283" y="749"/>
                        </a:lnTo>
                        <a:lnTo>
                          <a:pt x="286" y="751"/>
                        </a:lnTo>
                        <a:lnTo>
                          <a:pt x="281" y="759"/>
                        </a:lnTo>
                        <a:lnTo>
                          <a:pt x="264" y="761"/>
                        </a:lnTo>
                        <a:lnTo>
                          <a:pt x="259" y="752"/>
                        </a:lnTo>
                        <a:lnTo>
                          <a:pt x="253" y="754"/>
                        </a:lnTo>
                        <a:lnTo>
                          <a:pt x="249" y="749"/>
                        </a:lnTo>
                        <a:lnTo>
                          <a:pt x="254" y="746"/>
                        </a:lnTo>
                        <a:lnTo>
                          <a:pt x="249" y="742"/>
                        </a:lnTo>
                        <a:lnTo>
                          <a:pt x="245" y="744"/>
                        </a:lnTo>
                        <a:lnTo>
                          <a:pt x="243" y="739"/>
                        </a:lnTo>
                        <a:lnTo>
                          <a:pt x="235" y="746"/>
                        </a:lnTo>
                        <a:lnTo>
                          <a:pt x="231" y="749"/>
                        </a:lnTo>
                        <a:lnTo>
                          <a:pt x="228" y="744"/>
                        </a:lnTo>
                        <a:lnTo>
                          <a:pt x="233" y="739"/>
                        </a:lnTo>
                        <a:lnTo>
                          <a:pt x="238" y="732"/>
                        </a:lnTo>
                        <a:lnTo>
                          <a:pt x="231" y="727"/>
                        </a:lnTo>
                        <a:lnTo>
                          <a:pt x="226" y="734"/>
                        </a:lnTo>
                        <a:lnTo>
                          <a:pt x="223" y="739"/>
                        </a:lnTo>
                        <a:lnTo>
                          <a:pt x="220" y="734"/>
                        </a:lnTo>
                        <a:lnTo>
                          <a:pt x="226" y="726"/>
                        </a:lnTo>
                        <a:lnTo>
                          <a:pt x="235" y="719"/>
                        </a:lnTo>
                        <a:lnTo>
                          <a:pt x="241" y="721"/>
                        </a:lnTo>
                        <a:lnTo>
                          <a:pt x="241" y="714"/>
                        </a:lnTo>
                        <a:lnTo>
                          <a:pt x="235" y="709"/>
                        </a:lnTo>
                        <a:lnTo>
                          <a:pt x="236" y="701"/>
                        </a:lnTo>
                        <a:lnTo>
                          <a:pt x="230" y="694"/>
                        </a:lnTo>
                        <a:lnTo>
                          <a:pt x="228" y="701"/>
                        </a:lnTo>
                        <a:lnTo>
                          <a:pt x="226" y="706"/>
                        </a:lnTo>
                        <a:lnTo>
                          <a:pt x="225" y="711"/>
                        </a:lnTo>
                        <a:lnTo>
                          <a:pt x="221" y="706"/>
                        </a:lnTo>
                        <a:lnTo>
                          <a:pt x="216" y="706"/>
                        </a:lnTo>
                        <a:lnTo>
                          <a:pt x="215" y="711"/>
                        </a:lnTo>
                        <a:lnTo>
                          <a:pt x="218" y="714"/>
                        </a:lnTo>
                        <a:lnTo>
                          <a:pt x="215" y="719"/>
                        </a:lnTo>
                        <a:lnTo>
                          <a:pt x="208" y="726"/>
                        </a:lnTo>
                        <a:lnTo>
                          <a:pt x="200" y="721"/>
                        </a:lnTo>
                        <a:lnTo>
                          <a:pt x="205" y="716"/>
                        </a:lnTo>
                        <a:lnTo>
                          <a:pt x="205" y="709"/>
                        </a:lnTo>
                        <a:lnTo>
                          <a:pt x="190" y="719"/>
                        </a:lnTo>
                        <a:lnTo>
                          <a:pt x="191" y="726"/>
                        </a:lnTo>
                        <a:lnTo>
                          <a:pt x="186" y="731"/>
                        </a:lnTo>
                        <a:lnTo>
                          <a:pt x="178" y="729"/>
                        </a:lnTo>
                        <a:lnTo>
                          <a:pt x="175" y="734"/>
                        </a:lnTo>
                        <a:lnTo>
                          <a:pt x="178" y="736"/>
                        </a:lnTo>
                        <a:lnTo>
                          <a:pt x="190" y="736"/>
                        </a:lnTo>
                        <a:lnTo>
                          <a:pt x="195" y="747"/>
                        </a:lnTo>
                        <a:lnTo>
                          <a:pt x="193" y="754"/>
                        </a:lnTo>
                        <a:lnTo>
                          <a:pt x="195" y="757"/>
                        </a:lnTo>
                        <a:lnTo>
                          <a:pt x="198" y="771"/>
                        </a:lnTo>
                        <a:lnTo>
                          <a:pt x="201" y="784"/>
                        </a:lnTo>
                        <a:lnTo>
                          <a:pt x="208" y="791"/>
                        </a:lnTo>
                        <a:lnTo>
                          <a:pt x="215" y="797"/>
                        </a:lnTo>
                        <a:lnTo>
                          <a:pt x="215" y="807"/>
                        </a:lnTo>
                        <a:lnTo>
                          <a:pt x="215" y="814"/>
                        </a:lnTo>
                        <a:lnTo>
                          <a:pt x="221" y="819"/>
                        </a:lnTo>
                        <a:lnTo>
                          <a:pt x="216" y="824"/>
                        </a:lnTo>
                        <a:lnTo>
                          <a:pt x="211" y="829"/>
                        </a:lnTo>
                        <a:lnTo>
                          <a:pt x="218" y="834"/>
                        </a:lnTo>
                        <a:lnTo>
                          <a:pt x="230" y="829"/>
                        </a:lnTo>
                        <a:lnTo>
                          <a:pt x="236" y="837"/>
                        </a:lnTo>
                        <a:lnTo>
                          <a:pt x="240" y="844"/>
                        </a:lnTo>
                        <a:lnTo>
                          <a:pt x="231" y="849"/>
                        </a:lnTo>
                        <a:lnTo>
                          <a:pt x="235" y="855"/>
                        </a:lnTo>
                        <a:lnTo>
                          <a:pt x="243" y="857"/>
                        </a:lnTo>
                        <a:lnTo>
                          <a:pt x="243" y="870"/>
                        </a:lnTo>
                        <a:lnTo>
                          <a:pt x="235" y="880"/>
                        </a:lnTo>
                        <a:lnTo>
                          <a:pt x="226" y="885"/>
                        </a:lnTo>
                        <a:lnTo>
                          <a:pt x="220" y="890"/>
                        </a:lnTo>
                        <a:lnTo>
                          <a:pt x="215" y="887"/>
                        </a:lnTo>
                        <a:lnTo>
                          <a:pt x="206" y="889"/>
                        </a:lnTo>
                        <a:lnTo>
                          <a:pt x="203" y="882"/>
                        </a:lnTo>
                        <a:lnTo>
                          <a:pt x="188" y="867"/>
                        </a:lnTo>
                        <a:lnTo>
                          <a:pt x="185" y="864"/>
                        </a:lnTo>
                        <a:lnTo>
                          <a:pt x="180" y="867"/>
                        </a:lnTo>
                        <a:lnTo>
                          <a:pt x="165" y="879"/>
                        </a:lnTo>
                        <a:lnTo>
                          <a:pt x="156" y="870"/>
                        </a:lnTo>
                        <a:lnTo>
                          <a:pt x="158" y="865"/>
                        </a:lnTo>
                        <a:lnTo>
                          <a:pt x="156" y="854"/>
                        </a:lnTo>
                        <a:lnTo>
                          <a:pt x="151" y="854"/>
                        </a:lnTo>
                        <a:lnTo>
                          <a:pt x="146" y="847"/>
                        </a:lnTo>
                        <a:lnTo>
                          <a:pt x="143" y="842"/>
                        </a:lnTo>
                        <a:lnTo>
                          <a:pt x="146" y="835"/>
                        </a:lnTo>
                        <a:lnTo>
                          <a:pt x="151" y="824"/>
                        </a:lnTo>
                        <a:lnTo>
                          <a:pt x="146" y="814"/>
                        </a:lnTo>
                        <a:lnTo>
                          <a:pt x="145" y="804"/>
                        </a:lnTo>
                        <a:lnTo>
                          <a:pt x="140" y="799"/>
                        </a:lnTo>
                        <a:lnTo>
                          <a:pt x="135" y="792"/>
                        </a:lnTo>
                        <a:lnTo>
                          <a:pt x="156" y="774"/>
                        </a:lnTo>
                        <a:lnTo>
                          <a:pt x="158" y="764"/>
                        </a:lnTo>
                        <a:lnTo>
                          <a:pt x="163" y="754"/>
                        </a:lnTo>
                        <a:lnTo>
                          <a:pt x="173" y="752"/>
                        </a:lnTo>
                        <a:lnTo>
                          <a:pt x="165" y="746"/>
                        </a:lnTo>
                        <a:lnTo>
                          <a:pt x="165" y="739"/>
                        </a:lnTo>
                        <a:lnTo>
                          <a:pt x="155" y="732"/>
                        </a:lnTo>
                        <a:lnTo>
                          <a:pt x="160" y="727"/>
                        </a:lnTo>
                        <a:lnTo>
                          <a:pt x="153" y="722"/>
                        </a:lnTo>
                        <a:lnTo>
                          <a:pt x="160" y="711"/>
                        </a:lnTo>
                        <a:lnTo>
                          <a:pt x="168" y="704"/>
                        </a:lnTo>
                        <a:lnTo>
                          <a:pt x="166" y="699"/>
                        </a:lnTo>
                        <a:lnTo>
                          <a:pt x="178" y="694"/>
                        </a:lnTo>
                        <a:lnTo>
                          <a:pt x="190" y="697"/>
                        </a:lnTo>
                        <a:lnTo>
                          <a:pt x="200" y="692"/>
                        </a:lnTo>
                        <a:lnTo>
                          <a:pt x="211" y="687"/>
                        </a:lnTo>
                        <a:lnTo>
                          <a:pt x="223" y="683"/>
                        </a:lnTo>
                        <a:lnTo>
                          <a:pt x="221" y="674"/>
                        </a:lnTo>
                        <a:lnTo>
                          <a:pt x="218" y="664"/>
                        </a:lnTo>
                        <a:lnTo>
                          <a:pt x="228" y="666"/>
                        </a:lnTo>
                        <a:lnTo>
                          <a:pt x="233" y="661"/>
                        </a:lnTo>
                        <a:lnTo>
                          <a:pt x="230" y="658"/>
                        </a:lnTo>
                        <a:lnTo>
                          <a:pt x="233" y="651"/>
                        </a:lnTo>
                        <a:lnTo>
                          <a:pt x="240" y="641"/>
                        </a:lnTo>
                        <a:lnTo>
                          <a:pt x="245" y="629"/>
                        </a:lnTo>
                        <a:lnTo>
                          <a:pt x="251" y="624"/>
                        </a:lnTo>
                        <a:lnTo>
                          <a:pt x="245" y="621"/>
                        </a:lnTo>
                        <a:lnTo>
                          <a:pt x="240" y="614"/>
                        </a:lnTo>
                        <a:lnTo>
                          <a:pt x="249" y="613"/>
                        </a:lnTo>
                        <a:lnTo>
                          <a:pt x="249" y="604"/>
                        </a:lnTo>
                        <a:lnTo>
                          <a:pt x="264" y="591"/>
                        </a:lnTo>
                        <a:lnTo>
                          <a:pt x="261" y="581"/>
                        </a:lnTo>
                        <a:lnTo>
                          <a:pt x="256" y="568"/>
                        </a:lnTo>
                        <a:lnTo>
                          <a:pt x="246" y="538"/>
                        </a:lnTo>
                        <a:lnTo>
                          <a:pt x="240" y="533"/>
                        </a:lnTo>
                        <a:lnTo>
                          <a:pt x="231" y="530"/>
                        </a:lnTo>
                        <a:lnTo>
                          <a:pt x="226" y="525"/>
                        </a:lnTo>
                        <a:lnTo>
                          <a:pt x="220" y="520"/>
                        </a:lnTo>
                        <a:lnTo>
                          <a:pt x="211" y="516"/>
                        </a:lnTo>
                        <a:lnTo>
                          <a:pt x="203" y="518"/>
                        </a:lnTo>
                        <a:lnTo>
                          <a:pt x="193" y="521"/>
                        </a:lnTo>
                        <a:lnTo>
                          <a:pt x="188" y="520"/>
                        </a:lnTo>
                        <a:lnTo>
                          <a:pt x="183" y="520"/>
                        </a:lnTo>
                        <a:lnTo>
                          <a:pt x="176" y="515"/>
                        </a:lnTo>
                        <a:lnTo>
                          <a:pt x="170" y="515"/>
                        </a:lnTo>
                        <a:lnTo>
                          <a:pt x="170" y="510"/>
                        </a:lnTo>
                        <a:lnTo>
                          <a:pt x="165" y="505"/>
                        </a:lnTo>
                        <a:lnTo>
                          <a:pt x="156" y="513"/>
                        </a:lnTo>
                        <a:lnTo>
                          <a:pt x="150" y="516"/>
                        </a:lnTo>
                        <a:lnTo>
                          <a:pt x="143" y="518"/>
                        </a:lnTo>
                        <a:lnTo>
                          <a:pt x="143" y="513"/>
                        </a:lnTo>
                        <a:lnTo>
                          <a:pt x="150" y="508"/>
                        </a:lnTo>
                        <a:lnTo>
                          <a:pt x="153" y="505"/>
                        </a:lnTo>
                        <a:lnTo>
                          <a:pt x="153" y="500"/>
                        </a:lnTo>
                        <a:lnTo>
                          <a:pt x="148" y="498"/>
                        </a:lnTo>
                        <a:lnTo>
                          <a:pt x="143" y="498"/>
                        </a:lnTo>
                        <a:lnTo>
                          <a:pt x="138" y="496"/>
                        </a:lnTo>
                        <a:lnTo>
                          <a:pt x="128" y="496"/>
                        </a:lnTo>
                        <a:lnTo>
                          <a:pt x="128" y="501"/>
                        </a:lnTo>
                        <a:lnTo>
                          <a:pt x="133" y="503"/>
                        </a:lnTo>
                        <a:lnTo>
                          <a:pt x="127" y="508"/>
                        </a:lnTo>
                        <a:lnTo>
                          <a:pt x="123" y="515"/>
                        </a:lnTo>
                        <a:lnTo>
                          <a:pt x="118" y="513"/>
                        </a:lnTo>
                        <a:lnTo>
                          <a:pt x="120" y="505"/>
                        </a:lnTo>
                        <a:lnTo>
                          <a:pt x="107" y="508"/>
                        </a:lnTo>
                        <a:lnTo>
                          <a:pt x="98" y="505"/>
                        </a:lnTo>
                        <a:lnTo>
                          <a:pt x="88" y="500"/>
                        </a:lnTo>
                        <a:lnTo>
                          <a:pt x="75" y="510"/>
                        </a:lnTo>
                        <a:lnTo>
                          <a:pt x="62" y="515"/>
                        </a:lnTo>
                        <a:lnTo>
                          <a:pt x="52" y="513"/>
                        </a:lnTo>
                        <a:lnTo>
                          <a:pt x="53" y="523"/>
                        </a:lnTo>
                        <a:lnTo>
                          <a:pt x="47" y="523"/>
                        </a:lnTo>
                        <a:lnTo>
                          <a:pt x="43" y="516"/>
                        </a:lnTo>
                        <a:lnTo>
                          <a:pt x="45" y="511"/>
                        </a:lnTo>
                        <a:lnTo>
                          <a:pt x="52" y="503"/>
                        </a:lnTo>
                        <a:lnTo>
                          <a:pt x="68" y="496"/>
                        </a:lnTo>
                        <a:lnTo>
                          <a:pt x="83" y="495"/>
                        </a:lnTo>
                        <a:lnTo>
                          <a:pt x="85" y="486"/>
                        </a:lnTo>
                        <a:lnTo>
                          <a:pt x="82" y="483"/>
                        </a:lnTo>
                        <a:lnTo>
                          <a:pt x="75" y="485"/>
                        </a:lnTo>
                        <a:lnTo>
                          <a:pt x="70" y="490"/>
                        </a:lnTo>
                        <a:lnTo>
                          <a:pt x="62" y="485"/>
                        </a:lnTo>
                        <a:lnTo>
                          <a:pt x="57" y="480"/>
                        </a:lnTo>
                        <a:lnTo>
                          <a:pt x="55" y="471"/>
                        </a:lnTo>
                        <a:lnTo>
                          <a:pt x="62" y="473"/>
                        </a:lnTo>
                        <a:lnTo>
                          <a:pt x="67" y="473"/>
                        </a:lnTo>
                        <a:lnTo>
                          <a:pt x="75" y="460"/>
                        </a:lnTo>
                        <a:lnTo>
                          <a:pt x="70" y="457"/>
                        </a:lnTo>
                        <a:lnTo>
                          <a:pt x="65" y="455"/>
                        </a:lnTo>
                        <a:lnTo>
                          <a:pt x="70" y="443"/>
                        </a:lnTo>
                        <a:lnTo>
                          <a:pt x="63" y="443"/>
                        </a:lnTo>
                        <a:lnTo>
                          <a:pt x="57" y="438"/>
                        </a:lnTo>
                        <a:lnTo>
                          <a:pt x="48" y="432"/>
                        </a:lnTo>
                        <a:lnTo>
                          <a:pt x="43" y="422"/>
                        </a:lnTo>
                        <a:lnTo>
                          <a:pt x="38" y="413"/>
                        </a:lnTo>
                        <a:lnTo>
                          <a:pt x="30" y="402"/>
                        </a:lnTo>
                        <a:lnTo>
                          <a:pt x="33" y="388"/>
                        </a:lnTo>
                        <a:lnTo>
                          <a:pt x="30" y="378"/>
                        </a:lnTo>
                        <a:lnTo>
                          <a:pt x="27" y="368"/>
                        </a:lnTo>
                        <a:lnTo>
                          <a:pt x="43" y="360"/>
                        </a:lnTo>
                        <a:lnTo>
                          <a:pt x="50" y="359"/>
                        </a:lnTo>
                        <a:lnTo>
                          <a:pt x="53" y="345"/>
                        </a:lnTo>
                        <a:lnTo>
                          <a:pt x="47" y="335"/>
                        </a:lnTo>
                        <a:lnTo>
                          <a:pt x="55" y="327"/>
                        </a:lnTo>
                        <a:lnTo>
                          <a:pt x="57" y="322"/>
                        </a:lnTo>
                        <a:lnTo>
                          <a:pt x="65" y="317"/>
                        </a:lnTo>
                        <a:lnTo>
                          <a:pt x="57" y="312"/>
                        </a:lnTo>
                        <a:lnTo>
                          <a:pt x="58" y="294"/>
                        </a:lnTo>
                        <a:lnTo>
                          <a:pt x="55" y="282"/>
                        </a:lnTo>
                        <a:lnTo>
                          <a:pt x="43" y="282"/>
                        </a:lnTo>
                        <a:lnTo>
                          <a:pt x="38" y="280"/>
                        </a:lnTo>
                        <a:lnTo>
                          <a:pt x="38" y="272"/>
                        </a:lnTo>
                        <a:lnTo>
                          <a:pt x="33" y="270"/>
                        </a:lnTo>
                        <a:lnTo>
                          <a:pt x="33" y="265"/>
                        </a:lnTo>
                        <a:lnTo>
                          <a:pt x="37" y="252"/>
                        </a:lnTo>
                        <a:lnTo>
                          <a:pt x="38" y="246"/>
                        </a:lnTo>
                        <a:lnTo>
                          <a:pt x="37" y="237"/>
                        </a:lnTo>
                        <a:lnTo>
                          <a:pt x="28" y="237"/>
                        </a:lnTo>
                        <a:lnTo>
                          <a:pt x="25" y="231"/>
                        </a:lnTo>
                        <a:lnTo>
                          <a:pt x="20" y="229"/>
                        </a:lnTo>
                        <a:lnTo>
                          <a:pt x="17" y="222"/>
                        </a:lnTo>
                        <a:lnTo>
                          <a:pt x="20" y="214"/>
                        </a:lnTo>
                        <a:lnTo>
                          <a:pt x="20" y="204"/>
                        </a:lnTo>
                        <a:lnTo>
                          <a:pt x="22" y="194"/>
                        </a:lnTo>
                        <a:lnTo>
                          <a:pt x="9" y="191"/>
                        </a:lnTo>
                        <a:lnTo>
                          <a:pt x="7" y="176"/>
                        </a:lnTo>
                        <a:lnTo>
                          <a:pt x="14" y="166"/>
                        </a:lnTo>
                        <a:lnTo>
                          <a:pt x="15" y="151"/>
                        </a:lnTo>
                        <a:lnTo>
                          <a:pt x="5" y="141"/>
                        </a:lnTo>
                        <a:lnTo>
                          <a:pt x="0" y="131"/>
                        </a:lnTo>
                        <a:lnTo>
                          <a:pt x="2" y="113"/>
                        </a:lnTo>
                        <a:lnTo>
                          <a:pt x="5" y="101"/>
                        </a:lnTo>
                        <a:lnTo>
                          <a:pt x="14" y="86"/>
                        </a:lnTo>
                        <a:lnTo>
                          <a:pt x="23" y="74"/>
                        </a:lnTo>
                        <a:lnTo>
                          <a:pt x="18" y="71"/>
                        </a:lnTo>
                        <a:lnTo>
                          <a:pt x="20" y="51"/>
                        </a:lnTo>
                        <a:lnTo>
                          <a:pt x="28" y="49"/>
                        </a:lnTo>
                        <a:lnTo>
                          <a:pt x="37" y="51"/>
                        </a:lnTo>
                        <a:lnTo>
                          <a:pt x="52" y="44"/>
                        </a:lnTo>
                        <a:lnTo>
                          <a:pt x="48" y="31"/>
                        </a:lnTo>
                        <a:lnTo>
                          <a:pt x="57" y="23"/>
                        </a:lnTo>
                        <a:lnTo>
                          <a:pt x="68" y="13"/>
                        </a:lnTo>
                        <a:lnTo>
                          <a:pt x="70" y="1"/>
                        </a:lnTo>
                        <a:lnTo>
                          <a:pt x="80" y="0"/>
                        </a:lnTo>
                        <a:lnTo>
                          <a:pt x="93" y="13"/>
                        </a:lnTo>
                        <a:lnTo>
                          <a:pt x="120" y="26"/>
                        </a:lnTo>
                        <a:lnTo>
                          <a:pt x="120" y="36"/>
                        </a:lnTo>
                        <a:lnTo>
                          <a:pt x="115" y="41"/>
                        </a:lnTo>
                        <a:lnTo>
                          <a:pt x="100" y="53"/>
                        </a:lnTo>
                        <a:lnTo>
                          <a:pt x="103" y="61"/>
                        </a:lnTo>
                        <a:lnTo>
                          <a:pt x="97" y="81"/>
                        </a:lnTo>
                        <a:lnTo>
                          <a:pt x="105" y="109"/>
                        </a:lnTo>
                        <a:lnTo>
                          <a:pt x="110" y="113"/>
                        </a:lnTo>
                        <a:lnTo>
                          <a:pt x="120" y="106"/>
                        </a:lnTo>
                        <a:lnTo>
                          <a:pt x="125" y="111"/>
                        </a:lnTo>
                        <a:lnTo>
                          <a:pt x="123" y="118"/>
                        </a:lnTo>
                        <a:lnTo>
                          <a:pt x="135" y="124"/>
                        </a:lnTo>
                        <a:lnTo>
                          <a:pt x="148" y="114"/>
                        </a:lnTo>
                        <a:lnTo>
                          <a:pt x="158" y="101"/>
                        </a:lnTo>
                        <a:lnTo>
                          <a:pt x="178" y="93"/>
                        </a:lnTo>
                        <a:lnTo>
                          <a:pt x="185" y="101"/>
                        </a:lnTo>
                        <a:lnTo>
                          <a:pt x="191" y="119"/>
                        </a:lnTo>
                        <a:lnTo>
                          <a:pt x="200" y="123"/>
                        </a:lnTo>
                        <a:lnTo>
                          <a:pt x="203" y="118"/>
                        </a:lnTo>
                        <a:lnTo>
                          <a:pt x="215" y="129"/>
                        </a:lnTo>
                        <a:lnTo>
                          <a:pt x="241" y="139"/>
                        </a:lnTo>
                        <a:lnTo>
                          <a:pt x="235" y="144"/>
                        </a:lnTo>
                        <a:lnTo>
                          <a:pt x="223" y="149"/>
                        </a:lnTo>
                        <a:lnTo>
                          <a:pt x="216" y="151"/>
                        </a:lnTo>
                        <a:lnTo>
                          <a:pt x="215" y="159"/>
                        </a:lnTo>
                        <a:lnTo>
                          <a:pt x="226" y="162"/>
                        </a:lnTo>
                        <a:lnTo>
                          <a:pt x="231" y="164"/>
                        </a:lnTo>
                        <a:lnTo>
                          <a:pt x="236" y="174"/>
                        </a:lnTo>
                        <a:lnTo>
                          <a:pt x="243" y="181"/>
                        </a:lnTo>
                        <a:lnTo>
                          <a:pt x="246" y="182"/>
                        </a:lnTo>
                        <a:lnTo>
                          <a:pt x="251" y="177"/>
                        </a:lnTo>
                        <a:lnTo>
                          <a:pt x="259" y="177"/>
                        </a:lnTo>
                        <a:lnTo>
                          <a:pt x="268" y="181"/>
                        </a:lnTo>
                        <a:lnTo>
                          <a:pt x="266" y="191"/>
                        </a:lnTo>
                        <a:lnTo>
                          <a:pt x="274" y="196"/>
                        </a:lnTo>
                        <a:lnTo>
                          <a:pt x="283" y="199"/>
                        </a:lnTo>
                        <a:lnTo>
                          <a:pt x="286" y="206"/>
                        </a:lnTo>
                        <a:lnTo>
                          <a:pt x="293" y="201"/>
                        </a:lnTo>
                        <a:lnTo>
                          <a:pt x="301" y="207"/>
                        </a:lnTo>
                        <a:lnTo>
                          <a:pt x="298" y="217"/>
                        </a:lnTo>
                        <a:lnTo>
                          <a:pt x="304" y="222"/>
                        </a:lnTo>
                        <a:lnTo>
                          <a:pt x="313" y="219"/>
                        </a:lnTo>
                        <a:lnTo>
                          <a:pt x="318" y="214"/>
                        </a:lnTo>
                        <a:lnTo>
                          <a:pt x="321" y="222"/>
                        </a:lnTo>
                        <a:lnTo>
                          <a:pt x="328" y="219"/>
                        </a:lnTo>
                        <a:lnTo>
                          <a:pt x="334" y="224"/>
                        </a:lnTo>
                        <a:lnTo>
                          <a:pt x="336" y="219"/>
                        </a:lnTo>
                        <a:lnTo>
                          <a:pt x="348" y="214"/>
                        </a:lnTo>
                        <a:lnTo>
                          <a:pt x="353" y="226"/>
                        </a:lnTo>
                        <a:lnTo>
                          <a:pt x="354" y="229"/>
                        </a:lnTo>
                        <a:lnTo>
                          <a:pt x="356" y="221"/>
                        </a:lnTo>
                        <a:lnTo>
                          <a:pt x="364" y="227"/>
                        </a:lnTo>
                        <a:lnTo>
                          <a:pt x="362" y="234"/>
                        </a:lnTo>
                        <a:lnTo>
                          <a:pt x="367" y="236"/>
                        </a:lnTo>
                        <a:lnTo>
                          <a:pt x="377" y="237"/>
                        </a:lnTo>
                        <a:lnTo>
                          <a:pt x="377" y="231"/>
                        </a:lnTo>
                        <a:lnTo>
                          <a:pt x="382" y="224"/>
                        </a:lnTo>
                        <a:lnTo>
                          <a:pt x="386" y="216"/>
                        </a:lnTo>
                        <a:lnTo>
                          <a:pt x="397" y="226"/>
                        </a:lnTo>
                        <a:lnTo>
                          <a:pt x="419" y="239"/>
                        </a:lnTo>
                        <a:lnTo>
                          <a:pt x="436" y="254"/>
                        </a:lnTo>
                        <a:lnTo>
                          <a:pt x="451" y="259"/>
                        </a:lnTo>
                        <a:lnTo>
                          <a:pt x="462" y="257"/>
                        </a:lnTo>
                        <a:lnTo>
                          <a:pt x="475" y="264"/>
                        </a:lnTo>
                        <a:lnTo>
                          <a:pt x="502" y="277"/>
                        </a:lnTo>
                        <a:lnTo>
                          <a:pt x="517" y="280"/>
                        </a:lnTo>
                        <a:lnTo>
                          <a:pt x="534" y="290"/>
                        </a:lnTo>
                        <a:lnTo>
                          <a:pt x="545" y="304"/>
                        </a:lnTo>
                        <a:lnTo>
                          <a:pt x="552" y="317"/>
                        </a:lnTo>
                        <a:lnTo>
                          <a:pt x="562" y="317"/>
                        </a:lnTo>
                        <a:lnTo>
                          <a:pt x="567" y="324"/>
                        </a:lnTo>
                        <a:lnTo>
                          <a:pt x="623" y="362"/>
                        </a:lnTo>
                        <a:lnTo>
                          <a:pt x="625" y="354"/>
                        </a:lnTo>
                        <a:lnTo>
                          <a:pt x="635" y="350"/>
                        </a:lnTo>
                        <a:lnTo>
                          <a:pt x="665" y="365"/>
                        </a:lnTo>
                        <a:lnTo>
                          <a:pt x="693" y="383"/>
                        </a:lnTo>
                        <a:lnTo>
                          <a:pt x="713" y="380"/>
                        </a:lnTo>
                        <a:lnTo>
                          <a:pt x="726" y="378"/>
                        </a:lnTo>
                        <a:lnTo>
                          <a:pt x="728" y="393"/>
                        </a:lnTo>
                        <a:lnTo>
                          <a:pt x="728" y="393"/>
                        </a:lnTo>
                        <a:lnTo>
                          <a:pt x="728" y="393"/>
                        </a:lnTo>
                        <a:close/>
                      </a:path>
                    </a:pathLst>
                  </a:custGeom>
                  <a:solidFill>
                    <a:schemeClr val="accent1">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dirty="0">
                      <a:solidFill>
                        <a:schemeClr val="tx1">
                          <a:lumMod val="85000"/>
                          <a:lumOff val="15000"/>
                        </a:schemeClr>
                      </a:solidFill>
                    </a:endParaRPr>
                  </a:p>
                </p:txBody>
              </p:sp>
              <p:sp>
                <p:nvSpPr>
                  <p:cNvPr id="17" name="Freeform 1066">
                    <a:extLst>
                      <a:ext uri="{FF2B5EF4-FFF2-40B4-BE49-F238E27FC236}">
                        <a16:creationId xmlns:a16="http://schemas.microsoft.com/office/drawing/2014/main" id="{F44F18F3-971A-4FA6-B6C0-49DF8C58E483}"/>
                      </a:ext>
                    </a:extLst>
                  </p:cNvPr>
                  <p:cNvSpPr>
                    <a:spLocks/>
                  </p:cNvSpPr>
                  <p:nvPr/>
                </p:nvSpPr>
                <p:spPr bwMode="auto">
                  <a:xfrm>
                    <a:off x="5749567" y="3126248"/>
                    <a:ext cx="477877" cy="185426"/>
                  </a:xfrm>
                  <a:custGeom>
                    <a:avLst/>
                    <a:gdLst>
                      <a:gd name="T0" fmla="*/ 353 w 384"/>
                      <a:gd name="T1" fmla="*/ 136 h 149"/>
                      <a:gd name="T2" fmla="*/ 356 w 384"/>
                      <a:gd name="T3" fmla="*/ 129 h 149"/>
                      <a:gd name="T4" fmla="*/ 374 w 384"/>
                      <a:gd name="T5" fmla="*/ 121 h 149"/>
                      <a:gd name="T6" fmla="*/ 384 w 384"/>
                      <a:gd name="T7" fmla="*/ 99 h 149"/>
                      <a:gd name="T8" fmla="*/ 358 w 384"/>
                      <a:gd name="T9" fmla="*/ 81 h 149"/>
                      <a:gd name="T10" fmla="*/ 368 w 384"/>
                      <a:gd name="T11" fmla="*/ 66 h 149"/>
                      <a:gd name="T12" fmla="*/ 343 w 384"/>
                      <a:gd name="T13" fmla="*/ 56 h 149"/>
                      <a:gd name="T14" fmla="*/ 321 w 384"/>
                      <a:gd name="T15" fmla="*/ 48 h 149"/>
                      <a:gd name="T16" fmla="*/ 305 w 384"/>
                      <a:gd name="T17" fmla="*/ 56 h 149"/>
                      <a:gd name="T18" fmla="*/ 301 w 384"/>
                      <a:gd name="T19" fmla="*/ 33 h 149"/>
                      <a:gd name="T20" fmla="*/ 296 w 384"/>
                      <a:gd name="T21" fmla="*/ 16 h 149"/>
                      <a:gd name="T22" fmla="*/ 310 w 384"/>
                      <a:gd name="T23" fmla="*/ 1 h 149"/>
                      <a:gd name="T24" fmla="*/ 290 w 384"/>
                      <a:gd name="T25" fmla="*/ 6 h 149"/>
                      <a:gd name="T26" fmla="*/ 265 w 384"/>
                      <a:gd name="T27" fmla="*/ 11 h 149"/>
                      <a:gd name="T28" fmla="*/ 250 w 384"/>
                      <a:gd name="T29" fmla="*/ 1 h 149"/>
                      <a:gd name="T30" fmla="*/ 240 w 384"/>
                      <a:gd name="T31" fmla="*/ 20 h 149"/>
                      <a:gd name="T32" fmla="*/ 231 w 384"/>
                      <a:gd name="T33" fmla="*/ 31 h 149"/>
                      <a:gd name="T34" fmla="*/ 230 w 384"/>
                      <a:gd name="T35" fmla="*/ 20 h 149"/>
                      <a:gd name="T36" fmla="*/ 220 w 384"/>
                      <a:gd name="T37" fmla="*/ 16 h 149"/>
                      <a:gd name="T38" fmla="*/ 213 w 384"/>
                      <a:gd name="T39" fmla="*/ 26 h 149"/>
                      <a:gd name="T40" fmla="*/ 213 w 384"/>
                      <a:gd name="T41" fmla="*/ 34 h 149"/>
                      <a:gd name="T42" fmla="*/ 206 w 384"/>
                      <a:gd name="T43" fmla="*/ 41 h 149"/>
                      <a:gd name="T44" fmla="*/ 183 w 384"/>
                      <a:gd name="T45" fmla="*/ 58 h 149"/>
                      <a:gd name="T46" fmla="*/ 173 w 384"/>
                      <a:gd name="T47" fmla="*/ 49 h 149"/>
                      <a:gd name="T48" fmla="*/ 162 w 384"/>
                      <a:gd name="T49" fmla="*/ 48 h 149"/>
                      <a:gd name="T50" fmla="*/ 150 w 384"/>
                      <a:gd name="T51" fmla="*/ 43 h 149"/>
                      <a:gd name="T52" fmla="*/ 148 w 384"/>
                      <a:gd name="T53" fmla="*/ 38 h 149"/>
                      <a:gd name="T54" fmla="*/ 135 w 384"/>
                      <a:gd name="T55" fmla="*/ 34 h 149"/>
                      <a:gd name="T56" fmla="*/ 120 w 384"/>
                      <a:gd name="T57" fmla="*/ 39 h 149"/>
                      <a:gd name="T58" fmla="*/ 108 w 384"/>
                      <a:gd name="T59" fmla="*/ 38 h 149"/>
                      <a:gd name="T60" fmla="*/ 95 w 384"/>
                      <a:gd name="T61" fmla="*/ 33 h 149"/>
                      <a:gd name="T62" fmla="*/ 87 w 384"/>
                      <a:gd name="T63" fmla="*/ 43 h 149"/>
                      <a:gd name="T64" fmla="*/ 72 w 384"/>
                      <a:gd name="T65" fmla="*/ 29 h 149"/>
                      <a:gd name="T66" fmla="*/ 49 w 384"/>
                      <a:gd name="T67" fmla="*/ 36 h 149"/>
                      <a:gd name="T68" fmla="*/ 27 w 384"/>
                      <a:gd name="T69" fmla="*/ 48 h 149"/>
                      <a:gd name="T70" fmla="*/ 15 w 384"/>
                      <a:gd name="T71" fmla="*/ 68 h 149"/>
                      <a:gd name="T72" fmla="*/ 19 w 384"/>
                      <a:gd name="T73" fmla="*/ 91 h 149"/>
                      <a:gd name="T74" fmla="*/ 5 w 384"/>
                      <a:gd name="T75" fmla="*/ 103 h 149"/>
                      <a:gd name="T76" fmla="*/ 10 w 384"/>
                      <a:gd name="T77" fmla="*/ 136 h 149"/>
                      <a:gd name="T78" fmla="*/ 40 w 384"/>
                      <a:gd name="T79" fmla="*/ 141 h 149"/>
                      <a:gd name="T80" fmla="*/ 85 w 384"/>
                      <a:gd name="T81" fmla="*/ 147 h 149"/>
                      <a:gd name="T82" fmla="*/ 117 w 384"/>
                      <a:gd name="T83" fmla="*/ 139 h 149"/>
                      <a:gd name="T84" fmla="*/ 133 w 384"/>
                      <a:gd name="T85" fmla="*/ 139 h 149"/>
                      <a:gd name="T86" fmla="*/ 170 w 384"/>
                      <a:gd name="T87" fmla="*/ 133 h 149"/>
                      <a:gd name="T88" fmla="*/ 211 w 384"/>
                      <a:gd name="T89" fmla="*/ 136 h 149"/>
                      <a:gd name="T90" fmla="*/ 238 w 384"/>
                      <a:gd name="T91" fmla="*/ 136 h 149"/>
                      <a:gd name="T92" fmla="*/ 248 w 384"/>
                      <a:gd name="T93" fmla="*/ 137 h 149"/>
                      <a:gd name="T94" fmla="*/ 281 w 384"/>
                      <a:gd name="T95" fmla="*/ 128 h 149"/>
                      <a:gd name="T96" fmla="*/ 310 w 384"/>
                      <a:gd name="T97" fmla="*/ 134 h 149"/>
                      <a:gd name="T98" fmla="*/ 343 w 384"/>
                      <a:gd name="T99" fmla="*/ 14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4" h="149">
                        <a:moveTo>
                          <a:pt x="343" y="147"/>
                        </a:moveTo>
                        <a:lnTo>
                          <a:pt x="346" y="142"/>
                        </a:lnTo>
                        <a:lnTo>
                          <a:pt x="351" y="137"/>
                        </a:lnTo>
                        <a:lnTo>
                          <a:pt x="353" y="136"/>
                        </a:lnTo>
                        <a:lnTo>
                          <a:pt x="358" y="136"/>
                        </a:lnTo>
                        <a:lnTo>
                          <a:pt x="358" y="134"/>
                        </a:lnTo>
                        <a:lnTo>
                          <a:pt x="354" y="133"/>
                        </a:lnTo>
                        <a:lnTo>
                          <a:pt x="356" y="129"/>
                        </a:lnTo>
                        <a:lnTo>
                          <a:pt x="361" y="129"/>
                        </a:lnTo>
                        <a:lnTo>
                          <a:pt x="368" y="131"/>
                        </a:lnTo>
                        <a:lnTo>
                          <a:pt x="373" y="126"/>
                        </a:lnTo>
                        <a:lnTo>
                          <a:pt x="374" y="121"/>
                        </a:lnTo>
                        <a:lnTo>
                          <a:pt x="379" y="114"/>
                        </a:lnTo>
                        <a:lnTo>
                          <a:pt x="381" y="109"/>
                        </a:lnTo>
                        <a:lnTo>
                          <a:pt x="384" y="104"/>
                        </a:lnTo>
                        <a:lnTo>
                          <a:pt x="384" y="99"/>
                        </a:lnTo>
                        <a:lnTo>
                          <a:pt x="378" y="93"/>
                        </a:lnTo>
                        <a:lnTo>
                          <a:pt x="366" y="88"/>
                        </a:lnTo>
                        <a:lnTo>
                          <a:pt x="361" y="86"/>
                        </a:lnTo>
                        <a:lnTo>
                          <a:pt x="358" y="81"/>
                        </a:lnTo>
                        <a:lnTo>
                          <a:pt x="359" y="76"/>
                        </a:lnTo>
                        <a:lnTo>
                          <a:pt x="366" y="71"/>
                        </a:lnTo>
                        <a:lnTo>
                          <a:pt x="369" y="68"/>
                        </a:lnTo>
                        <a:lnTo>
                          <a:pt x="368" y="66"/>
                        </a:lnTo>
                        <a:lnTo>
                          <a:pt x="361" y="66"/>
                        </a:lnTo>
                        <a:lnTo>
                          <a:pt x="356" y="69"/>
                        </a:lnTo>
                        <a:lnTo>
                          <a:pt x="351" y="61"/>
                        </a:lnTo>
                        <a:lnTo>
                          <a:pt x="343" y="56"/>
                        </a:lnTo>
                        <a:lnTo>
                          <a:pt x="338" y="53"/>
                        </a:lnTo>
                        <a:lnTo>
                          <a:pt x="333" y="46"/>
                        </a:lnTo>
                        <a:lnTo>
                          <a:pt x="328" y="46"/>
                        </a:lnTo>
                        <a:lnTo>
                          <a:pt x="321" y="48"/>
                        </a:lnTo>
                        <a:lnTo>
                          <a:pt x="316" y="49"/>
                        </a:lnTo>
                        <a:lnTo>
                          <a:pt x="310" y="51"/>
                        </a:lnTo>
                        <a:lnTo>
                          <a:pt x="305" y="53"/>
                        </a:lnTo>
                        <a:lnTo>
                          <a:pt x="305" y="56"/>
                        </a:lnTo>
                        <a:lnTo>
                          <a:pt x="300" y="51"/>
                        </a:lnTo>
                        <a:lnTo>
                          <a:pt x="298" y="46"/>
                        </a:lnTo>
                        <a:lnTo>
                          <a:pt x="300" y="38"/>
                        </a:lnTo>
                        <a:lnTo>
                          <a:pt x="301" y="33"/>
                        </a:lnTo>
                        <a:lnTo>
                          <a:pt x="303" y="28"/>
                        </a:lnTo>
                        <a:lnTo>
                          <a:pt x="303" y="21"/>
                        </a:lnTo>
                        <a:lnTo>
                          <a:pt x="296" y="21"/>
                        </a:lnTo>
                        <a:lnTo>
                          <a:pt x="296" y="16"/>
                        </a:lnTo>
                        <a:lnTo>
                          <a:pt x="300" y="11"/>
                        </a:lnTo>
                        <a:lnTo>
                          <a:pt x="305" y="11"/>
                        </a:lnTo>
                        <a:lnTo>
                          <a:pt x="308" y="8"/>
                        </a:lnTo>
                        <a:lnTo>
                          <a:pt x="310" y="1"/>
                        </a:lnTo>
                        <a:lnTo>
                          <a:pt x="306" y="0"/>
                        </a:lnTo>
                        <a:lnTo>
                          <a:pt x="298" y="1"/>
                        </a:lnTo>
                        <a:lnTo>
                          <a:pt x="293" y="5"/>
                        </a:lnTo>
                        <a:lnTo>
                          <a:pt x="290" y="6"/>
                        </a:lnTo>
                        <a:lnTo>
                          <a:pt x="285" y="5"/>
                        </a:lnTo>
                        <a:lnTo>
                          <a:pt x="273" y="8"/>
                        </a:lnTo>
                        <a:lnTo>
                          <a:pt x="268" y="8"/>
                        </a:lnTo>
                        <a:lnTo>
                          <a:pt x="265" y="11"/>
                        </a:lnTo>
                        <a:lnTo>
                          <a:pt x="260" y="8"/>
                        </a:lnTo>
                        <a:lnTo>
                          <a:pt x="260" y="5"/>
                        </a:lnTo>
                        <a:lnTo>
                          <a:pt x="255" y="1"/>
                        </a:lnTo>
                        <a:lnTo>
                          <a:pt x="250" y="1"/>
                        </a:lnTo>
                        <a:lnTo>
                          <a:pt x="246" y="5"/>
                        </a:lnTo>
                        <a:lnTo>
                          <a:pt x="241" y="10"/>
                        </a:lnTo>
                        <a:lnTo>
                          <a:pt x="240" y="15"/>
                        </a:lnTo>
                        <a:lnTo>
                          <a:pt x="240" y="20"/>
                        </a:lnTo>
                        <a:lnTo>
                          <a:pt x="241" y="21"/>
                        </a:lnTo>
                        <a:lnTo>
                          <a:pt x="238" y="25"/>
                        </a:lnTo>
                        <a:lnTo>
                          <a:pt x="236" y="29"/>
                        </a:lnTo>
                        <a:lnTo>
                          <a:pt x="231" y="31"/>
                        </a:lnTo>
                        <a:lnTo>
                          <a:pt x="228" y="29"/>
                        </a:lnTo>
                        <a:lnTo>
                          <a:pt x="228" y="26"/>
                        </a:lnTo>
                        <a:lnTo>
                          <a:pt x="228" y="23"/>
                        </a:lnTo>
                        <a:lnTo>
                          <a:pt x="230" y="20"/>
                        </a:lnTo>
                        <a:lnTo>
                          <a:pt x="228" y="16"/>
                        </a:lnTo>
                        <a:lnTo>
                          <a:pt x="225" y="15"/>
                        </a:lnTo>
                        <a:lnTo>
                          <a:pt x="221" y="13"/>
                        </a:lnTo>
                        <a:lnTo>
                          <a:pt x="220" y="16"/>
                        </a:lnTo>
                        <a:lnTo>
                          <a:pt x="218" y="18"/>
                        </a:lnTo>
                        <a:lnTo>
                          <a:pt x="220" y="21"/>
                        </a:lnTo>
                        <a:lnTo>
                          <a:pt x="216" y="23"/>
                        </a:lnTo>
                        <a:lnTo>
                          <a:pt x="213" y="26"/>
                        </a:lnTo>
                        <a:lnTo>
                          <a:pt x="210" y="28"/>
                        </a:lnTo>
                        <a:lnTo>
                          <a:pt x="206" y="33"/>
                        </a:lnTo>
                        <a:lnTo>
                          <a:pt x="208" y="36"/>
                        </a:lnTo>
                        <a:lnTo>
                          <a:pt x="213" y="34"/>
                        </a:lnTo>
                        <a:lnTo>
                          <a:pt x="215" y="38"/>
                        </a:lnTo>
                        <a:lnTo>
                          <a:pt x="216" y="38"/>
                        </a:lnTo>
                        <a:lnTo>
                          <a:pt x="211" y="41"/>
                        </a:lnTo>
                        <a:lnTo>
                          <a:pt x="206" y="41"/>
                        </a:lnTo>
                        <a:lnTo>
                          <a:pt x="200" y="43"/>
                        </a:lnTo>
                        <a:lnTo>
                          <a:pt x="193" y="43"/>
                        </a:lnTo>
                        <a:lnTo>
                          <a:pt x="183" y="51"/>
                        </a:lnTo>
                        <a:lnTo>
                          <a:pt x="183" y="58"/>
                        </a:lnTo>
                        <a:lnTo>
                          <a:pt x="178" y="61"/>
                        </a:lnTo>
                        <a:lnTo>
                          <a:pt x="173" y="58"/>
                        </a:lnTo>
                        <a:lnTo>
                          <a:pt x="172" y="53"/>
                        </a:lnTo>
                        <a:lnTo>
                          <a:pt x="173" y="49"/>
                        </a:lnTo>
                        <a:lnTo>
                          <a:pt x="173" y="46"/>
                        </a:lnTo>
                        <a:lnTo>
                          <a:pt x="173" y="39"/>
                        </a:lnTo>
                        <a:lnTo>
                          <a:pt x="167" y="44"/>
                        </a:lnTo>
                        <a:lnTo>
                          <a:pt x="162" y="48"/>
                        </a:lnTo>
                        <a:lnTo>
                          <a:pt x="158" y="51"/>
                        </a:lnTo>
                        <a:lnTo>
                          <a:pt x="153" y="49"/>
                        </a:lnTo>
                        <a:lnTo>
                          <a:pt x="148" y="48"/>
                        </a:lnTo>
                        <a:lnTo>
                          <a:pt x="150" y="43"/>
                        </a:lnTo>
                        <a:lnTo>
                          <a:pt x="153" y="41"/>
                        </a:lnTo>
                        <a:lnTo>
                          <a:pt x="153" y="38"/>
                        </a:lnTo>
                        <a:lnTo>
                          <a:pt x="150" y="36"/>
                        </a:lnTo>
                        <a:lnTo>
                          <a:pt x="148" y="38"/>
                        </a:lnTo>
                        <a:lnTo>
                          <a:pt x="145" y="41"/>
                        </a:lnTo>
                        <a:lnTo>
                          <a:pt x="142" y="38"/>
                        </a:lnTo>
                        <a:lnTo>
                          <a:pt x="142" y="36"/>
                        </a:lnTo>
                        <a:lnTo>
                          <a:pt x="135" y="34"/>
                        </a:lnTo>
                        <a:lnTo>
                          <a:pt x="132" y="36"/>
                        </a:lnTo>
                        <a:lnTo>
                          <a:pt x="128" y="34"/>
                        </a:lnTo>
                        <a:lnTo>
                          <a:pt x="122" y="38"/>
                        </a:lnTo>
                        <a:lnTo>
                          <a:pt x="120" y="39"/>
                        </a:lnTo>
                        <a:lnTo>
                          <a:pt x="117" y="41"/>
                        </a:lnTo>
                        <a:lnTo>
                          <a:pt x="113" y="38"/>
                        </a:lnTo>
                        <a:lnTo>
                          <a:pt x="112" y="34"/>
                        </a:lnTo>
                        <a:lnTo>
                          <a:pt x="108" y="38"/>
                        </a:lnTo>
                        <a:lnTo>
                          <a:pt x="105" y="36"/>
                        </a:lnTo>
                        <a:lnTo>
                          <a:pt x="100" y="39"/>
                        </a:lnTo>
                        <a:lnTo>
                          <a:pt x="97" y="38"/>
                        </a:lnTo>
                        <a:lnTo>
                          <a:pt x="95" y="33"/>
                        </a:lnTo>
                        <a:lnTo>
                          <a:pt x="92" y="36"/>
                        </a:lnTo>
                        <a:lnTo>
                          <a:pt x="90" y="39"/>
                        </a:lnTo>
                        <a:lnTo>
                          <a:pt x="90" y="43"/>
                        </a:lnTo>
                        <a:lnTo>
                          <a:pt x="87" y="43"/>
                        </a:lnTo>
                        <a:lnTo>
                          <a:pt x="83" y="36"/>
                        </a:lnTo>
                        <a:lnTo>
                          <a:pt x="85" y="33"/>
                        </a:lnTo>
                        <a:lnTo>
                          <a:pt x="80" y="29"/>
                        </a:lnTo>
                        <a:lnTo>
                          <a:pt x="72" y="29"/>
                        </a:lnTo>
                        <a:lnTo>
                          <a:pt x="65" y="34"/>
                        </a:lnTo>
                        <a:lnTo>
                          <a:pt x="62" y="33"/>
                        </a:lnTo>
                        <a:lnTo>
                          <a:pt x="54" y="36"/>
                        </a:lnTo>
                        <a:lnTo>
                          <a:pt x="49" y="36"/>
                        </a:lnTo>
                        <a:lnTo>
                          <a:pt x="42" y="39"/>
                        </a:lnTo>
                        <a:lnTo>
                          <a:pt x="37" y="41"/>
                        </a:lnTo>
                        <a:lnTo>
                          <a:pt x="32" y="44"/>
                        </a:lnTo>
                        <a:lnTo>
                          <a:pt x="27" y="48"/>
                        </a:lnTo>
                        <a:lnTo>
                          <a:pt x="24" y="54"/>
                        </a:lnTo>
                        <a:lnTo>
                          <a:pt x="17" y="54"/>
                        </a:lnTo>
                        <a:lnTo>
                          <a:pt x="17" y="59"/>
                        </a:lnTo>
                        <a:lnTo>
                          <a:pt x="15" y="68"/>
                        </a:lnTo>
                        <a:lnTo>
                          <a:pt x="15" y="73"/>
                        </a:lnTo>
                        <a:lnTo>
                          <a:pt x="17" y="79"/>
                        </a:lnTo>
                        <a:lnTo>
                          <a:pt x="20" y="83"/>
                        </a:lnTo>
                        <a:lnTo>
                          <a:pt x="19" y="91"/>
                        </a:lnTo>
                        <a:lnTo>
                          <a:pt x="14" y="94"/>
                        </a:lnTo>
                        <a:lnTo>
                          <a:pt x="7" y="96"/>
                        </a:lnTo>
                        <a:lnTo>
                          <a:pt x="5" y="98"/>
                        </a:lnTo>
                        <a:lnTo>
                          <a:pt x="5" y="103"/>
                        </a:lnTo>
                        <a:lnTo>
                          <a:pt x="2" y="114"/>
                        </a:lnTo>
                        <a:lnTo>
                          <a:pt x="0" y="123"/>
                        </a:lnTo>
                        <a:lnTo>
                          <a:pt x="2" y="129"/>
                        </a:lnTo>
                        <a:lnTo>
                          <a:pt x="10" y="136"/>
                        </a:lnTo>
                        <a:lnTo>
                          <a:pt x="17" y="134"/>
                        </a:lnTo>
                        <a:lnTo>
                          <a:pt x="24" y="134"/>
                        </a:lnTo>
                        <a:lnTo>
                          <a:pt x="30" y="136"/>
                        </a:lnTo>
                        <a:lnTo>
                          <a:pt x="40" y="141"/>
                        </a:lnTo>
                        <a:lnTo>
                          <a:pt x="54" y="139"/>
                        </a:lnTo>
                        <a:lnTo>
                          <a:pt x="67" y="144"/>
                        </a:lnTo>
                        <a:lnTo>
                          <a:pt x="79" y="149"/>
                        </a:lnTo>
                        <a:lnTo>
                          <a:pt x="85" y="147"/>
                        </a:lnTo>
                        <a:lnTo>
                          <a:pt x="95" y="146"/>
                        </a:lnTo>
                        <a:lnTo>
                          <a:pt x="105" y="142"/>
                        </a:lnTo>
                        <a:lnTo>
                          <a:pt x="110" y="141"/>
                        </a:lnTo>
                        <a:lnTo>
                          <a:pt x="117" y="139"/>
                        </a:lnTo>
                        <a:lnTo>
                          <a:pt x="117" y="142"/>
                        </a:lnTo>
                        <a:lnTo>
                          <a:pt x="123" y="144"/>
                        </a:lnTo>
                        <a:lnTo>
                          <a:pt x="125" y="141"/>
                        </a:lnTo>
                        <a:lnTo>
                          <a:pt x="133" y="139"/>
                        </a:lnTo>
                        <a:lnTo>
                          <a:pt x="142" y="141"/>
                        </a:lnTo>
                        <a:lnTo>
                          <a:pt x="148" y="139"/>
                        </a:lnTo>
                        <a:lnTo>
                          <a:pt x="157" y="139"/>
                        </a:lnTo>
                        <a:lnTo>
                          <a:pt x="170" y="133"/>
                        </a:lnTo>
                        <a:lnTo>
                          <a:pt x="178" y="133"/>
                        </a:lnTo>
                        <a:lnTo>
                          <a:pt x="185" y="133"/>
                        </a:lnTo>
                        <a:lnTo>
                          <a:pt x="193" y="133"/>
                        </a:lnTo>
                        <a:lnTo>
                          <a:pt x="211" y="136"/>
                        </a:lnTo>
                        <a:lnTo>
                          <a:pt x="220" y="137"/>
                        </a:lnTo>
                        <a:lnTo>
                          <a:pt x="226" y="137"/>
                        </a:lnTo>
                        <a:lnTo>
                          <a:pt x="235" y="134"/>
                        </a:lnTo>
                        <a:lnTo>
                          <a:pt x="238" y="136"/>
                        </a:lnTo>
                        <a:lnTo>
                          <a:pt x="238" y="139"/>
                        </a:lnTo>
                        <a:lnTo>
                          <a:pt x="240" y="142"/>
                        </a:lnTo>
                        <a:lnTo>
                          <a:pt x="246" y="139"/>
                        </a:lnTo>
                        <a:lnTo>
                          <a:pt x="248" y="137"/>
                        </a:lnTo>
                        <a:lnTo>
                          <a:pt x="256" y="134"/>
                        </a:lnTo>
                        <a:lnTo>
                          <a:pt x="261" y="131"/>
                        </a:lnTo>
                        <a:lnTo>
                          <a:pt x="270" y="129"/>
                        </a:lnTo>
                        <a:lnTo>
                          <a:pt x="281" y="128"/>
                        </a:lnTo>
                        <a:lnTo>
                          <a:pt x="293" y="126"/>
                        </a:lnTo>
                        <a:lnTo>
                          <a:pt x="301" y="126"/>
                        </a:lnTo>
                        <a:lnTo>
                          <a:pt x="305" y="129"/>
                        </a:lnTo>
                        <a:lnTo>
                          <a:pt x="310" y="134"/>
                        </a:lnTo>
                        <a:lnTo>
                          <a:pt x="323" y="141"/>
                        </a:lnTo>
                        <a:lnTo>
                          <a:pt x="329" y="139"/>
                        </a:lnTo>
                        <a:lnTo>
                          <a:pt x="338" y="142"/>
                        </a:lnTo>
                        <a:lnTo>
                          <a:pt x="343" y="147"/>
                        </a:lnTo>
                        <a:lnTo>
                          <a:pt x="343" y="147"/>
                        </a:lnTo>
                        <a:lnTo>
                          <a:pt x="343" y="147"/>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18" name="Freeform 1068">
                    <a:extLst>
                      <a:ext uri="{FF2B5EF4-FFF2-40B4-BE49-F238E27FC236}">
                        <a16:creationId xmlns:a16="http://schemas.microsoft.com/office/drawing/2014/main" id="{560E04E1-9AB7-4799-87CE-F61E0CAAAA1A}"/>
                      </a:ext>
                    </a:extLst>
                  </p:cNvPr>
                  <p:cNvSpPr>
                    <a:spLocks/>
                  </p:cNvSpPr>
                  <p:nvPr/>
                </p:nvSpPr>
                <p:spPr bwMode="auto">
                  <a:xfrm>
                    <a:off x="5723433" y="2729262"/>
                    <a:ext cx="985620" cy="750416"/>
                  </a:xfrm>
                  <a:custGeom>
                    <a:avLst/>
                    <a:gdLst>
                      <a:gd name="T0" fmla="*/ 23 w 792"/>
                      <a:gd name="T1" fmla="*/ 367 h 603"/>
                      <a:gd name="T2" fmla="*/ 5 w 792"/>
                      <a:gd name="T3" fmla="*/ 312 h 603"/>
                      <a:gd name="T4" fmla="*/ 16 w 792"/>
                      <a:gd name="T5" fmla="*/ 245 h 603"/>
                      <a:gd name="T6" fmla="*/ 70 w 792"/>
                      <a:gd name="T7" fmla="*/ 226 h 603"/>
                      <a:gd name="T8" fmla="*/ 141 w 792"/>
                      <a:gd name="T9" fmla="*/ 232 h 603"/>
                      <a:gd name="T10" fmla="*/ 211 w 792"/>
                      <a:gd name="T11" fmla="*/ 217 h 603"/>
                      <a:gd name="T12" fmla="*/ 276 w 792"/>
                      <a:gd name="T13" fmla="*/ 199 h 603"/>
                      <a:gd name="T14" fmla="*/ 379 w 792"/>
                      <a:gd name="T15" fmla="*/ 176 h 603"/>
                      <a:gd name="T16" fmla="*/ 429 w 792"/>
                      <a:gd name="T17" fmla="*/ 191 h 603"/>
                      <a:gd name="T18" fmla="*/ 498 w 792"/>
                      <a:gd name="T19" fmla="*/ 177 h 603"/>
                      <a:gd name="T20" fmla="*/ 542 w 792"/>
                      <a:gd name="T21" fmla="*/ 116 h 603"/>
                      <a:gd name="T22" fmla="*/ 566 w 792"/>
                      <a:gd name="T23" fmla="*/ 74 h 603"/>
                      <a:gd name="T24" fmla="*/ 598 w 792"/>
                      <a:gd name="T25" fmla="*/ 78 h 603"/>
                      <a:gd name="T26" fmla="*/ 734 w 792"/>
                      <a:gd name="T27" fmla="*/ 5 h 603"/>
                      <a:gd name="T28" fmla="*/ 759 w 792"/>
                      <a:gd name="T29" fmla="*/ 28 h 603"/>
                      <a:gd name="T30" fmla="*/ 771 w 792"/>
                      <a:gd name="T31" fmla="*/ 79 h 603"/>
                      <a:gd name="T32" fmla="*/ 792 w 792"/>
                      <a:gd name="T33" fmla="*/ 89 h 603"/>
                      <a:gd name="T34" fmla="*/ 753 w 792"/>
                      <a:gd name="T35" fmla="*/ 113 h 603"/>
                      <a:gd name="T36" fmla="*/ 708 w 792"/>
                      <a:gd name="T37" fmla="*/ 139 h 603"/>
                      <a:gd name="T38" fmla="*/ 658 w 792"/>
                      <a:gd name="T39" fmla="*/ 164 h 603"/>
                      <a:gd name="T40" fmla="*/ 621 w 792"/>
                      <a:gd name="T41" fmla="*/ 199 h 603"/>
                      <a:gd name="T42" fmla="*/ 586 w 792"/>
                      <a:gd name="T43" fmla="*/ 245 h 603"/>
                      <a:gd name="T44" fmla="*/ 570 w 792"/>
                      <a:gd name="T45" fmla="*/ 252 h 603"/>
                      <a:gd name="T46" fmla="*/ 550 w 792"/>
                      <a:gd name="T47" fmla="*/ 309 h 603"/>
                      <a:gd name="T48" fmla="*/ 540 w 792"/>
                      <a:gd name="T49" fmla="*/ 337 h 603"/>
                      <a:gd name="T50" fmla="*/ 525 w 792"/>
                      <a:gd name="T51" fmla="*/ 324 h 603"/>
                      <a:gd name="T52" fmla="*/ 477 w 792"/>
                      <a:gd name="T53" fmla="*/ 382 h 603"/>
                      <a:gd name="T54" fmla="*/ 485 w 792"/>
                      <a:gd name="T55" fmla="*/ 425 h 603"/>
                      <a:gd name="T56" fmla="*/ 475 w 792"/>
                      <a:gd name="T57" fmla="*/ 456 h 603"/>
                      <a:gd name="T58" fmla="*/ 455 w 792"/>
                      <a:gd name="T59" fmla="*/ 503 h 603"/>
                      <a:gd name="T60" fmla="*/ 447 w 792"/>
                      <a:gd name="T61" fmla="*/ 558 h 603"/>
                      <a:gd name="T62" fmla="*/ 422 w 792"/>
                      <a:gd name="T63" fmla="*/ 555 h 603"/>
                      <a:gd name="T64" fmla="*/ 402 w 792"/>
                      <a:gd name="T65" fmla="*/ 571 h 603"/>
                      <a:gd name="T66" fmla="*/ 375 w 792"/>
                      <a:gd name="T67" fmla="*/ 603 h 603"/>
                      <a:gd name="T68" fmla="*/ 365 w 792"/>
                      <a:gd name="T69" fmla="*/ 588 h 603"/>
                      <a:gd name="T70" fmla="*/ 349 w 792"/>
                      <a:gd name="T71" fmla="*/ 560 h 603"/>
                      <a:gd name="T72" fmla="*/ 349 w 792"/>
                      <a:gd name="T73" fmla="*/ 510 h 603"/>
                      <a:gd name="T74" fmla="*/ 360 w 792"/>
                      <a:gd name="T75" fmla="*/ 491 h 603"/>
                      <a:gd name="T76" fmla="*/ 372 w 792"/>
                      <a:gd name="T77" fmla="*/ 458 h 603"/>
                      <a:gd name="T78" fmla="*/ 387 w 792"/>
                      <a:gd name="T79" fmla="*/ 450 h 603"/>
                      <a:gd name="T80" fmla="*/ 405 w 792"/>
                      <a:gd name="T81" fmla="*/ 418 h 603"/>
                      <a:gd name="T82" fmla="*/ 382 w 792"/>
                      <a:gd name="T83" fmla="*/ 385 h 603"/>
                      <a:gd name="T84" fmla="*/ 331 w 792"/>
                      <a:gd name="T85" fmla="*/ 372 h 603"/>
                      <a:gd name="T86" fmla="*/ 324 w 792"/>
                      <a:gd name="T87" fmla="*/ 348 h 603"/>
                      <a:gd name="T88" fmla="*/ 329 w 792"/>
                      <a:gd name="T89" fmla="*/ 324 h 603"/>
                      <a:gd name="T90" fmla="*/ 296 w 792"/>
                      <a:gd name="T91" fmla="*/ 329 h 603"/>
                      <a:gd name="T92" fmla="*/ 262 w 792"/>
                      <a:gd name="T93" fmla="*/ 329 h 603"/>
                      <a:gd name="T94" fmla="*/ 249 w 792"/>
                      <a:gd name="T95" fmla="*/ 350 h 603"/>
                      <a:gd name="T96" fmla="*/ 241 w 792"/>
                      <a:gd name="T97" fmla="*/ 340 h 603"/>
                      <a:gd name="T98" fmla="*/ 234 w 792"/>
                      <a:gd name="T99" fmla="*/ 360 h 603"/>
                      <a:gd name="T100" fmla="*/ 193 w 792"/>
                      <a:gd name="T101" fmla="*/ 372 h 603"/>
                      <a:gd name="T102" fmla="*/ 171 w 792"/>
                      <a:gd name="T103" fmla="*/ 368 h 603"/>
                      <a:gd name="T104" fmla="*/ 163 w 792"/>
                      <a:gd name="T105" fmla="*/ 357 h 603"/>
                      <a:gd name="T106" fmla="*/ 129 w 792"/>
                      <a:gd name="T107" fmla="*/ 358 h 603"/>
                      <a:gd name="T108" fmla="*/ 108 w 792"/>
                      <a:gd name="T109" fmla="*/ 363 h 603"/>
                      <a:gd name="T110" fmla="*/ 83 w 792"/>
                      <a:gd name="T111" fmla="*/ 353 h 603"/>
                      <a:gd name="T112" fmla="*/ 45 w 792"/>
                      <a:gd name="T113" fmla="*/ 373 h 603"/>
                      <a:gd name="T114" fmla="*/ 40 w 792"/>
                      <a:gd name="T115" fmla="*/ 412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2" h="603">
                        <a:moveTo>
                          <a:pt x="31" y="415"/>
                        </a:moveTo>
                        <a:lnTo>
                          <a:pt x="25" y="403"/>
                        </a:lnTo>
                        <a:lnTo>
                          <a:pt x="21" y="393"/>
                        </a:lnTo>
                        <a:lnTo>
                          <a:pt x="18" y="390"/>
                        </a:lnTo>
                        <a:lnTo>
                          <a:pt x="18" y="380"/>
                        </a:lnTo>
                        <a:lnTo>
                          <a:pt x="20" y="372"/>
                        </a:lnTo>
                        <a:lnTo>
                          <a:pt x="23" y="367"/>
                        </a:lnTo>
                        <a:lnTo>
                          <a:pt x="25" y="357"/>
                        </a:lnTo>
                        <a:lnTo>
                          <a:pt x="18" y="347"/>
                        </a:lnTo>
                        <a:lnTo>
                          <a:pt x="13" y="344"/>
                        </a:lnTo>
                        <a:lnTo>
                          <a:pt x="10" y="337"/>
                        </a:lnTo>
                        <a:lnTo>
                          <a:pt x="5" y="327"/>
                        </a:lnTo>
                        <a:lnTo>
                          <a:pt x="0" y="320"/>
                        </a:lnTo>
                        <a:lnTo>
                          <a:pt x="5" y="312"/>
                        </a:lnTo>
                        <a:lnTo>
                          <a:pt x="13" y="305"/>
                        </a:lnTo>
                        <a:lnTo>
                          <a:pt x="13" y="302"/>
                        </a:lnTo>
                        <a:lnTo>
                          <a:pt x="13" y="287"/>
                        </a:lnTo>
                        <a:lnTo>
                          <a:pt x="15" y="274"/>
                        </a:lnTo>
                        <a:lnTo>
                          <a:pt x="15" y="260"/>
                        </a:lnTo>
                        <a:lnTo>
                          <a:pt x="11" y="254"/>
                        </a:lnTo>
                        <a:lnTo>
                          <a:pt x="16" y="245"/>
                        </a:lnTo>
                        <a:lnTo>
                          <a:pt x="30" y="247"/>
                        </a:lnTo>
                        <a:lnTo>
                          <a:pt x="40" y="245"/>
                        </a:lnTo>
                        <a:lnTo>
                          <a:pt x="53" y="240"/>
                        </a:lnTo>
                        <a:lnTo>
                          <a:pt x="60" y="239"/>
                        </a:lnTo>
                        <a:lnTo>
                          <a:pt x="56" y="229"/>
                        </a:lnTo>
                        <a:lnTo>
                          <a:pt x="60" y="226"/>
                        </a:lnTo>
                        <a:lnTo>
                          <a:pt x="70" y="226"/>
                        </a:lnTo>
                        <a:lnTo>
                          <a:pt x="78" y="222"/>
                        </a:lnTo>
                        <a:lnTo>
                          <a:pt x="81" y="219"/>
                        </a:lnTo>
                        <a:lnTo>
                          <a:pt x="90" y="222"/>
                        </a:lnTo>
                        <a:lnTo>
                          <a:pt x="98" y="229"/>
                        </a:lnTo>
                        <a:lnTo>
                          <a:pt x="108" y="232"/>
                        </a:lnTo>
                        <a:lnTo>
                          <a:pt x="121" y="234"/>
                        </a:lnTo>
                        <a:lnTo>
                          <a:pt x="141" y="232"/>
                        </a:lnTo>
                        <a:lnTo>
                          <a:pt x="156" y="229"/>
                        </a:lnTo>
                        <a:lnTo>
                          <a:pt x="169" y="226"/>
                        </a:lnTo>
                        <a:lnTo>
                          <a:pt x="183" y="221"/>
                        </a:lnTo>
                        <a:lnTo>
                          <a:pt x="193" y="222"/>
                        </a:lnTo>
                        <a:lnTo>
                          <a:pt x="198" y="227"/>
                        </a:lnTo>
                        <a:lnTo>
                          <a:pt x="206" y="227"/>
                        </a:lnTo>
                        <a:lnTo>
                          <a:pt x="211" y="217"/>
                        </a:lnTo>
                        <a:lnTo>
                          <a:pt x="219" y="219"/>
                        </a:lnTo>
                        <a:lnTo>
                          <a:pt x="227" y="221"/>
                        </a:lnTo>
                        <a:lnTo>
                          <a:pt x="239" y="217"/>
                        </a:lnTo>
                        <a:lnTo>
                          <a:pt x="256" y="214"/>
                        </a:lnTo>
                        <a:lnTo>
                          <a:pt x="264" y="209"/>
                        </a:lnTo>
                        <a:lnTo>
                          <a:pt x="269" y="201"/>
                        </a:lnTo>
                        <a:lnTo>
                          <a:pt x="276" y="199"/>
                        </a:lnTo>
                        <a:lnTo>
                          <a:pt x="294" y="211"/>
                        </a:lnTo>
                        <a:lnTo>
                          <a:pt x="302" y="204"/>
                        </a:lnTo>
                        <a:lnTo>
                          <a:pt x="331" y="197"/>
                        </a:lnTo>
                        <a:lnTo>
                          <a:pt x="352" y="189"/>
                        </a:lnTo>
                        <a:lnTo>
                          <a:pt x="360" y="186"/>
                        </a:lnTo>
                        <a:lnTo>
                          <a:pt x="370" y="179"/>
                        </a:lnTo>
                        <a:lnTo>
                          <a:pt x="379" y="176"/>
                        </a:lnTo>
                        <a:lnTo>
                          <a:pt x="382" y="177"/>
                        </a:lnTo>
                        <a:lnTo>
                          <a:pt x="389" y="179"/>
                        </a:lnTo>
                        <a:lnTo>
                          <a:pt x="392" y="179"/>
                        </a:lnTo>
                        <a:lnTo>
                          <a:pt x="400" y="182"/>
                        </a:lnTo>
                        <a:lnTo>
                          <a:pt x="410" y="191"/>
                        </a:lnTo>
                        <a:lnTo>
                          <a:pt x="417" y="192"/>
                        </a:lnTo>
                        <a:lnTo>
                          <a:pt x="429" y="191"/>
                        </a:lnTo>
                        <a:lnTo>
                          <a:pt x="437" y="186"/>
                        </a:lnTo>
                        <a:lnTo>
                          <a:pt x="452" y="181"/>
                        </a:lnTo>
                        <a:lnTo>
                          <a:pt x="462" y="182"/>
                        </a:lnTo>
                        <a:lnTo>
                          <a:pt x="472" y="184"/>
                        </a:lnTo>
                        <a:lnTo>
                          <a:pt x="485" y="177"/>
                        </a:lnTo>
                        <a:lnTo>
                          <a:pt x="488" y="181"/>
                        </a:lnTo>
                        <a:lnTo>
                          <a:pt x="498" y="177"/>
                        </a:lnTo>
                        <a:lnTo>
                          <a:pt x="505" y="171"/>
                        </a:lnTo>
                        <a:lnTo>
                          <a:pt x="510" y="162"/>
                        </a:lnTo>
                        <a:lnTo>
                          <a:pt x="518" y="162"/>
                        </a:lnTo>
                        <a:lnTo>
                          <a:pt x="520" y="156"/>
                        </a:lnTo>
                        <a:lnTo>
                          <a:pt x="517" y="149"/>
                        </a:lnTo>
                        <a:lnTo>
                          <a:pt x="520" y="141"/>
                        </a:lnTo>
                        <a:lnTo>
                          <a:pt x="542" y="116"/>
                        </a:lnTo>
                        <a:lnTo>
                          <a:pt x="558" y="98"/>
                        </a:lnTo>
                        <a:lnTo>
                          <a:pt x="570" y="89"/>
                        </a:lnTo>
                        <a:lnTo>
                          <a:pt x="562" y="81"/>
                        </a:lnTo>
                        <a:lnTo>
                          <a:pt x="557" y="76"/>
                        </a:lnTo>
                        <a:lnTo>
                          <a:pt x="562" y="71"/>
                        </a:lnTo>
                        <a:lnTo>
                          <a:pt x="568" y="71"/>
                        </a:lnTo>
                        <a:lnTo>
                          <a:pt x="566" y="74"/>
                        </a:lnTo>
                        <a:lnTo>
                          <a:pt x="568" y="79"/>
                        </a:lnTo>
                        <a:lnTo>
                          <a:pt x="575" y="79"/>
                        </a:lnTo>
                        <a:lnTo>
                          <a:pt x="576" y="81"/>
                        </a:lnTo>
                        <a:lnTo>
                          <a:pt x="581" y="79"/>
                        </a:lnTo>
                        <a:lnTo>
                          <a:pt x="588" y="76"/>
                        </a:lnTo>
                        <a:lnTo>
                          <a:pt x="593" y="78"/>
                        </a:lnTo>
                        <a:lnTo>
                          <a:pt x="598" y="78"/>
                        </a:lnTo>
                        <a:lnTo>
                          <a:pt x="616" y="66"/>
                        </a:lnTo>
                        <a:lnTo>
                          <a:pt x="628" y="61"/>
                        </a:lnTo>
                        <a:lnTo>
                          <a:pt x="670" y="38"/>
                        </a:lnTo>
                        <a:lnTo>
                          <a:pt x="693" y="26"/>
                        </a:lnTo>
                        <a:lnTo>
                          <a:pt x="706" y="24"/>
                        </a:lnTo>
                        <a:lnTo>
                          <a:pt x="721" y="21"/>
                        </a:lnTo>
                        <a:lnTo>
                          <a:pt x="734" y="5"/>
                        </a:lnTo>
                        <a:lnTo>
                          <a:pt x="756" y="3"/>
                        </a:lnTo>
                        <a:lnTo>
                          <a:pt x="763" y="5"/>
                        </a:lnTo>
                        <a:lnTo>
                          <a:pt x="771" y="0"/>
                        </a:lnTo>
                        <a:lnTo>
                          <a:pt x="778" y="0"/>
                        </a:lnTo>
                        <a:lnTo>
                          <a:pt x="778" y="6"/>
                        </a:lnTo>
                        <a:lnTo>
                          <a:pt x="773" y="15"/>
                        </a:lnTo>
                        <a:lnTo>
                          <a:pt x="759" y="28"/>
                        </a:lnTo>
                        <a:lnTo>
                          <a:pt x="758" y="36"/>
                        </a:lnTo>
                        <a:lnTo>
                          <a:pt x="754" y="41"/>
                        </a:lnTo>
                        <a:lnTo>
                          <a:pt x="759" y="44"/>
                        </a:lnTo>
                        <a:lnTo>
                          <a:pt x="763" y="56"/>
                        </a:lnTo>
                        <a:lnTo>
                          <a:pt x="771" y="68"/>
                        </a:lnTo>
                        <a:lnTo>
                          <a:pt x="773" y="71"/>
                        </a:lnTo>
                        <a:lnTo>
                          <a:pt x="771" y="79"/>
                        </a:lnTo>
                        <a:lnTo>
                          <a:pt x="771" y="83"/>
                        </a:lnTo>
                        <a:lnTo>
                          <a:pt x="776" y="89"/>
                        </a:lnTo>
                        <a:lnTo>
                          <a:pt x="778" y="83"/>
                        </a:lnTo>
                        <a:lnTo>
                          <a:pt x="784" y="76"/>
                        </a:lnTo>
                        <a:lnTo>
                          <a:pt x="789" y="78"/>
                        </a:lnTo>
                        <a:lnTo>
                          <a:pt x="792" y="84"/>
                        </a:lnTo>
                        <a:lnTo>
                          <a:pt x="792" y="89"/>
                        </a:lnTo>
                        <a:lnTo>
                          <a:pt x="788" y="91"/>
                        </a:lnTo>
                        <a:lnTo>
                          <a:pt x="786" y="98"/>
                        </a:lnTo>
                        <a:lnTo>
                          <a:pt x="778" y="103"/>
                        </a:lnTo>
                        <a:lnTo>
                          <a:pt x="771" y="104"/>
                        </a:lnTo>
                        <a:lnTo>
                          <a:pt x="766" y="106"/>
                        </a:lnTo>
                        <a:lnTo>
                          <a:pt x="758" y="108"/>
                        </a:lnTo>
                        <a:lnTo>
                          <a:pt x="753" y="113"/>
                        </a:lnTo>
                        <a:lnTo>
                          <a:pt x="743" y="113"/>
                        </a:lnTo>
                        <a:lnTo>
                          <a:pt x="736" y="111"/>
                        </a:lnTo>
                        <a:lnTo>
                          <a:pt x="731" y="113"/>
                        </a:lnTo>
                        <a:lnTo>
                          <a:pt x="726" y="123"/>
                        </a:lnTo>
                        <a:lnTo>
                          <a:pt x="726" y="129"/>
                        </a:lnTo>
                        <a:lnTo>
                          <a:pt x="716" y="134"/>
                        </a:lnTo>
                        <a:lnTo>
                          <a:pt x="708" y="139"/>
                        </a:lnTo>
                        <a:lnTo>
                          <a:pt x="699" y="146"/>
                        </a:lnTo>
                        <a:lnTo>
                          <a:pt x="693" y="147"/>
                        </a:lnTo>
                        <a:lnTo>
                          <a:pt x="684" y="154"/>
                        </a:lnTo>
                        <a:lnTo>
                          <a:pt x="675" y="164"/>
                        </a:lnTo>
                        <a:lnTo>
                          <a:pt x="668" y="169"/>
                        </a:lnTo>
                        <a:lnTo>
                          <a:pt x="665" y="164"/>
                        </a:lnTo>
                        <a:lnTo>
                          <a:pt x="658" y="164"/>
                        </a:lnTo>
                        <a:lnTo>
                          <a:pt x="655" y="169"/>
                        </a:lnTo>
                        <a:lnTo>
                          <a:pt x="650" y="177"/>
                        </a:lnTo>
                        <a:lnTo>
                          <a:pt x="648" y="187"/>
                        </a:lnTo>
                        <a:lnTo>
                          <a:pt x="641" y="192"/>
                        </a:lnTo>
                        <a:lnTo>
                          <a:pt x="633" y="197"/>
                        </a:lnTo>
                        <a:lnTo>
                          <a:pt x="626" y="201"/>
                        </a:lnTo>
                        <a:lnTo>
                          <a:pt x="621" y="199"/>
                        </a:lnTo>
                        <a:lnTo>
                          <a:pt x="615" y="207"/>
                        </a:lnTo>
                        <a:lnTo>
                          <a:pt x="608" y="209"/>
                        </a:lnTo>
                        <a:lnTo>
                          <a:pt x="603" y="216"/>
                        </a:lnTo>
                        <a:lnTo>
                          <a:pt x="600" y="226"/>
                        </a:lnTo>
                        <a:lnTo>
                          <a:pt x="596" y="234"/>
                        </a:lnTo>
                        <a:lnTo>
                          <a:pt x="591" y="240"/>
                        </a:lnTo>
                        <a:lnTo>
                          <a:pt x="586" y="245"/>
                        </a:lnTo>
                        <a:lnTo>
                          <a:pt x="583" y="242"/>
                        </a:lnTo>
                        <a:lnTo>
                          <a:pt x="585" y="237"/>
                        </a:lnTo>
                        <a:lnTo>
                          <a:pt x="585" y="232"/>
                        </a:lnTo>
                        <a:lnTo>
                          <a:pt x="581" y="231"/>
                        </a:lnTo>
                        <a:lnTo>
                          <a:pt x="576" y="239"/>
                        </a:lnTo>
                        <a:lnTo>
                          <a:pt x="571" y="247"/>
                        </a:lnTo>
                        <a:lnTo>
                          <a:pt x="570" y="252"/>
                        </a:lnTo>
                        <a:lnTo>
                          <a:pt x="565" y="264"/>
                        </a:lnTo>
                        <a:lnTo>
                          <a:pt x="558" y="274"/>
                        </a:lnTo>
                        <a:lnTo>
                          <a:pt x="552" y="284"/>
                        </a:lnTo>
                        <a:lnTo>
                          <a:pt x="550" y="292"/>
                        </a:lnTo>
                        <a:lnTo>
                          <a:pt x="552" y="297"/>
                        </a:lnTo>
                        <a:lnTo>
                          <a:pt x="553" y="304"/>
                        </a:lnTo>
                        <a:lnTo>
                          <a:pt x="550" y="309"/>
                        </a:lnTo>
                        <a:lnTo>
                          <a:pt x="550" y="315"/>
                        </a:lnTo>
                        <a:lnTo>
                          <a:pt x="557" y="320"/>
                        </a:lnTo>
                        <a:lnTo>
                          <a:pt x="553" y="325"/>
                        </a:lnTo>
                        <a:lnTo>
                          <a:pt x="548" y="332"/>
                        </a:lnTo>
                        <a:lnTo>
                          <a:pt x="545" y="335"/>
                        </a:lnTo>
                        <a:lnTo>
                          <a:pt x="543" y="339"/>
                        </a:lnTo>
                        <a:lnTo>
                          <a:pt x="540" y="337"/>
                        </a:lnTo>
                        <a:lnTo>
                          <a:pt x="535" y="335"/>
                        </a:lnTo>
                        <a:lnTo>
                          <a:pt x="532" y="340"/>
                        </a:lnTo>
                        <a:lnTo>
                          <a:pt x="530" y="339"/>
                        </a:lnTo>
                        <a:lnTo>
                          <a:pt x="530" y="327"/>
                        </a:lnTo>
                        <a:lnTo>
                          <a:pt x="530" y="322"/>
                        </a:lnTo>
                        <a:lnTo>
                          <a:pt x="527" y="320"/>
                        </a:lnTo>
                        <a:lnTo>
                          <a:pt x="525" y="324"/>
                        </a:lnTo>
                        <a:lnTo>
                          <a:pt x="517" y="330"/>
                        </a:lnTo>
                        <a:lnTo>
                          <a:pt x="513" y="340"/>
                        </a:lnTo>
                        <a:lnTo>
                          <a:pt x="508" y="340"/>
                        </a:lnTo>
                        <a:lnTo>
                          <a:pt x="497" y="357"/>
                        </a:lnTo>
                        <a:lnTo>
                          <a:pt x="488" y="368"/>
                        </a:lnTo>
                        <a:lnTo>
                          <a:pt x="482" y="372"/>
                        </a:lnTo>
                        <a:lnTo>
                          <a:pt x="477" y="382"/>
                        </a:lnTo>
                        <a:lnTo>
                          <a:pt x="475" y="390"/>
                        </a:lnTo>
                        <a:lnTo>
                          <a:pt x="477" y="393"/>
                        </a:lnTo>
                        <a:lnTo>
                          <a:pt x="485" y="397"/>
                        </a:lnTo>
                        <a:lnTo>
                          <a:pt x="492" y="400"/>
                        </a:lnTo>
                        <a:lnTo>
                          <a:pt x="495" y="408"/>
                        </a:lnTo>
                        <a:lnTo>
                          <a:pt x="493" y="415"/>
                        </a:lnTo>
                        <a:lnTo>
                          <a:pt x="485" y="425"/>
                        </a:lnTo>
                        <a:lnTo>
                          <a:pt x="478" y="428"/>
                        </a:lnTo>
                        <a:lnTo>
                          <a:pt x="480" y="433"/>
                        </a:lnTo>
                        <a:lnTo>
                          <a:pt x="477" y="440"/>
                        </a:lnTo>
                        <a:lnTo>
                          <a:pt x="475" y="445"/>
                        </a:lnTo>
                        <a:lnTo>
                          <a:pt x="470" y="450"/>
                        </a:lnTo>
                        <a:lnTo>
                          <a:pt x="470" y="456"/>
                        </a:lnTo>
                        <a:lnTo>
                          <a:pt x="475" y="456"/>
                        </a:lnTo>
                        <a:lnTo>
                          <a:pt x="475" y="463"/>
                        </a:lnTo>
                        <a:lnTo>
                          <a:pt x="473" y="470"/>
                        </a:lnTo>
                        <a:lnTo>
                          <a:pt x="468" y="478"/>
                        </a:lnTo>
                        <a:lnTo>
                          <a:pt x="457" y="486"/>
                        </a:lnTo>
                        <a:lnTo>
                          <a:pt x="450" y="493"/>
                        </a:lnTo>
                        <a:lnTo>
                          <a:pt x="450" y="498"/>
                        </a:lnTo>
                        <a:lnTo>
                          <a:pt x="455" y="503"/>
                        </a:lnTo>
                        <a:lnTo>
                          <a:pt x="455" y="511"/>
                        </a:lnTo>
                        <a:lnTo>
                          <a:pt x="448" y="516"/>
                        </a:lnTo>
                        <a:lnTo>
                          <a:pt x="448" y="528"/>
                        </a:lnTo>
                        <a:lnTo>
                          <a:pt x="453" y="535"/>
                        </a:lnTo>
                        <a:lnTo>
                          <a:pt x="457" y="545"/>
                        </a:lnTo>
                        <a:lnTo>
                          <a:pt x="453" y="555"/>
                        </a:lnTo>
                        <a:lnTo>
                          <a:pt x="447" y="558"/>
                        </a:lnTo>
                        <a:lnTo>
                          <a:pt x="442" y="558"/>
                        </a:lnTo>
                        <a:lnTo>
                          <a:pt x="437" y="558"/>
                        </a:lnTo>
                        <a:lnTo>
                          <a:pt x="432" y="558"/>
                        </a:lnTo>
                        <a:lnTo>
                          <a:pt x="429" y="561"/>
                        </a:lnTo>
                        <a:lnTo>
                          <a:pt x="425" y="563"/>
                        </a:lnTo>
                        <a:lnTo>
                          <a:pt x="425" y="558"/>
                        </a:lnTo>
                        <a:lnTo>
                          <a:pt x="422" y="555"/>
                        </a:lnTo>
                        <a:lnTo>
                          <a:pt x="420" y="546"/>
                        </a:lnTo>
                        <a:lnTo>
                          <a:pt x="417" y="541"/>
                        </a:lnTo>
                        <a:lnTo>
                          <a:pt x="414" y="545"/>
                        </a:lnTo>
                        <a:lnTo>
                          <a:pt x="414" y="551"/>
                        </a:lnTo>
                        <a:lnTo>
                          <a:pt x="412" y="561"/>
                        </a:lnTo>
                        <a:lnTo>
                          <a:pt x="409" y="566"/>
                        </a:lnTo>
                        <a:lnTo>
                          <a:pt x="402" y="571"/>
                        </a:lnTo>
                        <a:lnTo>
                          <a:pt x="400" y="581"/>
                        </a:lnTo>
                        <a:lnTo>
                          <a:pt x="395" y="586"/>
                        </a:lnTo>
                        <a:lnTo>
                          <a:pt x="390" y="586"/>
                        </a:lnTo>
                        <a:lnTo>
                          <a:pt x="389" y="599"/>
                        </a:lnTo>
                        <a:lnTo>
                          <a:pt x="385" y="603"/>
                        </a:lnTo>
                        <a:lnTo>
                          <a:pt x="380" y="601"/>
                        </a:lnTo>
                        <a:lnTo>
                          <a:pt x="375" y="603"/>
                        </a:lnTo>
                        <a:lnTo>
                          <a:pt x="372" y="599"/>
                        </a:lnTo>
                        <a:lnTo>
                          <a:pt x="375" y="598"/>
                        </a:lnTo>
                        <a:lnTo>
                          <a:pt x="375" y="596"/>
                        </a:lnTo>
                        <a:lnTo>
                          <a:pt x="377" y="589"/>
                        </a:lnTo>
                        <a:lnTo>
                          <a:pt x="374" y="588"/>
                        </a:lnTo>
                        <a:lnTo>
                          <a:pt x="370" y="586"/>
                        </a:lnTo>
                        <a:lnTo>
                          <a:pt x="365" y="588"/>
                        </a:lnTo>
                        <a:lnTo>
                          <a:pt x="359" y="589"/>
                        </a:lnTo>
                        <a:lnTo>
                          <a:pt x="357" y="586"/>
                        </a:lnTo>
                        <a:lnTo>
                          <a:pt x="349" y="583"/>
                        </a:lnTo>
                        <a:lnTo>
                          <a:pt x="347" y="578"/>
                        </a:lnTo>
                        <a:lnTo>
                          <a:pt x="349" y="571"/>
                        </a:lnTo>
                        <a:lnTo>
                          <a:pt x="350" y="566"/>
                        </a:lnTo>
                        <a:lnTo>
                          <a:pt x="349" y="560"/>
                        </a:lnTo>
                        <a:lnTo>
                          <a:pt x="352" y="556"/>
                        </a:lnTo>
                        <a:lnTo>
                          <a:pt x="347" y="553"/>
                        </a:lnTo>
                        <a:lnTo>
                          <a:pt x="345" y="550"/>
                        </a:lnTo>
                        <a:lnTo>
                          <a:pt x="344" y="543"/>
                        </a:lnTo>
                        <a:lnTo>
                          <a:pt x="344" y="536"/>
                        </a:lnTo>
                        <a:lnTo>
                          <a:pt x="344" y="526"/>
                        </a:lnTo>
                        <a:lnTo>
                          <a:pt x="349" y="510"/>
                        </a:lnTo>
                        <a:lnTo>
                          <a:pt x="349" y="501"/>
                        </a:lnTo>
                        <a:lnTo>
                          <a:pt x="342" y="495"/>
                        </a:lnTo>
                        <a:lnTo>
                          <a:pt x="339" y="490"/>
                        </a:lnTo>
                        <a:lnTo>
                          <a:pt x="340" y="483"/>
                        </a:lnTo>
                        <a:lnTo>
                          <a:pt x="352" y="481"/>
                        </a:lnTo>
                        <a:lnTo>
                          <a:pt x="354" y="486"/>
                        </a:lnTo>
                        <a:lnTo>
                          <a:pt x="360" y="491"/>
                        </a:lnTo>
                        <a:lnTo>
                          <a:pt x="367" y="491"/>
                        </a:lnTo>
                        <a:lnTo>
                          <a:pt x="375" y="485"/>
                        </a:lnTo>
                        <a:lnTo>
                          <a:pt x="372" y="480"/>
                        </a:lnTo>
                        <a:lnTo>
                          <a:pt x="365" y="475"/>
                        </a:lnTo>
                        <a:lnTo>
                          <a:pt x="364" y="468"/>
                        </a:lnTo>
                        <a:lnTo>
                          <a:pt x="367" y="461"/>
                        </a:lnTo>
                        <a:lnTo>
                          <a:pt x="372" y="458"/>
                        </a:lnTo>
                        <a:lnTo>
                          <a:pt x="372" y="456"/>
                        </a:lnTo>
                        <a:lnTo>
                          <a:pt x="379" y="456"/>
                        </a:lnTo>
                        <a:lnTo>
                          <a:pt x="379" y="455"/>
                        </a:lnTo>
                        <a:lnTo>
                          <a:pt x="375" y="452"/>
                        </a:lnTo>
                        <a:lnTo>
                          <a:pt x="375" y="450"/>
                        </a:lnTo>
                        <a:lnTo>
                          <a:pt x="382" y="450"/>
                        </a:lnTo>
                        <a:lnTo>
                          <a:pt x="387" y="450"/>
                        </a:lnTo>
                        <a:lnTo>
                          <a:pt x="392" y="447"/>
                        </a:lnTo>
                        <a:lnTo>
                          <a:pt x="394" y="443"/>
                        </a:lnTo>
                        <a:lnTo>
                          <a:pt x="394" y="442"/>
                        </a:lnTo>
                        <a:lnTo>
                          <a:pt x="399" y="435"/>
                        </a:lnTo>
                        <a:lnTo>
                          <a:pt x="402" y="428"/>
                        </a:lnTo>
                        <a:lnTo>
                          <a:pt x="404" y="423"/>
                        </a:lnTo>
                        <a:lnTo>
                          <a:pt x="405" y="418"/>
                        </a:lnTo>
                        <a:lnTo>
                          <a:pt x="397" y="413"/>
                        </a:lnTo>
                        <a:lnTo>
                          <a:pt x="382" y="405"/>
                        </a:lnTo>
                        <a:lnTo>
                          <a:pt x="379" y="402"/>
                        </a:lnTo>
                        <a:lnTo>
                          <a:pt x="379" y="397"/>
                        </a:lnTo>
                        <a:lnTo>
                          <a:pt x="390" y="388"/>
                        </a:lnTo>
                        <a:lnTo>
                          <a:pt x="387" y="385"/>
                        </a:lnTo>
                        <a:lnTo>
                          <a:pt x="382" y="385"/>
                        </a:lnTo>
                        <a:lnTo>
                          <a:pt x="377" y="388"/>
                        </a:lnTo>
                        <a:lnTo>
                          <a:pt x="372" y="382"/>
                        </a:lnTo>
                        <a:lnTo>
                          <a:pt x="357" y="372"/>
                        </a:lnTo>
                        <a:lnTo>
                          <a:pt x="354" y="367"/>
                        </a:lnTo>
                        <a:lnTo>
                          <a:pt x="349" y="367"/>
                        </a:lnTo>
                        <a:lnTo>
                          <a:pt x="337" y="368"/>
                        </a:lnTo>
                        <a:lnTo>
                          <a:pt x="331" y="372"/>
                        </a:lnTo>
                        <a:lnTo>
                          <a:pt x="326" y="373"/>
                        </a:lnTo>
                        <a:lnTo>
                          <a:pt x="326" y="377"/>
                        </a:lnTo>
                        <a:lnTo>
                          <a:pt x="321" y="372"/>
                        </a:lnTo>
                        <a:lnTo>
                          <a:pt x="319" y="365"/>
                        </a:lnTo>
                        <a:lnTo>
                          <a:pt x="319" y="358"/>
                        </a:lnTo>
                        <a:lnTo>
                          <a:pt x="322" y="352"/>
                        </a:lnTo>
                        <a:lnTo>
                          <a:pt x="324" y="348"/>
                        </a:lnTo>
                        <a:lnTo>
                          <a:pt x="324" y="340"/>
                        </a:lnTo>
                        <a:lnTo>
                          <a:pt x="317" y="340"/>
                        </a:lnTo>
                        <a:lnTo>
                          <a:pt x="317" y="337"/>
                        </a:lnTo>
                        <a:lnTo>
                          <a:pt x="321" y="332"/>
                        </a:lnTo>
                        <a:lnTo>
                          <a:pt x="326" y="330"/>
                        </a:lnTo>
                        <a:lnTo>
                          <a:pt x="329" y="327"/>
                        </a:lnTo>
                        <a:lnTo>
                          <a:pt x="329" y="324"/>
                        </a:lnTo>
                        <a:lnTo>
                          <a:pt x="331" y="322"/>
                        </a:lnTo>
                        <a:lnTo>
                          <a:pt x="327" y="319"/>
                        </a:lnTo>
                        <a:lnTo>
                          <a:pt x="321" y="320"/>
                        </a:lnTo>
                        <a:lnTo>
                          <a:pt x="314" y="324"/>
                        </a:lnTo>
                        <a:lnTo>
                          <a:pt x="311" y="327"/>
                        </a:lnTo>
                        <a:lnTo>
                          <a:pt x="306" y="325"/>
                        </a:lnTo>
                        <a:lnTo>
                          <a:pt x="296" y="329"/>
                        </a:lnTo>
                        <a:lnTo>
                          <a:pt x="289" y="329"/>
                        </a:lnTo>
                        <a:lnTo>
                          <a:pt x="287" y="330"/>
                        </a:lnTo>
                        <a:lnTo>
                          <a:pt x="281" y="329"/>
                        </a:lnTo>
                        <a:lnTo>
                          <a:pt x="281" y="325"/>
                        </a:lnTo>
                        <a:lnTo>
                          <a:pt x="276" y="322"/>
                        </a:lnTo>
                        <a:lnTo>
                          <a:pt x="271" y="322"/>
                        </a:lnTo>
                        <a:lnTo>
                          <a:pt x="262" y="329"/>
                        </a:lnTo>
                        <a:lnTo>
                          <a:pt x="261" y="337"/>
                        </a:lnTo>
                        <a:lnTo>
                          <a:pt x="262" y="340"/>
                        </a:lnTo>
                        <a:lnTo>
                          <a:pt x="259" y="347"/>
                        </a:lnTo>
                        <a:lnTo>
                          <a:pt x="257" y="350"/>
                        </a:lnTo>
                        <a:lnTo>
                          <a:pt x="254" y="350"/>
                        </a:lnTo>
                        <a:lnTo>
                          <a:pt x="252" y="350"/>
                        </a:lnTo>
                        <a:lnTo>
                          <a:pt x="249" y="350"/>
                        </a:lnTo>
                        <a:lnTo>
                          <a:pt x="249" y="347"/>
                        </a:lnTo>
                        <a:lnTo>
                          <a:pt x="249" y="344"/>
                        </a:lnTo>
                        <a:lnTo>
                          <a:pt x="251" y="339"/>
                        </a:lnTo>
                        <a:lnTo>
                          <a:pt x="249" y="337"/>
                        </a:lnTo>
                        <a:lnTo>
                          <a:pt x="242" y="334"/>
                        </a:lnTo>
                        <a:lnTo>
                          <a:pt x="239" y="339"/>
                        </a:lnTo>
                        <a:lnTo>
                          <a:pt x="241" y="340"/>
                        </a:lnTo>
                        <a:lnTo>
                          <a:pt x="231" y="348"/>
                        </a:lnTo>
                        <a:lnTo>
                          <a:pt x="227" y="353"/>
                        </a:lnTo>
                        <a:lnTo>
                          <a:pt x="231" y="357"/>
                        </a:lnTo>
                        <a:lnTo>
                          <a:pt x="234" y="355"/>
                        </a:lnTo>
                        <a:lnTo>
                          <a:pt x="236" y="357"/>
                        </a:lnTo>
                        <a:lnTo>
                          <a:pt x="239" y="358"/>
                        </a:lnTo>
                        <a:lnTo>
                          <a:pt x="234" y="360"/>
                        </a:lnTo>
                        <a:lnTo>
                          <a:pt x="229" y="360"/>
                        </a:lnTo>
                        <a:lnTo>
                          <a:pt x="214" y="363"/>
                        </a:lnTo>
                        <a:lnTo>
                          <a:pt x="204" y="372"/>
                        </a:lnTo>
                        <a:lnTo>
                          <a:pt x="204" y="378"/>
                        </a:lnTo>
                        <a:lnTo>
                          <a:pt x="199" y="382"/>
                        </a:lnTo>
                        <a:lnTo>
                          <a:pt x="194" y="378"/>
                        </a:lnTo>
                        <a:lnTo>
                          <a:pt x="193" y="372"/>
                        </a:lnTo>
                        <a:lnTo>
                          <a:pt x="196" y="370"/>
                        </a:lnTo>
                        <a:lnTo>
                          <a:pt x="194" y="360"/>
                        </a:lnTo>
                        <a:lnTo>
                          <a:pt x="188" y="363"/>
                        </a:lnTo>
                        <a:lnTo>
                          <a:pt x="183" y="367"/>
                        </a:lnTo>
                        <a:lnTo>
                          <a:pt x="179" y="372"/>
                        </a:lnTo>
                        <a:lnTo>
                          <a:pt x="176" y="370"/>
                        </a:lnTo>
                        <a:lnTo>
                          <a:pt x="171" y="368"/>
                        </a:lnTo>
                        <a:lnTo>
                          <a:pt x="171" y="365"/>
                        </a:lnTo>
                        <a:lnTo>
                          <a:pt x="173" y="360"/>
                        </a:lnTo>
                        <a:lnTo>
                          <a:pt x="174" y="357"/>
                        </a:lnTo>
                        <a:lnTo>
                          <a:pt x="171" y="357"/>
                        </a:lnTo>
                        <a:lnTo>
                          <a:pt x="168" y="360"/>
                        </a:lnTo>
                        <a:lnTo>
                          <a:pt x="163" y="358"/>
                        </a:lnTo>
                        <a:lnTo>
                          <a:pt x="163" y="357"/>
                        </a:lnTo>
                        <a:lnTo>
                          <a:pt x="158" y="355"/>
                        </a:lnTo>
                        <a:lnTo>
                          <a:pt x="154" y="355"/>
                        </a:lnTo>
                        <a:lnTo>
                          <a:pt x="149" y="355"/>
                        </a:lnTo>
                        <a:lnTo>
                          <a:pt x="143" y="358"/>
                        </a:lnTo>
                        <a:lnTo>
                          <a:pt x="138" y="362"/>
                        </a:lnTo>
                        <a:lnTo>
                          <a:pt x="133" y="355"/>
                        </a:lnTo>
                        <a:lnTo>
                          <a:pt x="129" y="358"/>
                        </a:lnTo>
                        <a:lnTo>
                          <a:pt x="126" y="357"/>
                        </a:lnTo>
                        <a:lnTo>
                          <a:pt x="121" y="358"/>
                        </a:lnTo>
                        <a:lnTo>
                          <a:pt x="119" y="358"/>
                        </a:lnTo>
                        <a:lnTo>
                          <a:pt x="116" y="353"/>
                        </a:lnTo>
                        <a:lnTo>
                          <a:pt x="113" y="355"/>
                        </a:lnTo>
                        <a:lnTo>
                          <a:pt x="111" y="362"/>
                        </a:lnTo>
                        <a:lnTo>
                          <a:pt x="108" y="363"/>
                        </a:lnTo>
                        <a:lnTo>
                          <a:pt x="106" y="360"/>
                        </a:lnTo>
                        <a:lnTo>
                          <a:pt x="104" y="357"/>
                        </a:lnTo>
                        <a:lnTo>
                          <a:pt x="106" y="353"/>
                        </a:lnTo>
                        <a:lnTo>
                          <a:pt x="101" y="350"/>
                        </a:lnTo>
                        <a:lnTo>
                          <a:pt x="93" y="350"/>
                        </a:lnTo>
                        <a:lnTo>
                          <a:pt x="88" y="353"/>
                        </a:lnTo>
                        <a:lnTo>
                          <a:pt x="83" y="353"/>
                        </a:lnTo>
                        <a:lnTo>
                          <a:pt x="76" y="355"/>
                        </a:lnTo>
                        <a:lnTo>
                          <a:pt x="71" y="355"/>
                        </a:lnTo>
                        <a:lnTo>
                          <a:pt x="66" y="357"/>
                        </a:lnTo>
                        <a:lnTo>
                          <a:pt x="60" y="360"/>
                        </a:lnTo>
                        <a:lnTo>
                          <a:pt x="55" y="363"/>
                        </a:lnTo>
                        <a:lnTo>
                          <a:pt x="48" y="367"/>
                        </a:lnTo>
                        <a:lnTo>
                          <a:pt x="45" y="373"/>
                        </a:lnTo>
                        <a:lnTo>
                          <a:pt x="38" y="373"/>
                        </a:lnTo>
                        <a:lnTo>
                          <a:pt x="38" y="382"/>
                        </a:lnTo>
                        <a:lnTo>
                          <a:pt x="38" y="388"/>
                        </a:lnTo>
                        <a:lnTo>
                          <a:pt x="38" y="393"/>
                        </a:lnTo>
                        <a:lnTo>
                          <a:pt x="38" y="400"/>
                        </a:lnTo>
                        <a:lnTo>
                          <a:pt x="41" y="403"/>
                        </a:lnTo>
                        <a:lnTo>
                          <a:pt x="40" y="412"/>
                        </a:lnTo>
                        <a:lnTo>
                          <a:pt x="35" y="415"/>
                        </a:lnTo>
                        <a:lnTo>
                          <a:pt x="31" y="415"/>
                        </a:lnTo>
                        <a:lnTo>
                          <a:pt x="31" y="415"/>
                        </a:lnTo>
                        <a:lnTo>
                          <a:pt x="31" y="415"/>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19" name="Freeform 1070">
                    <a:extLst>
                      <a:ext uri="{FF2B5EF4-FFF2-40B4-BE49-F238E27FC236}">
                        <a16:creationId xmlns:a16="http://schemas.microsoft.com/office/drawing/2014/main" id="{15F81434-649B-4847-9B6A-27214D068E73}"/>
                      </a:ext>
                    </a:extLst>
                  </p:cNvPr>
                  <p:cNvSpPr>
                    <a:spLocks/>
                  </p:cNvSpPr>
                  <p:nvPr/>
                </p:nvSpPr>
                <p:spPr bwMode="auto">
                  <a:xfrm>
                    <a:off x="5994727" y="3395053"/>
                    <a:ext cx="181692" cy="301161"/>
                  </a:xfrm>
                  <a:custGeom>
                    <a:avLst/>
                    <a:gdLst>
                      <a:gd name="T0" fmla="*/ 126 w 146"/>
                      <a:gd name="T1" fmla="*/ 6 h 242"/>
                      <a:gd name="T2" fmla="*/ 129 w 146"/>
                      <a:gd name="T3" fmla="*/ 16 h 242"/>
                      <a:gd name="T4" fmla="*/ 131 w 146"/>
                      <a:gd name="T5" fmla="*/ 25 h 242"/>
                      <a:gd name="T6" fmla="*/ 129 w 146"/>
                      <a:gd name="T7" fmla="*/ 41 h 242"/>
                      <a:gd name="T8" fmla="*/ 139 w 146"/>
                      <a:gd name="T9" fmla="*/ 49 h 242"/>
                      <a:gd name="T10" fmla="*/ 146 w 146"/>
                      <a:gd name="T11" fmla="*/ 53 h 242"/>
                      <a:gd name="T12" fmla="*/ 142 w 146"/>
                      <a:gd name="T13" fmla="*/ 61 h 242"/>
                      <a:gd name="T14" fmla="*/ 146 w 146"/>
                      <a:gd name="T15" fmla="*/ 103 h 242"/>
                      <a:gd name="T16" fmla="*/ 142 w 146"/>
                      <a:gd name="T17" fmla="*/ 119 h 242"/>
                      <a:gd name="T18" fmla="*/ 136 w 146"/>
                      <a:gd name="T19" fmla="*/ 129 h 242"/>
                      <a:gd name="T20" fmla="*/ 122 w 146"/>
                      <a:gd name="T21" fmla="*/ 129 h 242"/>
                      <a:gd name="T22" fmla="*/ 109 w 146"/>
                      <a:gd name="T23" fmla="*/ 133 h 242"/>
                      <a:gd name="T24" fmla="*/ 101 w 146"/>
                      <a:gd name="T25" fmla="*/ 126 h 242"/>
                      <a:gd name="T26" fmla="*/ 99 w 146"/>
                      <a:gd name="T27" fmla="*/ 141 h 242"/>
                      <a:gd name="T28" fmla="*/ 106 w 146"/>
                      <a:gd name="T29" fmla="*/ 157 h 242"/>
                      <a:gd name="T30" fmla="*/ 93 w 146"/>
                      <a:gd name="T31" fmla="*/ 172 h 242"/>
                      <a:gd name="T32" fmla="*/ 84 w 146"/>
                      <a:gd name="T33" fmla="*/ 191 h 242"/>
                      <a:gd name="T34" fmla="*/ 94 w 146"/>
                      <a:gd name="T35" fmla="*/ 212 h 242"/>
                      <a:gd name="T36" fmla="*/ 83 w 146"/>
                      <a:gd name="T37" fmla="*/ 232 h 242"/>
                      <a:gd name="T38" fmla="*/ 71 w 146"/>
                      <a:gd name="T39" fmla="*/ 242 h 242"/>
                      <a:gd name="T40" fmla="*/ 58 w 146"/>
                      <a:gd name="T41" fmla="*/ 232 h 242"/>
                      <a:gd name="T42" fmla="*/ 54 w 146"/>
                      <a:gd name="T43" fmla="*/ 219 h 242"/>
                      <a:gd name="T44" fmla="*/ 39 w 146"/>
                      <a:gd name="T45" fmla="*/ 197 h 242"/>
                      <a:gd name="T46" fmla="*/ 34 w 146"/>
                      <a:gd name="T47" fmla="*/ 204 h 242"/>
                      <a:gd name="T48" fmla="*/ 36 w 146"/>
                      <a:gd name="T49" fmla="*/ 216 h 242"/>
                      <a:gd name="T50" fmla="*/ 38 w 146"/>
                      <a:gd name="T51" fmla="*/ 227 h 242"/>
                      <a:gd name="T52" fmla="*/ 29 w 146"/>
                      <a:gd name="T53" fmla="*/ 221 h 242"/>
                      <a:gd name="T54" fmla="*/ 26 w 146"/>
                      <a:gd name="T55" fmla="*/ 207 h 242"/>
                      <a:gd name="T56" fmla="*/ 21 w 146"/>
                      <a:gd name="T57" fmla="*/ 189 h 242"/>
                      <a:gd name="T58" fmla="*/ 13 w 146"/>
                      <a:gd name="T59" fmla="*/ 169 h 242"/>
                      <a:gd name="T60" fmla="*/ 0 w 146"/>
                      <a:gd name="T61" fmla="*/ 152 h 242"/>
                      <a:gd name="T62" fmla="*/ 0 w 146"/>
                      <a:gd name="T63" fmla="*/ 141 h 242"/>
                      <a:gd name="T64" fmla="*/ 1 w 146"/>
                      <a:gd name="T65" fmla="*/ 128 h 242"/>
                      <a:gd name="T66" fmla="*/ 8 w 146"/>
                      <a:gd name="T67" fmla="*/ 111 h 242"/>
                      <a:gd name="T68" fmla="*/ 11 w 146"/>
                      <a:gd name="T69" fmla="*/ 99 h 242"/>
                      <a:gd name="T70" fmla="*/ 23 w 146"/>
                      <a:gd name="T71" fmla="*/ 88 h 242"/>
                      <a:gd name="T72" fmla="*/ 26 w 146"/>
                      <a:gd name="T73" fmla="*/ 71 h 242"/>
                      <a:gd name="T74" fmla="*/ 39 w 146"/>
                      <a:gd name="T75" fmla="*/ 79 h 242"/>
                      <a:gd name="T76" fmla="*/ 54 w 146"/>
                      <a:gd name="T77" fmla="*/ 69 h 242"/>
                      <a:gd name="T78" fmla="*/ 63 w 146"/>
                      <a:gd name="T79" fmla="*/ 61 h 242"/>
                      <a:gd name="T80" fmla="*/ 71 w 146"/>
                      <a:gd name="T81" fmla="*/ 59 h 242"/>
                      <a:gd name="T82" fmla="*/ 78 w 146"/>
                      <a:gd name="T83" fmla="*/ 53 h 242"/>
                      <a:gd name="T84" fmla="*/ 83 w 146"/>
                      <a:gd name="T85" fmla="*/ 61 h 242"/>
                      <a:gd name="T86" fmla="*/ 91 w 146"/>
                      <a:gd name="T87" fmla="*/ 64 h 242"/>
                      <a:gd name="T88" fmla="*/ 93 w 146"/>
                      <a:gd name="T89" fmla="*/ 49 h 242"/>
                      <a:gd name="T90" fmla="*/ 89 w 146"/>
                      <a:gd name="T91" fmla="*/ 39 h 242"/>
                      <a:gd name="T92" fmla="*/ 96 w 146"/>
                      <a:gd name="T93" fmla="*/ 34 h 242"/>
                      <a:gd name="T94" fmla="*/ 104 w 146"/>
                      <a:gd name="T95" fmla="*/ 26 h 242"/>
                      <a:gd name="T96" fmla="*/ 114 w 146"/>
                      <a:gd name="T97" fmla="*/ 26 h 242"/>
                      <a:gd name="T98" fmla="*/ 117 w 146"/>
                      <a:gd name="T99" fmla="*/ 8 h 242"/>
                      <a:gd name="T100" fmla="*/ 126 w 146"/>
                      <a:gd name="T101" fmla="*/ 0 h 242"/>
                      <a:gd name="T102" fmla="*/ 126 w 146"/>
                      <a:gd name="T10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6" h="242">
                        <a:moveTo>
                          <a:pt x="126" y="0"/>
                        </a:moveTo>
                        <a:lnTo>
                          <a:pt x="126" y="6"/>
                        </a:lnTo>
                        <a:lnTo>
                          <a:pt x="126" y="11"/>
                        </a:lnTo>
                        <a:lnTo>
                          <a:pt x="129" y="16"/>
                        </a:lnTo>
                        <a:lnTo>
                          <a:pt x="134" y="20"/>
                        </a:lnTo>
                        <a:lnTo>
                          <a:pt x="131" y="25"/>
                        </a:lnTo>
                        <a:lnTo>
                          <a:pt x="132" y="31"/>
                        </a:lnTo>
                        <a:lnTo>
                          <a:pt x="129" y="41"/>
                        </a:lnTo>
                        <a:lnTo>
                          <a:pt x="129" y="48"/>
                        </a:lnTo>
                        <a:lnTo>
                          <a:pt x="139" y="49"/>
                        </a:lnTo>
                        <a:lnTo>
                          <a:pt x="141" y="53"/>
                        </a:lnTo>
                        <a:lnTo>
                          <a:pt x="146" y="53"/>
                        </a:lnTo>
                        <a:lnTo>
                          <a:pt x="146" y="56"/>
                        </a:lnTo>
                        <a:lnTo>
                          <a:pt x="142" y="61"/>
                        </a:lnTo>
                        <a:lnTo>
                          <a:pt x="144" y="88"/>
                        </a:lnTo>
                        <a:lnTo>
                          <a:pt x="146" y="103"/>
                        </a:lnTo>
                        <a:lnTo>
                          <a:pt x="141" y="108"/>
                        </a:lnTo>
                        <a:lnTo>
                          <a:pt x="142" y="119"/>
                        </a:lnTo>
                        <a:lnTo>
                          <a:pt x="139" y="128"/>
                        </a:lnTo>
                        <a:lnTo>
                          <a:pt x="136" y="129"/>
                        </a:lnTo>
                        <a:lnTo>
                          <a:pt x="129" y="123"/>
                        </a:lnTo>
                        <a:lnTo>
                          <a:pt x="122" y="129"/>
                        </a:lnTo>
                        <a:lnTo>
                          <a:pt x="116" y="134"/>
                        </a:lnTo>
                        <a:lnTo>
                          <a:pt x="109" y="133"/>
                        </a:lnTo>
                        <a:lnTo>
                          <a:pt x="106" y="126"/>
                        </a:lnTo>
                        <a:lnTo>
                          <a:pt x="101" y="126"/>
                        </a:lnTo>
                        <a:lnTo>
                          <a:pt x="101" y="133"/>
                        </a:lnTo>
                        <a:lnTo>
                          <a:pt x="99" y="141"/>
                        </a:lnTo>
                        <a:lnTo>
                          <a:pt x="103" y="151"/>
                        </a:lnTo>
                        <a:lnTo>
                          <a:pt x="106" y="157"/>
                        </a:lnTo>
                        <a:lnTo>
                          <a:pt x="101" y="164"/>
                        </a:lnTo>
                        <a:lnTo>
                          <a:pt x="93" y="172"/>
                        </a:lnTo>
                        <a:lnTo>
                          <a:pt x="89" y="179"/>
                        </a:lnTo>
                        <a:lnTo>
                          <a:pt x="84" y="191"/>
                        </a:lnTo>
                        <a:lnTo>
                          <a:pt x="89" y="201"/>
                        </a:lnTo>
                        <a:lnTo>
                          <a:pt x="94" y="212"/>
                        </a:lnTo>
                        <a:lnTo>
                          <a:pt x="88" y="229"/>
                        </a:lnTo>
                        <a:lnTo>
                          <a:pt x="83" y="232"/>
                        </a:lnTo>
                        <a:lnTo>
                          <a:pt x="74" y="236"/>
                        </a:lnTo>
                        <a:lnTo>
                          <a:pt x="71" y="242"/>
                        </a:lnTo>
                        <a:lnTo>
                          <a:pt x="66" y="236"/>
                        </a:lnTo>
                        <a:lnTo>
                          <a:pt x="58" y="232"/>
                        </a:lnTo>
                        <a:lnTo>
                          <a:pt x="56" y="227"/>
                        </a:lnTo>
                        <a:lnTo>
                          <a:pt x="54" y="219"/>
                        </a:lnTo>
                        <a:lnTo>
                          <a:pt x="46" y="206"/>
                        </a:lnTo>
                        <a:lnTo>
                          <a:pt x="39" y="197"/>
                        </a:lnTo>
                        <a:lnTo>
                          <a:pt x="36" y="197"/>
                        </a:lnTo>
                        <a:lnTo>
                          <a:pt x="34" y="204"/>
                        </a:lnTo>
                        <a:lnTo>
                          <a:pt x="33" y="209"/>
                        </a:lnTo>
                        <a:lnTo>
                          <a:pt x="36" y="216"/>
                        </a:lnTo>
                        <a:lnTo>
                          <a:pt x="41" y="224"/>
                        </a:lnTo>
                        <a:lnTo>
                          <a:pt x="38" y="227"/>
                        </a:lnTo>
                        <a:lnTo>
                          <a:pt x="33" y="226"/>
                        </a:lnTo>
                        <a:lnTo>
                          <a:pt x="29" y="221"/>
                        </a:lnTo>
                        <a:lnTo>
                          <a:pt x="28" y="214"/>
                        </a:lnTo>
                        <a:lnTo>
                          <a:pt x="26" y="207"/>
                        </a:lnTo>
                        <a:lnTo>
                          <a:pt x="24" y="196"/>
                        </a:lnTo>
                        <a:lnTo>
                          <a:pt x="21" y="189"/>
                        </a:lnTo>
                        <a:lnTo>
                          <a:pt x="16" y="176"/>
                        </a:lnTo>
                        <a:lnTo>
                          <a:pt x="13" y="169"/>
                        </a:lnTo>
                        <a:lnTo>
                          <a:pt x="6" y="159"/>
                        </a:lnTo>
                        <a:lnTo>
                          <a:pt x="0" y="152"/>
                        </a:lnTo>
                        <a:lnTo>
                          <a:pt x="3" y="147"/>
                        </a:lnTo>
                        <a:lnTo>
                          <a:pt x="0" y="141"/>
                        </a:lnTo>
                        <a:lnTo>
                          <a:pt x="1" y="137"/>
                        </a:lnTo>
                        <a:lnTo>
                          <a:pt x="1" y="128"/>
                        </a:lnTo>
                        <a:lnTo>
                          <a:pt x="4" y="119"/>
                        </a:lnTo>
                        <a:lnTo>
                          <a:pt x="8" y="111"/>
                        </a:lnTo>
                        <a:lnTo>
                          <a:pt x="4" y="109"/>
                        </a:lnTo>
                        <a:lnTo>
                          <a:pt x="11" y="99"/>
                        </a:lnTo>
                        <a:lnTo>
                          <a:pt x="18" y="91"/>
                        </a:lnTo>
                        <a:lnTo>
                          <a:pt x="23" y="88"/>
                        </a:lnTo>
                        <a:lnTo>
                          <a:pt x="21" y="78"/>
                        </a:lnTo>
                        <a:lnTo>
                          <a:pt x="26" y="71"/>
                        </a:lnTo>
                        <a:lnTo>
                          <a:pt x="29" y="76"/>
                        </a:lnTo>
                        <a:lnTo>
                          <a:pt x="39" y="79"/>
                        </a:lnTo>
                        <a:lnTo>
                          <a:pt x="48" y="74"/>
                        </a:lnTo>
                        <a:lnTo>
                          <a:pt x="54" y="69"/>
                        </a:lnTo>
                        <a:lnTo>
                          <a:pt x="59" y="56"/>
                        </a:lnTo>
                        <a:lnTo>
                          <a:pt x="63" y="61"/>
                        </a:lnTo>
                        <a:lnTo>
                          <a:pt x="69" y="64"/>
                        </a:lnTo>
                        <a:lnTo>
                          <a:pt x="71" y="59"/>
                        </a:lnTo>
                        <a:lnTo>
                          <a:pt x="71" y="51"/>
                        </a:lnTo>
                        <a:lnTo>
                          <a:pt x="78" y="53"/>
                        </a:lnTo>
                        <a:lnTo>
                          <a:pt x="83" y="56"/>
                        </a:lnTo>
                        <a:lnTo>
                          <a:pt x="83" y="61"/>
                        </a:lnTo>
                        <a:lnTo>
                          <a:pt x="86" y="66"/>
                        </a:lnTo>
                        <a:lnTo>
                          <a:pt x="91" y="64"/>
                        </a:lnTo>
                        <a:lnTo>
                          <a:pt x="93" y="58"/>
                        </a:lnTo>
                        <a:lnTo>
                          <a:pt x="93" y="49"/>
                        </a:lnTo>
                        <a:lnTo>
                          <a:pt x="89" y="46"/>
                        </a:lnTo>
                        <a:lnTo>
                          <a:pt x="89" y="39"/>
                        </a:lnTo>
                        <a:lnTo>
                          <a:pt x="91" y="31"/>
                        </a:lnTo>
                        <a:lnTo>
                          <a:pt x="96" y="34"/>
                        </a:lnTo>
                        <a:lnTo>
                          <a:pt x="99" y="28"/>
                        </a:lnTo>
                        <a:lnTo>
                          <a:pt x="104" y="26"/>
                        </a:lnTo>
                        <a:lnTo>
                          <a:pt x="109" y="29"/>
                        </a:lnTo>
                        <a:lnTo>
                          <a:pt x="114" y="26"/>
                        </a:lnTo>
                        <a:lnTo>
                          <a:pt x="117" y="20"/>
                        </a:lnTo>
                        <a:lnTo>
                          <a:pt x="117" y="8"/>
                        </a:lnTo>
                        <a:lnTo>
                          <a:pt x="122" y="3"/>
                        </a:lnTo>
                        <a:lnTo>
                          <a:pt x="126" y="0"/>
                        </a:lnTo>
                        <a:lnTo>
                          <a:pt x="126" y="0"/>
                        </a:lnTo>
                        <a:lnTo>
                          <a:pt x="126" y="0"/>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20" name="Freeform 1072">
                    <a:extLst>
                      <a:ext uri="{FF2B5EF4-FFF2-40B4-BE49-F238E27FC236}">
                        <a16:creationId xmlns:a16="http://schemas.microsoft.com/office/drawing/2014/main" id="{89255055-91D6-452B-970B-EDC784A469E3}"/>
                      </a:ext>
                    </a:extLst>
                  </p:cNvPr>
                  <p:cNvSpPr>
                    <a:spLocks/>
                  </p:cNvSpPr>
                  <p:nvPr/>
                </p:nvSpPr>
                <p:spPr bwMode="auto">
                  <a:xfrm>
                    <a:off x="6167708" y="3401276"/>
                    <a:ext cx="199116" cy="448009"/>
                  </a:xfrm>
                  <a:custGeom>
                    <a:avLst/>
                    <a:gdLst>
                      <a:gd name="T0" fmla="*/ 151 w 160"/>
                      <a:gd name="T1" fmla="*/ 199 h 360"/>
                      <a:gd name="T2" fmla="*/ 156 w 160"/>
                      <a:gd name="T3" fmla="*/ 176 h 360"/>
                      <a:gd name="T4" fmla="*/ 153 w 160"/>
                      <a:gd name="T5" fmla="*/ 157 h 360"/>
                      <a:gd name="T6" fmla="*/ 153 w 160"/>
                      <a:gd name="T7" fmla="*/ 141 h 360"/>
                      <a:gd name="T8" fmla="*/ 156 w 160"/>
                      <a:gd name="T9" fmla="*/ 113 h 360"/>
                      <a:gd name="T10" fmla="*/ 151 w 160"/>
                      <a:gd name="T11" fmla="*/ 93 h 360"/>
                      <a:gd name="T12" fmla="*/ 146 w 160"/>
                      <a:gd name="T13" fmla="*/ 71 h 360"/>
                      <a:gd name="T14" fmla="*/ 145 w 160"/>
                      <a:gd name="T15" fmla="*/ 71 h 360"/>
                      <a:gd name="T16" fmla="*/ 136 w 160"/>
                      <a:gd name="T17" fmla="*/ 61 h 360"/>
                      <a:gd name="T18" fmla="*/ 125 w 160"/>
                      <a:gd name="T19" fmla="*/ 56 h 360"/>
                      <a:gd name="T20" fmla="*/ 118 w 160"/>
                      <a:gd name="T21" fmla="*/ 58 h 360"/>
                      <a:gd name="T22" fmla="*/ 108 w 160"/>
                      <a:gd name="T23" fmla="*/ 59 h 360"/>
                      <a:gd name="T24" fmla="*/ 98 w 160"/>
                      <a:gd name="T25" fmla="*/ 56 h 360"/>
                      <a:gd name="T26" fmla="*/ 96 w 160"/>
                      <a:gd name="T27" fmla="*/ 39 h 360"/>
                      <a:gd name="T28" fmla="*/ 96 w 160"/>
                      <a:gd name="T29" fmla="*/ 24 h 360"/>
                      <a:gd name="T30" fmla="*/ 87 w 160"/>
                      <a:gd name="T31" fmla="*/ 16 h 360"/>
                      <a:gd name="T32" fmla="*/ 75 w 160"/>
                      <a:gd name="T33" fmla="*/ 16 h 360"/>
                      <a:gd name="T34" fmla="*/ 68 w 160"/>
                      <a:gd name="T35" fmla="*/ 16 h 360"/>
                      <a:gd name="T36" fmla="*/ 65 w 160"/>
                      <a:gd name="T37" fmla="*/ 3 h 360"/>
                      <a:gd name="T38" fmla="*/ 58 w 160"/>
                      <a:gd name="T39" fmla="*/ 10 h 360"/>
                      <a:gd name="T40" fmla="*/ 43 w 160"/>
                      <a:gd name="T41" fmla="*/ 39 h 360"/>
                      <a:gd name="T42" fmla="*/ 32 w 160"/>
                      <a:gd name="T43" fmla="*/ 58 h 360"/>
                      <a:gd name="T44" fmla="*/ 18 w 160"/>
                      <a:gd name="T45" fmla="*/ 61 h 360"/>
                      <a:gd name="T46" fmla="*/ 20 w 160"/>
                      <a:gd name="T47" fmla="*/ 48 h 360"/>
                      <a:gd name="T48" fmla="*/ 5 w 160"/>
                      <a:gd name="T49" fmla="*/ 51 h 360"/>
                      <a:gd name="T50" fmla="*/ 0 w 160"/>
                      <a:gd name="T51" fmla="*/ 103 h 360"/>
                      <a:gd name="T52" fmla="*/ 10 w 160"/>
                      <a:gd name="T53" fmla="*/ 123 h 360"/>
                      <a:gd name="T54" fmla="*/ 12 w 160"/>
                      <a:gd name="T55" fmla="*/ 149 h 360"/>
                      <a:gd name="T56" fmla="*/ 20 w 160"/>
                      <a:gd name="T57" fmla="*/ 161 h 360"/>
                      <a:gd name="T58" fmla="*/ 20 w 160"/>
                      <a:gd name="T59" fmla="*/ 179 h 360"/>
                      <a:gd name="T60" fmla="*/ 25 w 160"/>
                      <a:gd name="T61" fmla="*/ 204 h 360"/>
                      <a:gd name="T62" fmla="*/ 30 w 160"/>
                      <a:gd name="T63" fmla="*/ 229 h 360"/>
                      <a:gd name="T64" fmla="*/ 38 w 160"/>
                      <a:gd name="T65" fmla="*/ 245 h 360"/>
                      <a:gd name="T66" fmla="*/ 50 w 160"/>
                      <a:gd name="T67" fmla="*/ 274 h 360"/>
                      <a:gd name="T68" fmla="*/ 60 w 160"/>
                      <a:gd name="T69" fmla="*/ 314 h 360"/>
                      <a:gd name="T70" fmla="*/ 70 w 160"/>
                      <a:gd name="T71" fmla="*/ 335 h 360"/>
                      <a:gd name="T72" fmla="*/ 72 w 160"/>
                      <a:gd name="T73" fmla="*/ 358 h 360"/>
                      <a:gd name="T74" fmla="*/ 83 w 160"/>
                      <a:gd name="T75" fmla="*/ 355 h 360"/>
                      <a:gd name="T76" fmla="*/ 93 w 160"/>
                      <a:gd name="T77" fmla="*/ 340 h 360"/>
                      <a:gd name="T78" fmla="*/ 105 w 160"/>
                      <a:gd name="T79" fmla="*/ 350 h 360"/>
                      <a:gd name="T80" fmla="*/ 123 w 160"/>
                      <a:gd name="T81" fmla="*/ 353 h 360"/>
                      <a:gd name="T82" fmla="*/ 128 w 160"/>
                      <a:gd name="T83" fmla="*/ 339 h 360"/>
                      <a:gd name="T84" fmla="*/ 131 w 160"/>
                      <a:gd name="T85" fmla="*/ 325 h 360"/>
                      <a:gd name="T86" fmla="*/ 140 w 160"/>
                      <a:gd name="T87" fmla="*/ 317 h 360"/>
                      <a:gd name="T88" fmla="*/ 136 w 160"/>
                      <a:gd name="T89" fmla="*/ 287 h 360"/>
                      <a:gd name="T90" fmla="*/ 131 w 160"/>
                      <a:gd name="T91" fmla="*/ 260 h 360"/>
                      <a:gd name="T92" fmla="*/ 125 w 160"/>
                      <a:gd name="T93" fmla="*/ 247 h 360"/>
                      <a:gd name="T94" fmla="*/ 125 w 160"/>
                      <a:gd name="T95" fmla="*/ 219 h 360"/>
                      <a:gd name="T96" fmla="*/ 131 w 160"/>
                      <a:gd name="T97" fmla="*/ 199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360">
                        <a:moveTo>
                          <a:pt x="131" y="199"/>
                        </a:moveTo>
                        <a:lnTo>
                          <a:pt x="141" y="201"/>
                        </a:lnTo>
                        <a:lnTo>
                          <a:pt x="151" y="199"/>
                        </a:lnTo>
                        <a:lnTo>
                          <a:pt x="155" y="191"/>
                        </a:lnTo>
                        <a:lnTo>
                          <a:pt x="156" y="184"/>
                        </a:lnTo>
                        <a:lnTo>
                          <a:pt x="156" y="176"/>
                        </a:lnTo>
                        <a:lnTo>
                          <a:pt x="153" y="167"/>
                        </a:lnTo>
                        <a:lnTo>
                          <a:pt x="156" y="161"/>
                        </a:lnTo>
                        <a:lnTo>
                          <a:pt x="153" y="157"/>
                        </a:lnTo>
                        <a:lnTo>
                          <a:pt x="155" y="151"/>
                        </a:lnTo>
                        <a:lnTo>
                          <a:pt x="153" y="146"/>
                        </a:lnTo>
                        <a:lnTo>
                          <a:pt x="153" y="141"/>
                        </a:lnTo>
                        <a:lnTo>
                          <a:pt x="156" y="134"/>
                        </a:lnTo>
                        <a:lnTo>
                          <a:pt x="160" y="123"/>
                        </a:lnTo>
                        <a:lnTo>
                          <a:pt x="156" y="113"/>
                        </a:lnTo>
                        <a:lnTo>
                          <a:pt x="155" y="104"/>
                        </a:lnTo>
                        <a:lnTo>
                          <a:pt x="155" y="98"/>
                        </a:lnTo>
                        <a:lnTo>
                          <a:pt x="151" y="93"/>
                        </a:lnTo>
                        <a:lnTo>
                          <a:pt x="153" y="86"/>
                        </a:lnTo>
                        <a:lnTo>
                          <a:pt x="151" y="78"/>
                        </a:lnTo>
                        <a:lnTo>
                          <a:pt x="146" y="71"/>
                        </a:lnTo>
                        <a:lnTo>
                          <a:pt x="148" y="68"/>
                        </a:lnTo>
                        <a:lnTo>
                          <a:pt x="146" y="66"/>
                        </a:lnTo>
                        <a:lnTo>
                          <a:pt x="145" y="71"/>
                        </a:lnTo>
                        <a:lnTo>
                          <a:pt x="143" y="64"/>
                        </a:lnTo>
                        <a:lnTo>
                          <a:pt x="141" y="58"/>
                        </a:lnTo>
                        <a:lnTo>
                          <a:pt x="136" y="61"/>
                        </a:lnTo>
                        <a:lnTo>
                          <a:pt x="133" y="58"/>
                        </a:lnTo>
                        <a:lnTo>
                          <a:pt x="130" y="58"/>
                        </a:lnTo>
                        <a:lnTo>
                          <a:pt x="125" y="56"/>
                        </a:lnTo>
                        <a:lnTo>
                          <a:pt x="123" y="61"/>
                        </a:lnTo>
                        <a:lnTo>
                          <a:pt x="121" y="61"/>
                        </a:lnTo>
                        <a:lnTo>
                          <a:pt x="118" y="58"/>
                        </a:lnTo>
                        <a:lnTo>
                          <a:pt x="115" y="58"/>
                        </a:lnTo>
                        <a:lnTo>
                          <a:pt x="113" y="61"/>
                        </a:lnTo>
                        <a:lnTo>
                          <a:pt x="108" y="59"/>
                        </a:lnTo>
                        <a:lnTo>
                          <a:pt x="108" y="58"/>
                        </a:lnTo>
                        <a:lnTo>
                          <a:pt x="103" y="56"/>
                        </a:lnTo>
                        <a:lnTo>
                          <a:pt x="98" y="56"/>
                        </a:lnTo>
                        <a:lnTo>
                          <a:pt x="93" y="49"/>
                        </a:lnTo>
                        <a:lnTo>
                          <a:pt x="95" y="46"/>
                        </a:lnTo>
                        <a:lnTo>
                          <a:pt x="96" y="39"/>
                        </a:lnTo>
                        <a:lnTo>
                          <a:pt x="96" y="33"/>
                        </a:lnTo>
                        <a:lnTo>
                          <a:pt x="95" y="29"/>
                        </a:lnTo>
                        <a:lnTo>
                          <a:pt x="96" y="24"/>
                        </a:lnTo>
                        <a:lnTo>
                          <a:pt x="96" y="21"/>
                        </a:lnTo>
                        <a:lnTo>
                          <a:pt x="93" y="15"/>
                        </a:lnTo>
                        <a:lnTo>
                          <a:pt x="87" y="16"/>
                        </a:lnTo>
                        <a:lnTo>
                          <a:pt x="83" y="16"/>
                        </a:lnTo>
                        <a:lnTo>
                          <a:pt x="80" y="15"/>
                        </a:lnTo>
                        <a:lnTo>
                          <a:pt x="75" y="16"/>
                        </a:lnTo>
                        <a:lnTo>
                          <a:pt x="72" y="20"/>
                        </a:lnTo>
                        <a:lnTo>
                          <a:pt x="68" y="21"/>
                        </a:lnTo>
                        <a:lnTo>
                          <a:pt x="68" y="16"/>
                        </a:lnTo>
                        <a:lnTo>
                          <a:pt x="67" y="13"/>
                        </a:lnTo>
                        <a:lnTo>
                          <a:pt x="65" y="6"/>
                        </a:lnTo>
                        <a:lnTo>
                          <a:pt x="65" y="3"/>
                        </a:lnTo>
                        <a:lnTo>
                          <a:pt x="60" y="0"/>
                        </a:lnTo>
                        <a:lnTo>
                          <a:pt x="55" y="3"/>
                        </a:lnTo>
                        <a:lnTo>
                          <a:pt x="58" y="10"/>
                        </a:lnTo>
                        <a:lnTo>
                          <a:pt x="52" y="26"/>
                        </a:lnTo>
                        <a:lnTo>
                          <a:pt x="45" y="28"/>
                        </a:lnTo>
                        <a:lnTo>
                          <a:pt x="43" y="39"/>
                        </a:lnTo>
                        <a:lnTo>
                          <a:pt x="37" y="44"/>
                        </a:lnTo>
                        <a:lnTo>
                          <a:pt x="33" y="44"/>
                        </a:lnTo>
                        <a:lnTo>
                          <a:pt x="32" y="58"/>
                        </a:lnTo>
                        <a:lnTo>
                          <a:pt x="28" y="61"/>
                        </a:lnTo>
                        <a:lnTo>
                          <a:pt x="23" y="59"/>
                        </a:lnTo>
                        <a:lnTo>
                          <a:pt x="18" y="61"/>
                        </a:lnTo>
                        <a:lnTo>
                          <a:pt x="15" y="58"/>
                        </a:lnTo>
                        <a:lnTo>
                          <a:pt x="18" y="56"/>
                        </a:lnTo>
                        <a:lnTo>
                          <a:pt x="20" y="48"/>
                        </a:lnTo>
                        <a:lnTo>
                          <a:pt x="13" y="44"/>
                        </a:lnTo>
                        <a:lnTo>
                          <a:pt x="5" y="46"/>
                        </a:lnTo>
                        <a:lnTo>
                          <a:pt x="5" y="51"/>
                        </a:lnTo>
                        <a:lnTo>
                          <a:pt x="3" y="54"/>
                        </a:lnTo>
                        <a:lnTo>
                          <a:pt x="5" y="98"/>
                        </a:lnTo>
                        <a:lnTo>
                          <a:pt x="0" y="103"/>
                        </a:lnTo>
                        <a:lnTo>
                          <a:pt x="3" y="114"/>
                        </a:lnTo>
                        <a:lnTo>
                          <a:pt x="7" y="116"/>
                        </a:lnTo>
                        <a:lnTo>
                          <a:pt x="10" y="123"/>
                        </a:lnTo>
                        <a:lnTo>
                          <a:pt x="8" y="128"/>
                        </a:lnTo>
                        <a:lnTo>
                          <a:pt x="7" y="131"/>
                        </a:lnTo>
                        <a:lnTo>
                          <a:pt x="12" y="149"/>
                        </a:lnTo>
                        <a:lnTo>
                          <a:pt x="15" y="157"/>
                        </a:lnTo>
                        <a:lnTo>
                          <a:pt x="17" y="157"/>
                        </a:lnTo>
                        <a:lnTo>
                          <a:pt x="20" y="161"/>
                        </a:lnTo>
                        <a:lnTo>
                          <a:pt x="25" y="167"/>
                        </a:lnTo>
                        <a:lnTo>
                          <a:pt x="27" y="177"/>
                        </a:lnTo>
                        <a:lnTo>
                          <a:pt x="20" y="179"/>
                        </a:lnTo>
                        <a:lnTo>
                          <a:pt x="15" y="182"/>
                        </a:lnTo>
                        <a:lnTo>
                          <a:pt x="20" y="192"/>
                        </a:lnTo>
                        <a:lnTo>
                          <a:pt x="25" y="204"/>
                        </a:lnTo>
                        <a:lnTo>
                          <a:pt x="25" y="219"/>
                        </a:lnTo>
                        <a:lnTo>
                          <a:pt x="27" y="224"/>
                        </a:lnTo>
                        <a:lnTo>
                          <a:pt x="30" y="229"/>
                        </a:lnTo>
                        <a:lnTo>
                          <a:pt x="33" y="234"/>
                        </a:lnTo>
                        <a:lnTo>
                          <a:pt x="35" y="237"/>
                        </a:lnTo>
                        <a:lnTo>
                          <a:pt x="38" y="245"/>
                        </a:lnTo>
                        <a:lnTo>
                          <a:pt x="47" y="254"/>
                        </a:lnTo>
                        <a:lnTo>
                          <a:pt x="48" y="262"/>
                        </a:lnTo>
                        <a:lnTo>
                          <a:pt x="50" y="274"/>
                        </a:lnTo>
                        <a:lnTo>
                          <a:pt x="53" y="285"/>
                        </a:lnTo>
                        <a:lnTo>
                          <a:pt x="58" y="304"/>
                        </a:lnTo>
                        <a:lnTo>
                          <a:pt x="60" y="314"/>
                        </a:lnTo>
                        <a:lnTo>
                          <a:pt x="65" y="327"/>
                        </a:lnTo>
                        <a:lnTo>
                          <a:pt x="67" y="335"/>
                        </a:lnTo>
                        <a:lnTo>
                          <a:pt x="70" y="335"/>
                        </a:lnTo>
                        <a:lnTo>
                          <a:pt x="72" y="345"/>
                        </a:lnTo>
                        <a:lnTo>
                          <a:pt x="70" y="353"/>
                        </a:lnTo>
                        <a:lnTo>
                          <a:pt x="72" y="358"/>
                        </a:lnTo>
                        <a:lnTo>
                          <a:pt x="77" y="360"/>
                        </a:lnTo>
                        <a:lnTo>
                          <a:pt x="80" y="357"/>
                        </a:lnTo>
                        <a:lnTo>
                          <a:pt x="83" y="355"/>
                        </a:lnTo>
                        <a:lnTo>
                          <a:pt x="83" y="344"/>
                        </a:lnTo>
                        <a:lnTo>
                          <a:pt x="87" y="339"/>
                        </a:lnTo>
                        <a:lnTo>
                          <a:pt x="93" y="340"/>
                        </a:lnTo>
                        <a:lnTo>
                          <a:pt x="100" y="344"/>
                        </a:lnTo>
                        <a:lnTo>
                          <a:pt x="106" y="347"/>
                        </a:lnTo>
                        <a:lnTo>
                          <a:pt x="105" y="350"/>
                        </a:lnTo>
                        <a:lnTo>
                          <a:pt x="115" y="357"/>
                        </a:lnTo>
                        <a:lnTo>
                          <a:pt x="118" y="350"/>
                        </a:lnTo>
                        <a:lnTo>
                          <a:pt x="123" y="353"/>
                        </a:lnTo>
                        <a:lnTo>
                          <a:pt x="125" y="348"/>
                        </a:lnTo>
                        <a:lnTo>
                          <a:pt x="123" y="345"/>
                        </a:lnTo>
                        <a:lnTo>
                          <a:pt x="128" y="339"/>
                        </a:lnTo>
                        <a:lnTo>
                          <a:pt x="133" y="339"/>
                        </a:lnTo>
                        <a:lnTo>
                          <a:pt x="130" y="334"/>
                        </a:lnTo>
                        <a:lnTo>
                          <a:pt x="131" y="325"/>
                        </a:lnTo>
                        <a:lnTo>
                          <a:pt x="136" y="325"/>
                        </a:lnTo>
                        <a:lnTo>
                          <a:pt x="143" y="322"/>
                        </a:lnTo>
                        <a:lnTo>
                          <a:pt x="140" y="317"/>
                        </a:lnTo>
                        <a:lnTo>
                          <a:pt x="140" y="304"/>
                        </a:lnTo>
                        <a:lnTo>
                          <a:pt x="141" y="294"/>
                        </a:lnTo>
                        <a:lnTo>
                          <a:pt x="136" y="287"/>
                        </a:lnTo>
                        <a:lnTo>
                          <a:pt x="135" y="280"/>
                        </a:lnTo>
                        <a:lnTo>
                          <a:pt x="130" y="272"/>
                        </a:lnTo>
                        <a:lnTo>
                          <a:pt x="131" y="260"/>
                        </a:lnTo>
                        <a:lnTo>
                          <a:pt x="125" y="259"/>
                        </a:lnTo>
                        <a:lnTo>
                          <a:pt x="125" y="254"/>
                        </a:lnTo>
                        <a:lnTo>
                          <a:pt x="125" y="247"/>
                        </a:lnTo>
                        <a:lnTo>
                          <a:pt x="123" y="239"/>
                        </a:lnTo>
                        <a:lnTo>
                          <a:pt x="123" y="236"/>
                        </a:lnTo>
                        <a:lnTo>
                          <a:pt x="125" y="219"/>
                        </a:lnTo>
                        <a:lnTo>
                          <a:pt x="125" y="204"/>
                        </a:lnTo>
                        <a:lnTo>
                          <a:pt x="131" y="199"/>
                        </a:lnTo>
                        <a:lnTo>
                          <a:pt x="131" y="199"/>
                        </a:lnTo>
                        <a:lnTo>
                          <a:pt x="131" y="199"/>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21" name="Freeform 1074">
                    <a:extLst>
                      <a:ext uri="{FF2B5EF4-FFF2-40B4-BE49-F238E27FC236}">
                        <a16:creationId xmlns:a16="http://schemas.microsoft.com/office/drawing/2014/main" id="{FB5CA304-FBBB-43F3-A66E-1C9ACF3C006C}"/>
                      </a:ext>
                    </a:extLst>
                  </p:cNvPr>
                  <p:cNvSpPr>
                    <a:spLocks/>
                  </p:cNvSpPr>
                  <p:nvPr/>
                </p:nvSpPr>
                <p:spPr bwMode="auto">
                  <a:xfrm>
                    <a:off x="6280955" y="3167315"/>
                    <a:ext cx="276272" cy="331029"/>
                  </a:xfrm>
                  <a:custGeom>
                    <a:avLst/>
                    <a:gdLst>
                      <a:gd name="T0" fmla="*/ 30 w 222"/>
                      <a:gd name="T1" fmla="*/ 76 h 266"/>
                      <a:gd name="T2" fmla="*/ 27 w 222"/>
                      <a:gd name="T3" fmla="*/ 93 h 266"/>
                      <a:gd name="T4" fmla="*/ 27 w 222"/>
                      <a:gd name="T5" fmla="*/ 106 h 266"/>
                      <a:gd name="T6" fmla="*/ 20 w 222"/>
                      <a:gd name="T7" fmla="*/ 126 h 266"/>
                      <a:gd name="T8" fmla="*/ 2 w 222"/>
                      <a:gd name="T9" fmla="*/ 146 h 266"/>
                      <a:gd name="T10" fmla="*/ 0 w 222"/>
                      <a:gd name="T11" fmla="*/ 164 h 266"/>
                      <a:gd name="T12" fmla="*/ 9 w 222"/>
                      <a:gd name="T13" fmla="*/ 193 h 266"/>
                      <a:gd name="T14" fmla="*/ 5 w 222"/>
                      <a:gd name="T15" fmla="*/ 211 h 266"/>
                      <a:gd name="T16" fmla="*/ 4 w 222"/>
                      <a:gd name="T17" fmla="*/ 222 h 266"/>
                      <a:gd name="T18" fmla="*/ 2 w 222"/>
                      <a:gd name="T19" fmla="*/ 241 h 266"/>
                      <a:gd name="T20" fmla="*/ 17 w 222"/>
                      <a:gd name="T21" fmla="*/ 249 h 266"/>
                      <a:gd name="T22" fmla="*/ 25 w 222"/>
                      <a:gd name="T23" fmla="*/ 247 h 266"/>
                      <a:gd name="T24" fmla="*/ 34 w 222"/>
                      <a:gd name="T25" fmla="*/ 246 h 266"/>
                      <a:gd name="T26" fmla="*/ 44 w 222"/>
                      <a:gd name="T27" fmla="*/ 251 h 266"/>
                      <a:gd name="T28" fmla="*/ 49 w 222"/>
                      <a:gd name="T29" fmla="*/ 239 h 266"/>
                      <a:gd name="T30" fmla="*/ 67 w 222"/>
                      <a:gd name="T31" fmla="*/ 254 h 266"/>
                      <a:gd name="T32" fmla="*/ 82 w 222"/>
                      <a:gd name="T33" fmla="*/ 254 h 266"/>
                      <a:gd name="T34" fmla="*/ 105 w 222"/>
                      <a:gd name="T35" fmla="*/ 247 h 266"/>
                      <a:gd name="T36" fmla="*/ 122 w 222"/>
                      <a:gd name="T37" fmla="*/ 251 h 266"/>
                      <a:gd name="T38" fmla="*/ 147 w 222"/>
                      <a:gd name="T39" fmla="*/ 259 h 266"/>
                      <a:gd name="T40" fmla="*/ 158 w 222"/>
                      <a:gd name="T41" fmla="*/ 261 h 266"/>
                      <a:gd name="T42" fmla="*/ 167 w 222"/>
                      <a:gd name="T43" fmla="*/ 237 h 266"/>
                      <a:gd name="T44" fmla="*/ 167 w 222"/>
                      <a:gd name="T45" fmla="*/ 221 h 266"/>
                      <a:gd name="T46" fmla="*/ 173 w 222"/>
                      <a:gd name="T47" fmla="*/ 204 h 266"/>
                      <a:gd name="T48" fmla="*/ 177 w 222"/>
                      <a:gd name="T49" fmla="*/ 184 h 266"/>
                      <a:gd name="T50" fmla="*/ 187 w 222"/>
                      <a:gd name="T51" fmla="*/ 164 h 266"/>
                      <a:gd name="T52" fmla="*/ 195 w 222"/>
                      <a:gd name="T53" fmla="*/ 151 h 266"/>
                      <a:gd name="T54" fmla="*/ 198 w 222"/>
                      <a:gd name="T55" fmla="*/ 133 h 266"/>
                      <a:gd name="T56" fmla="*/ 205 w 222"/>
                      <a:gd name="T57" fmla="*/ 126 h 266"/>
                      <a:gd name="T58" fmla="*/ 213 w 222"/>
                      <a:gd name="T59" fmla="*/ 101 h 266"/>
                      <a:gd name="T60" fmla="*/ 220 w 222"/>
                      <a:gd name="T61" fmla="*/ 85 h 266"/>
                      <a:gd name="T62" fmla="*/ 212 w 222"/>
                      <a:gd name="T63" fmla="*/ 70 h 266"/>
                      <a:gd name="T64" fmla="*/ 195 w 222"/>
                      <a:gd name="T65" fmla="*/ 61 h 266"/>
                      <a:gd name="T66" fmla="*/ 203 w 222"/>
                      <a:gd name="T67" fmla="*/ 36 h 266"/>
                      <a:gd name="T68" fmla="*/ 183 w 222"/>
                      <a:gd name="T69" fmla="*/ 16 h 266"/>
                      <a:gd name="T70" fmla="*/ 185 w 222"/>
                      <a:gd name="T71" fmla="*/ 0 h 266"/>
                      <a:gd name="T72" fmla="*/ 173 w 222"/>
                      <a:gd name="T73" fmla="*/ 8 h 266"/>
                      <a:gd name="T74" fmla="*/ 162 w 222"/>
                      <a:gd name="T75" fmla="*/ 21 h 266"/>
                      <a:gd name="T76" fmla="*/ 143 w 222"/>
                      <a:gd name="T77" fmla="*/ 28 h 266"/>
                      <a:gd name="T78" fmla="*/ 127 w 222"/>
                      <a:gd name="T79" fmla="*/ 28 h 266"/>
                      <a:gd name="T80" fmla="*/ 107 w 222"/>
                      <a:gd name="T81" fmla="*/ 23 h 266"/>
                      <a:gd name="T82" fmla="*/ 89 w 222"/>
                      <a:gd name="T83" fmla="*/ 28 h 266"/>
                      <a:gd name="T84" fmla="*/ 87 w 222"/>
                      <a:gd name="T85" fmla="*/ 36 h 266"/>
                      <a:gd name="T86" fmla="*/ 84 w 222"/>
                      <a:gd name="T87" fmla="*/ 48 h 266"/>
                      <a:gd name="T88" fmla="*/ 72 w 222"/>
                      <a:gd name="T89" fmla="*/ 68 h 266"/>
                      <a:gd name="T90" fmla="*/ 59 w 222"/>
                      <a:gd name="T91" fmla="*/ 71 h 266"/>
                      <a:gd name="T92" fmla="*/ 44 w 222"/>
                      <a:gd name="T93" fmla="*/ 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2" h="266">
                        <a:moveTo>
                          <a:pt x="44" y="66"/>
                        </a:moveTo>
                        <a:lnTo>
                          <a:pt x="37" y="73"/>
                        </a:lnTo>
                        <a:lnTo>
                          <a:pt x="30" y="76"/>
                        </a:lnTo>
                        <a:lnTo>
                          <a:pt x="34" y="83"/>
                        </a:lnTo>
                        <a:lnTo>
                          <a:pt x="29" y="86"/>
                        </a:lnTo>
                        <a:lnTo>
                          <a:pt x="27" y="93"/>
                        </a:lnTo>
                        <a:lnTo>
                          <a:pt x="22" y="98"/>
                        </a:lnTo>
                        <a:lnTo>
                          <a:pt x="22" y="104"/>
                        </a:lnTo>
                        <a:lnTo>
                          <a:pt x="27" y="106"/>
                        </a:lnTo>
                        <a:lnTo>
                          <a:pt x="27" y="113"/>
                        </a:lnTo>
                        <a:lnTo>
                          <a:pt x="27" y="118"/>
                        </a:lnTo>
                        <a:lnTo>
                          <a:pt x="20" y="126"/>
                        </a:lnTo>
                        <a:lnTo>
                          <a:pt x="9" y="134"/>
                        </a:lnTo>
                        <a:lnTo>
                          <a:pt x="2" y="139"/>
                        </a:lnTo>
                        <a:lnTo>
                          <a:pt x="2" y="146"/>
                        </a:lnTo>
                        <a:lnTo>
                          <a:pt x="9" y="153"/>
                        </a:lnTo>
                        <a:lnTo>
                          <a:pt x="7" y="159"/>
                        </a:lnTo>
                        <a:lnTo>
                          <a:pt x="0" y="164"/>
                        </a:lnTo>
                        <a:lnTo>
                          <a:pt x="0" y="176"/>
                        </a:lnTo>
                        <a:lnTo>
                          <a:pt x="5" y="184"/>
                        </a:lnTo>
                        <a:lnTo>
                          <a:pt x="9" y="193"/>
                        </a:lnTo>
                        <a:lnTo>
                          <a:pt x="7" y="201"/>
                        </a:lnTo>
                        <a:lnTo>
                          <a:pt x="2" y="204"/>
                        </a:lnTo>
                        <a:lnTo>
                          <a:pt x="5" y="211"/>
                        </a:lnTo>
                        <a:lnTo>
                          <a:pt x="5" y="214"/>
                        </a:lnTo>
                        <a:lnTo>
                          <a:pt x="2" y="219"/>
                        </a:lnTo>
                        <a:lnTo>
                          <a:pt x="4" y="222"/>
                        </a:lnTo>
                        <a:lnTo>
                          <a:pt x="5" y="229"/>
                        </a:lnTo>
                        <a:lnTo>
                          <a:pt x="2" y="236"/>
                        </a:lnTo>
                        <a:lnTo>
                          <a:pt x="2" y="241"/>
                        </a:lnTo>
                        <a:lnTo>
                          <a:pt x="5" y="246"/>
                        </a:lnTo>
                        <a:lnTo>
                          <a:pt x="15" y="246"/>
                        </a:lnTo>
                        <a:lnTo>
                          <a:pt x="17" y="249"/>
                        </a:lnTo>
                        <a:lnTo>
                          <a:pt x="20" y="251"/>
                        </a:lnTo>
                        <a:lnTo>
                          <a:pt x="22" y="249"/>
                        </a:lnTo>
                        <a:lnTo>
                          <a:pt x="25" y="247"/>
                        </a:lnTo>
                        <a:lnTo>
                          <a:pt x="29" y="251"/>
                        </a:lnTo>
                        <a:lnTo>
                          <a:pt x="30" y="251"/>
                        </a:lnTo>
                        <a:lnTo>
                          <a:pt x="34" y="246"/>
                        </a:lnTo>
                        <a:lnTo>
                          <a:pt x="37" y="247"/>
                        </a:lnTo>
                        <a:lnTo>
                          <a:pt x="42" y="247"/>
                        </a:lnTo>
                        <a:lnTo>
                          <a:pt x="44" y="251"/>
                        </a:lnTo>
                        <a:lnTo>
                          <a:pt x="49" y="247"/>
                        </a:lnTo>
                        <a:lnTo>
                          <a:pt x="47" y="241"/>
                        </a:lnTo>
                        <a:lnTo>
                          <a:pt x="49" y="239"/>
                        </a:lnTo>
                        <a:lnTo>
                          <a:pt x="57" y="241"/>
                        </a:lnTo>
                        <a:lnTo>
                          <a:pt x="65" y="247"/>
                        </a:lnTo>
                        <a:lnTo>
                          <a:pt x="67" y="254"/>
                        </a:lnTo>
                        <a:lnTo>
                          <a:pt x="69" y="257"/>
                        </a:lnTo>
                        <a:lnTo>
                          <a:pt x="74" y="257"/>
                        </a:lnTo>
                        <a:lnTo>
                          <a:pt x="82" y="254"/>
                        </a:lnTo>
                        <a:lnTo>
                          <a:pt x="89" y="247"/>
                        </a:lnTo>
                        <a:lnTo>
                          <a:pt x="97" y="246"/>
                        </a:lnTo>
                        <a:lnTo>
                          <a:pt x="105" y="247"/>
                        </a:lnTo>
                        <a:lnTo>
                          <a:pt x="109" y="252"/>
                        </a:lnTo>
                        <a:lnTo>
                          <a:pt x="117" y="256"/>
                        </a:lnTo>
                        <a:lnTo>
                          <a:pt x="122" y="251"/>
                        </a:lnTo>
                        <a:lnTo>
                          <a:pt x="130" y="252"/>
                        </a:lnTo>
                        <a:lnTo>
                          <a:pt x="135" y="254"/>
                        </a:lnTo>
                        <a:lnTo>
                          <a:pt x="147" y="259"/>
                        </a:lnTo>
                        <a:lnTo>
                          <a:pt x="152" y="262"/>
                        </a:lnTo>
                        <a:lnTo>
                          <a:pt x="157" y="266"/>
                        </a:lnTo>
                        <a:lnTo>
                          <a:pt x="158" y="261"/>
                        </a:lnTo>
                        <a:lnTo>
                          <a:pt x="162" y="251"/>
                        </a:lnTo>
                        <a:lnTo>
                          <a:pt x="163" y="244"/>
                        </a:lnTo>
                        <a:lnTo>
                          <a:pt x="167" y="237"/>
                        </a:lnTo>
                        <a:lnTo>
                          <a:pt x="170" y="232"/>
                        </a:lnTo>
                        <a:lnTo>
                          <a:pt x="168" y="226"/>
                        </a:lnTo>
                        <a:lnTo>
                          <a:pt x="167" y="221"/>
                        </a:lnTo>
                        <a:lnTo>
                          <a:pt x="172" y="216"/>
                        </a:lnTo>
                        <a:lnTo>
                          <a:pt x="172" y="211"/>
                        </a:lnTo>
                        <a:lnTo>
                          <a:pt x="173" y="204"/>
                        </a:lnTo>
                        <a:lnTo>
                          <a:pt x="173" y="196"/>
                        </a:lnTo>
                        <a:lnTo>
                          <a:pt x="178" y="191"/>
                        </a:lnTo>
                        <a:lnTo>
                          <a:pt x="177" y="184"/>
                        </a:lnTo>
                        <a:lnTo>
                          <a:pt x="183" y="179"/>
                        </a:lnTo>
                        <a:lnTo>
                          <a:pt x="185" y="174"/>
                        </a:lnTo>
                        <a:lnTo>
                          <a:pt x="187" y="164"/>
                        </a:lnTo>
                        <a:lnTo>
                          <a:pt x="188" y="159"/>
                        </a:lnTo>
                        <a:lnTo>
                          <a:pt x="190" y="154"/>
                        </a:lnTo>
                        <a:lnTo>
                          <a:pt x="195" y="151"/>
                        </a:lnTo>
                        <a:lnTo>
                          <a:pt x="197" y="143"/>
                        </a:lnTo>
                        <a:lnTo>
                          <a:pt x="197" y="138"/>
                        </a:lnTo>
                        <a:lnTo>
                          <a:pt x="198" y="133"/>
                        </a:lnTo>
                        <a:lnTo>
                          <a:pt x="205" y="133"/>
                        </a:lnTo>
                        <a:lnTo>
                          <a:pt x="208" y="131"/>
                        </a:lnTo>
                        <a:lnTo>
                          <a:pt x="205" y="126"/>
                        </a:lnTo>
                        <a:lnTo>
                          <a:pt x="208" y="116"/>
                        </a:lnTo>
                        <a:lnTo>
                          <a:pt x="212" y="109"/>
                        </a:lnTo>
                        <a:lnTo>
                          <a:pt x="213" y="101"/>
                        </a:lnTo>
                        <a:lnTo>
                          <a:pt x="213" y="93"/>
                        </a:lnTo>
                        <a:lnTo>
                          <a:pt x="218" y="88"/>
                        </a:lnTo>
                        <a:lnTo>
                          <a:pt x="220" y="85"/>
                        </a:lnTo>
                        <a:lnTo>
                          <a:pt x="222" y="76"/>
                        </a:lnTo>
                        <a:lnTo>
                          <a:pt x="220" y="75"/>
                        </a:lnTo>
                        <a:lnTo>
                          <a:pt x="212" y="70"/>
                        </a:lnTo>
                        <a:lnTo>
                          <a:pt x="207" y="68"/>
                        </a:lnTo>
                        <a:lnTo>
                          <a:pt x="198" y="66"/>
                        </a:lnTo>
                        <a:lnTo>
                          <a:pt x="195" y="61"/>
                        </a:lnTo>
                        <a:lnTo>
                          <a:pt x="195" y="55"/>
                        </a:lnTo>
                        <a:lnTo>
                          <a:pt x="200" y="45"/>
                        </a:lnTo>
                        <a:lnTo>
                          <a:pt x="203" y="36"/>
                        </a:lnTo>
                        <a:lnTo>
                          <a:pt x="200" y="31"/>
                        </a:lnTo>
                        <a:lnTo>
                          <a:pt x="183" y="23"/>
                        </a:lnTo>
                        <a:lnTo>
                          <a:pt x="183" y="16"/>
                        </a:lnTo>
                        <a:lnTo>
                          <a:pt x="187" y="10"/>
                        </a:lnTo>
                        <a:lnTo>
                          <a:pt x="187" y="3"/>
                        </a:lnTo>
                        <a:lnTo>
                          <a:pt x="185" y="0"/>
                        </a:lnTo>
                        <a:lnTo>
                          <a:pt x="183" y="0"/>
                        </a:lnTo>
                        <a:lnTo>
                          <a:pt x="178" y="6"/>
                        </a:lnTo>
                        <a:lnTo>
                          <a:pt x="173" y="8"/>
                        </a:lnTo>
                        <a:lnTo>
                          <a:pt x="170" y="13"/>
                        </a:lnTo>
                        <a:lnTo>
                          <a:pt x="168" y="18"/>
                        </a:lnTo>
                        <a:lnTo>
                          <a:pt x="162" y="21"/>
                        </a:lnTo>
                        <a:lnTo>
                          <a:pt x="157" y="25"/>
                        </a:lnTo>
                        <a:lnTo>
                          <a:pt x="152" y="26"/>
                        </a:lnTo>
                        <a:lnTo>
                          <a:pt x="143" y="28"/>
                        </a:lnTo>
                        <a:lnTo>
                          <a:pt x="138" y="28"/>
                        </a:lnTo>
                        <a:lnTo>
                          <a:pt x="133" y="26"/>
                        </a:lnTo>
                        <a:lnTo>
                          <a:pt x="127" y="28"/>
                        </a:lnTo>
                        <a:lnTo>
                          <a:pt x="122" y="23"/>
                        </a:lnTo>
                        <a:lnTo>
                          <a:pt x="117" y="21"/>
                        </a:lnTo>
                        <a:lnTo>
                          <a:pt x="107" y="23"/>
                        </a:lnTo>
                        <a:lnTo>
                          <a:pt x="102" y="25"/>
                        </a:lnTo>
                        <a:lnTo>
                          <a:pt x="94" y="25"/>
                        </a:lnTo>
                        <a:lnTo>
                          <a:pt x="89" y="28"/>
                        </a:lnTo>
                        <a:lnTo>
                          <a:pt x="84" y="31"/>
                        </a:lnTo>
                        <a:lnTo>
                          <a:pt x="82" y="36"/>
                        </a:lnTo>
                        <a:lnTo>
                          <a:pt x="87" y="36"/>
                        </a:lnTo>
                        <a:lnTo>
                          <a:pt x="89" y="40"/>
                        </a:lnTo>
                        <a:lnTo>
                          <a:pt x="84" y="43"/>
                        </a:lnTo>
                        <a:lnTo>
                          <a:pt x="84" y="48"/>
                        </a:lnTo>
                        <a:lnTo>
                          <a:pt x="82" y="53"/>
                        </a:lnTo>
                        <a:lnTo>
                          <a:pt x="77" y="58"/>
                        </a:lnTo>
                        <a:lnTo>
                          <a:pt x="72" y="68"/>
                        </a:lnTo>
                        <a:lnTo>
                          <a:pt x="70" y="75"/>
                        </a:lnTo>
                        <a:lnTo>
                          <a:pt x="69" y="76"/>
                        </a:lnTo>
                        <a:lnTo>
                          <a:pt x="59" y="71"/>
                        </a:lnTo>
                        <a:lnTo>
                          <a:pt x="52" y="71"/>
                        </a:lnTo>
                        <a:lnTo>
                          <a:pt x="45" y="70"/>
                        </a:lnTo>
                        <a:lnTo>
                          <a:pt x="44" y="66"/>
                        </a:lnTo>
                        <a:lnTo>
                          <a:pt x="44" y="66"/>
                        </a:lnTo>
                        <a:lnTo>
                          <a:pt x="44" y="66"/>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22" name="Freeform 1076">
                    <a:extLst>
                      <a:ext uri="{FF2B5EF4-FFF2-40B4-BE49-F238E27FC236}">
                        <a16:creationId xmlns:a16="http://schemas.microsoft.com/office/drawing/2014/main" id="{23C9FB2A-C854-4C02-B5AC-075131839A91}"/>
                      </a:ext>
                    </a:extLst>
                  </p:cNvPr>
                  <p:cNvSpPr>
                    <a:spLocks/>
                  </p:cNvSpPr>
                  <p:nvPr/>
                </p:nvSpPr>
                <p:spPr bwMode="auto">
                  <a:xfrm>
                    <a:off x="6314556" y="2912199"/>
                    <a:ext cx="289961" cy="349696"/>
                  </a:xfrm>
                  <a:custGeom>
                    <a:avLst/>
                    <a:gdLst>
                      <a:gd name="T0" fmla="*/ 116 w 233"/>
                      <a:gd name="T1" fmla="*/ 92 h 281"/>
                      <a:gd name="T2" fmla="*/ 108 w 233"/>
                      <a:gd name="T3" fmla="*/ 90 h 281"/>
                      <a:gd name="T4" fmla="*/ 100 w 233"/>
                      <a:gd name="T5" fmla="*/ 92 h 281"/>
                      <a:gd name="T6" fmla="*/ 91 w 233"/>
                      <a:gd name="T7" fmla="*/ 113 h 281"/>
                      <a:gd name="T8" fmla="*/ 77 w 233"/>
                      <a:gd name="T9" fmla="*/ 148 h 281"/>
                      <a:gd name="T10" fmla="*/ 75 w 233"/>
                      <a:gd name="T11" fmla="*/ 167 h 281"/>
                      <a:gd name="T12" fmla="*/ 70 w 233"/>
                      <a:gd name="T13" fmla="*/ 187 h 281"/>
                      <a:gd name="T14" fmla="*/ 62 w 233"/>
                      <a:gd name="T15" fmla="*/ 187 h 281"/>
                      <a:gd name="T16" fmla="*/ 55 w 233"/>
                      <a:gd name="T17" fmla="*/ 180 h 281"/>
                      <a:gd name="T18" fmla="*/ 48 w 233"/>
                      <a:gd name="T19" fmla="*/ 175 h 281"/>
                      <a:gd name="T20" fmla="*/ 40 w 233"/>
                      <a:gd name="T21" fmla="*/ 192 h 281"/>
                      <a:gd name="T22" fmla="*/ 13 w 233"/>
                      <a:gd name="T23" fmla="*/ 220 h 281"/>
                      <a:gd name="T24" fmla="*/ 0 w 233"/>
                      <a:gd name="T25" fmla="*/ 241 h 281"/>
                      <a:gd name="T26" fmla="*/ 18 w 233"/>
                      <a:gd name="T27" fmla="*/ 251 h 281"/>
                      <a:gd name="T28" fmla="*/ 15 w 233"/>
                      <a:gd name="T29" fmla="*/ 271 h 281"/>
                      <a:gd name="T30" fmla="*/ 42 w 233"/>
                      <a:gd name="T31" fmla="*/ 281 h 281"/>
                      <a:gd name="T32" fmla="*/ 48 w 233"/>
                      <a:gd name="T33" fmla="*/ 261 h 281"/>
                      <a:gd name="T34" fmla="*/ 57 w 233"/>
                      <a:gd name="T35" fmla="*/ 248 h 281"/>
                      <a:gd name="T36" fmla="*/ 55 w 233"/>
                      <a:gd name="T37" fmla="*/ 240 h 281"/>
                      <a:gd name="T38" fmla="*/ 67 w 233"/>
                      <a:gd name="T39" fmla="*/ 230 h 281"/>
                      <a:gd name="T40" fmla="*/ 88 w 233"/>
                      <a:gd name="T41" fmla="*/ 226 h 281"/>
                      <a:gd name="T42" fmla="*/ 105 w 233"/>
                      <a:gd name="T43" fmla="*/ 230 h 281"/>
                      <a:gd name="T44" fmla="*/ 125 w 233"/>
                      <a:gd name="T45" fmla="*/ 230 h 281"/>
                      <a:gd name="T46" fmla="*/ 145 w 233"/>
                      <a:gd name="T47" fmla="*/ 211 h 281"/>
                      <a:gd name="T48" fmla="*/ 158 w 233"/>
                      <a:gd name="T49" fmla="*/ 203 h 281"/>
                      <a:gd name="T50" fmla="*/ 155 w 233"/>
                      <a:gd name="T51" fmla="*/ 220 h 281"/>
                      <a:gd name="T52" fmla="*/ 175 w 233"/>
                      <a:gd name="T53" fmla="*/ 241 h 281"/>
                      <a:gd name="T54" fmla="*/ 181 w 233"/>
                      <a:gd name="T55" fmla="*/ 226 h 281"/>
                      <a:gd name="T56" fmla="*/ 204 w 233"/>
                      <a:gd name="T57" fmla="*/ 203 h 281"/>
                      <a:gd name="T58" fmla="*/ 219 w 233"/>
                      <a:gd name="T59" fmla="*/ 177 h 281"/>
                      <a:gd name="T60" fmla="*/ 218 w 233"/>
                      <a:gd name="T61" fmla="*/ 153 h 281"/>
                      <a:gd name="T62" fmla="*/ 229 w 233"/>
                      <a:gd name="T63" fmla="*/ 130 h 281"/>
                      <a:gd name="T64" fmla="*/ 224 w 233"/>
                      <a:gd name="T65" fmla="*/ 120 h 281"/>
                      <a:gd name="T66" fmla="*/ 221 w 233"/>
                      <a:gd name="T67" fmla="*/ 105 h 281"/>
                      <a:gd name="T68" fmla="*/ 214 w 233"/>
                      <a:gd name="T69" fmla="*/ 84 h 281"/>
                      <a:gd name="T70" fmla="*/ 218 w 233"/>
                      <a:gd name="T71" fmla="*/ 60 h 281"/>
                      <a:gd name="T72" fmla="*/ 226 w 233"/>
                      <a:gd name="T73" fmla="*/ 39 h 281"/>
                      <a:gd name="T74" fmla="*/ 221 w 233"/>
                      <a:gd name="T75" fmla="*/ 20 h 281"/>
                      <a:gd name="T76" fmla="*/ 218 w 233"/>
                      <a:gd name="T77" fmla="*/ 4 h 281"/>
                      <a:gd name="T78" fmla="*/ 203 w 233"/>
                      <a:gd name="T79" fmla="*/ 12 h 281"/>
                      <a:gd name="T80" fmla="*/ 188 w 233"/>
                      <a:gd name="T81" fmla="*/ 15 h 281"/>
                      <a:gd name="T82" fmla="*/ 175 w 233"/>
                      <a:gd name="T83" fmla="*/ 29 h 281"/>
                      <a:gd name="T84" fmla="*/ 151 w 233"/>
                      <a:gd name="T85" fmla="*/ 54 h 281"/>
                      <a:gd name="T86" fmla="*/ 133 w 233"/>
                      <a:gd name="T87" fmla="*/ 60 h 281"/>
                      <a:gd name="T88" fmla="*/ 123 w 233"/>
                      <a:gd name="T89" fmla="*/ 7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3" h="281">
                        <a:moveTo>
                          <a:pt x="123" y="79"/>
                        </a:moveTo>
                        <a:lnTo>
                          <a:pt x="121" y="85"/>
                        </a:lnTo>
                        <a:lnTo>
                          <a:pt x="116" y="92"/>
                        </a:lnTo>
                        <a:lnTo>
                          <a:pt x="111" y="97"/>
                        </a:lnTo>
                        <a:lnTo>
                          <a:pt x="108" y="93"/>
                        </a:lnTo>
                        <a:lnTo>
                          <a:pt x="108" y="90"/>
                        </a:lnTo>
                        <a:lnTo>
                          <a:pt x="110" y="84"/>
                        </a:lnTo>
                        <a:lnTo>
                          <a:pt x="106" y="82"/>
                        </a:lnTo>
                        <a:lnTo>
                          <a:pt x="100" y="92"/>
                        </a:lnTo>
                        <a:lnTo>
                          <a:pt x="95" y="98"/>
                        </a:lnTo>
                        <a:lnTo>
                          <a:pt x="95" y="103"/>
                        </a:lnTo>
                        <a:lnTo>
                          <a:pt x="91" y="113"/>
                        </a:lnTo>
                        <a:lnTo>
                          <a:pt x="78" y="133"/>
                        </a:lnTo>
                        <a:lnTo>
                          <a:pt x="75" y="143"/>
                        </a:lnTo>
                        <a:lnTo>
                          <a:pt x="77" y="148"/>
                        </a:lnTo>
                        <a:lnTo>
                          <a:pt x="78" y="155"/>
                        </a:lnTo>
                        <a:lnTo>
                          <a:pt x="77" y="160"/>
                        </a:lnTo>
                        <a:lnTo>
                          <a:pt x="75" y="167"/>
                        </a:lnTo>
                        <a:lnTo>
                          <a:pt x="82" y="172"/>
                        </a:lnTo>
                        <a:lnTo>
                          <a:pt x="77" y="180"/>
                        </a:lnTo>
                        <a:lnTo>
                          <a:pt x="70" y="187"/>
                        </a:lnTo>
                        <a:lnTo>
                          <a:pt x="70" y="190"/>
                        </a:lnTo>
                        <a:lnTo>
                          <a:pt x="67" y="188"/>
                        </a:lnTo>
                        <a:lnTo>
                          <a:pt x="62" y="187"/>
                        </a:lnTo>
                        <a:lnTo>
                          <a:pt x="58" y="192"/>
                        </a:lnTo>
                        <a:lnTo>
                          <a:pt x="55" y="190"/>
                        </a:lnTo>
                        <a:lnTo>
                          <a:pt x="55" y="180"/>
                        </a:lnTo>
                        <a:lnTo>
                          <a:pt x="57" y="173"/>
                        </a:lnTo>
                        <a:lnTo>
                          <a:pt x="53" y="172"/>
                        </a:lnTo>
                        <a:lnTo>
                          <a:pt x="48" y="175"/>
                        </a:lnTo>
                        <a:lnTo>
                          <a:pt x="43" y="180"/>
                        </a:lnTo>
                        <a:lnTo>
                          <a:pt x="40" y="185"/>
                        </a:lnTo>
                        <a:lnTo>
                          <a:pt x="40" y="192"/>
                        </a:lnTo>
                        <a:lnTo>
                          <a:pt x="35" y="192"/>
                        </a:lnTo>
                        <a:lnTo>
                          <a:pt x="25" y="205"/>
                        </a:lnTo>
                        <a:lnTo>
                          <a:pt x="13" y="220"/>
                        </a:lnTo>
                        <a:lnTo>
                          <a:pt x="8" y="223"/>
                        </a:lnTo>
                        <a:lnTo>
                          <a:pt x="2" y="233"/>
                        </a:lnTo>
                        <a:lnTo>
                          <a:pt x="0" y="241"/>
                        </a:lnTo>
                        <a:lnTo>
                          <a:pt x="2" y="246"/>
                        </a:lnTo>
                        <a:lnTo>
                          <a:pt x="10" y="250"/>
                        </a:lnTo>
                        <a:lnTo>
                          <a:pt x="18" y="251"/>
                        </a:lnTo>
                        <a:lnTo>
                          <a:pt x="20" y="260"/>
                        </a:lnTo>
                        <a:lnTo>
                          <a:pt x="18" y="266"/>
                        </a:lnTo>
                        <a:lnTo>
                          <a:pt x="15" y="271"/>
                        </a:lnTo>
                        <a:lnTo>
                          <a:pt x="18" y="275"/>
                        </a:lnTo>
                        <a:lnTo>
                          <a:pt x="32" y="275"/>
                        </a:lnTo>
                        <a:lnTo>
                          <a:pt x="42" y="281"/>
                        </a:lnTo>
                        <a:lnTo>
                          <a:pt x="43" y="275"/>
                        </a:lnTo>
                        <a:lnTo>
                          <a:pt x="47" y="265"/>
                        </a:lnTo>
                        <a:lnTo>
                          <a:pt x="48" y="261"/>
                        </a:lnTo>
                        <a:lnTo>
                          <a:pt x="55" y="256"/>
                        </a:lnTo>
                        <a:lnTo>
                          <a:pt x="57" y="251"/>
                        </a:lnTo>
                        <a:lnTo>
                          <a:pt x="57" y="248"/>
                        </a:lnTo>
                        <a:lnTo>
                          <a:pt x="62" y="245"/>
                        </a:lnTo>
                        <a:lnTo>
                          <a:pt x="60" y="241"/>
                        </a:lnTo>
                        <a:lnTo>
                          <a:pt x="55" y="240"/>
                        </a:lnTo>
                        <a:lnTo>
                          <a:pt x="57" y="235"/>
                        </a:lnTo>
                        <a:lnTo>
                          <a:pt x="60" y="231"/>
                        </a:lnTo>
                        <a:lnTo>
                          <a:pt x="67" y="230"/>
                        </a:lnTo>
                        <a:lnTo>
                          <a:pt x="73" y="228"/>
                        </a:lnTo>
                        <a:lnTo>
                          <a:pt x="78" y="228"/>
                        </a:lnTo>
                        <a:lnTo>
                          <a:pt x="88" y="226"/>
                        </a:lnTo>
                        <a:lnTo>
                          <a:pt x="93" y="228"/>
                        </a:lnTo>
                        <a:lnTo>
                          <a:pt x="98" y="231"/>
                        </a:lnTo>
                        <a:lnTo>
                          <a:pt x="105" y="230"/>
                        </a:lnTo>
                        <a:lnTo>
                          <a:pt x="111" y="233"/>
                        </a:lnTo>
                        <a:lnTo>
                          <a:pt x="116" y="231"/>
                        </a:lnTo>
                        <a:lnTo>
                          <a:pt x="125" y="230"/>
                        </a:lnTo>
                        <a:lnTo>
                          <a:pt x="135" y="225"/>
                        </a:lnTo>
                        <a:lnTo>
                          <a:pt x="140" y="221"/>
                        </a:lnTo>
                        <a:lnTo>
                          <a:pt x="145" y="211"/>
                        </a:lnTo>
                        <a:lnTo>
                          <a:pt x="151" y="210"/>
                        </a:lnTo>
                        <a:lnTo>
                          <a:pt x="155" y="205"/>
                        </a:lnTo>
                        <a:lnTo>
                          <a:pt x="158" y="203"/>
                        </a:lnTo>
                        <a:lnTo>
                          <a:pt x="158" y="206"/>
                        </a:lnTo>
                        <a:lnTo>
                          <a:pt x="158" y="215"/>
                        </a:lnTo>
                        <a:lnTo>
                          <a:pt x="155" y="220"/>
                        </a:lnTo>
                        <a:lnTo>
                          <a:pt x="155" y="226"/>
                        </a:lnTo>
                        <a:lnTo>
                          <a:pt x="173" y="235"/>
                        </a:lnTo>
                        <a:lnTo>
                          <a:pt x="175" y="241"/>
                        </a:lnTo>
                        <a:lnTo>
                          <a:pt x="173" y="233"/>
                        </a:lnTo>
                        <a:lnTo>
                          <a:pt x="175" y="230"/>
                        </a:lnTo>
                        <a:lnTo>
                          <a:pt x="181" y="226"/>
                        </a:lnTo>
                        <a:lnTo>
                          <a:pt x="190" y="223"/>
                        </a:lnTo>
                        <a:lnTo>
                          <a:pt x="200" y="211"/>
                        </a:lnTo>
                        <a:lnTo>
                          <a:pt x="204" y="203"/>
                        </a:lnTo>
                        <a:lnTo>
                          <a:pt x="209" y="193"/>
                        </a:lnTo>
                        <a:lnTo>
                          <a:pt x="216" y="185"/>
                        </a:lnTo>
                        <a:lnTo>
                          <a:pt x="219" y="177"/>
                        </a:lnTo>
                        <a:lnTo>
                          <a:pt x="214" y="168"/>
                        </a:lnTo>
                        <a:lnTo>
                          <a:pt x="211" y="158"/>
                        </a:lnTo>
                        <a:lnTo>
                          <a:pt x="218" y="153"/>
                        </a:lnTo>
                        <a:lnTo>
                          <a:pt x="226" y="143"/>
                        </a:lnTo>
                        <a:lnTo>
                          <a:pt x="231" y="137"/>
                        </a:lnTo>
                        <a:lnTo>
                          <a:pt x="229" y="130"/>
                        </a:lnTo>
                        <a:lnTo>
                          <a:pt x="224" y="130"/>
                        </a:lnTo>
                        <a:lnTo>
                          <a:pt x="221" y="127"/>
                        </a:lnTo>
                        <a:lnTo>
                          <a:pt x="224" y="120"/>
                        </a:lnTo>
                        <a:lnTo>
                          <a:pt x="229" y="120"/>
                        </a:lnTo>
                        <a:lnTo>
                          <a:pt x="224" y="115"/>
                        </a:lnTo>
                        <a:lnTo>
                          <a:pt x="221" y="105"/>
                        </a:lnTo>
                        <a:lnTo>
                          <a:pt x="221" y="97"/>
                        </a:lnTo>
                        <a:lnTo>
                          <a:pt x="219" y="90"/>
                        </a:lnTo>
                        <a:lnTo>
                          <a:pt x="214" y="84"/>
                        </a:lnTo>
                        <a:lnTo>
                          <a:pt x="213" y="75"/>
                        </a:lnTo>
                        <a:lnTo>
                          <a:pt x="218" y="69"/>
                        </a:lnTo>
                        <a:lnTo>
                          <a:pt x="218" y="60"/>
                        </a:lnTo>
                        <a:lnTo>
                          <a:pt x="223" y="52"/>
                        </a:lnTo>
                        <a:lnTo>
                          <a:pt x="233" y="45"/>
                        </a:lnTo>
                        <a:lnTo>
                          <a:pt x="226" y="39"/>
                        </a:lnTo>
                        <a:lnTo>
                          <a:pt x="224" y="30"/>
                        </a:lnTo>
                        <a:lnTo>
                          <a:pt x="223" y="25"/>
                        </a:lnTo>
                        <a:lnTo>
                          <a:pt x="221" y="20"/>
                        </a:lnTo>
                        <a:lnTo>
                          <a:pt x="224" y="15"/>
                        </a:lnTo>
                        <a:lnTo>
                          <a:pt x="221" y="9"/>
                        </a:lnTo>
                        <a:lnTo>
                          <a:pt x="218" y="4"/>
                        </a:lnTo>
                        <a:lnTo>
                          <a:pt x="216" y="0"/>
                        </a:lnTo>
                        <a:lnTo>
                          <a:pt x="208" y="5"/>
                        </a:lnTo>
                        <a:lnTo>
                          <a:pt x="203" y="12"/>
                        </a:lnTo>
                        <a:lnTo>
                          <a:pt x="200" y="15"/>
                        </a:lnTo>
                        <a:lnTo>
                          <a:pt x="193" y="20"/>
                        </a:lnTo>
                        <a:lnTo>
                          <a:pt x="188" y="15"/>
                        </a:lnTo>
                        <a:lnTo>
                          <a:pt x="181" y="17"/>
                        </a:lnTo>
                        <a:lnTo>
                          <a:pt x="178" y="20"/>
                        </a:lnTo>
                        <a:lnTo>
                          <a:pt x="175" y="29"/>
                        </a:lnTo>
                        <a:lnTo>
                          <a:pt x="171" y="39"/>
                        </a:lnTo>
                        <a:lnTo>
                          <a:pt x="165" y="44"/>
                        </a:lnTo>
                        <a:lnTo>
                          <a:pt x="151" y="54"/>
                        </a:lnTo>
                        <a:lnTo>
                          <a:pt x="146" y="50"/>
                        </a:lnTo>
                        <a:lnTo>
                          <a:pt x="141" y="59"/>
                        </a:lnTo>
                        <a:lnTo>
                          <a:pt x="133" y="60"/>
                        </a:lnTo>
                        <a:lnTo>
                          <a:pt x="128" y="69"/>
                        </a:lnTo>
                        <a:lnTo>
                          <a:pt x="125" y="75"/>
                        </a:lnTo>
                        <a:lnTo>
                          <a:pt x="123" y="79"/>
                        </a:lnTo>
                        <a:lnTo>
                          <a:pt x="123" y="79"/>
                        </a:lnTo>
                        <a:lnTo>
                          <a:pt x="123" y="79"/>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23" name="Freeform 1078">
                    <a:extLst>
                      <a:ext uri="{FF2B5EF4-FFF2-40B4-BE49-F238E27FC236}">
                        <a16:creationId xmlns:a16="http://schemas.microsoft.com/office/drawing/2014/main" id="{279443E8-9416-4FCD-9198-D67B126A22FF}"/>
                      </a:ext>
                    </a:extLst>
                  </p:cNvPr>
                  <p:cNvSpPr>
                    <a:spLocks/>
                  </p:cNvSpPr>
                  <p:nvPr/>
                </p:nvSpPr>
                <p:spPr bwMode="auto">
                  <a:xfrm>
                    <a:off x="5999705" y="2461702"/>
                    <a:ext cx="920908" cy="521432"/>
                  </a:xfrm>
                  <a:custGeom>
                    <a:avLst/>
                    <a:gdLst>
                      <a:gd name="T0" fmla="*/ 140 w 740"/>
                      <a:gd name="T1" fmla="*/ 399 h 419"/>
                      <a:gd name="T2" fmla="*/ 178 w 740"/>
                      <a:gd name="T3" fmla="*/ 397 h 419"/>
                      <a:gd name="T4" fmla="*/ 230 w 740"/>
                      <a:gd name="T5" fmla="*/ 396 h 419"/>
                      <a:gd name="T6" fmla="*/ 285 w 740"/>
                      <a:gd name="T7" fmla="*/ 386 h 419"/>
                      <a:gd name="T8" fmla="*/ 300 w 740"/>
                      <a:gd name="T9" fmla="*/ 354 h 419"/>
                      <a:gd name="T10" fmla="*/ 336 w 740"/>
                      <a:gd name="T11" fmla="*/ 291 h 419"/>
                      <a:gd name="T12" fmla="*/ 353 w 740"/>
                      <a:gd name="T13" fmla="*/ 293 h 419"/>
                      <a:gd name="T14" fmla="*/ 398 w 740"/>
                      <a:gd name="T15" fmla="*/ 279 h 419"/>
                      <a:gd name="T16" fmla="*/ 486 w 740"/>
                      <a:gd name="T17" fmla="*/ 239 h 419"/>
                      <a:gd name="T18" fmla="*/ 549 w 740"/>
                      <a:gd name="T19" fmla="*/ 215 h 419"/>
                      <a:gd name="T20" fmla="*/ 539 w 740"/>
                      <a:gd name="T21" fmla="*/ 243 h 419"/>
                      <a:gd name="T22" fmla="*/ 554 w 740"/>
                      <a:gd name="T23" fmla="*/ 286 h 419"/>
                      <a:gd name="T24" fmla="*/ 562 w 740"/>
                      <a:gd name="T25" fmla="*/ 291 h 419"/>
                      <a:gd name="T26" fmla="*/ 564 w 740"/>
                      <a:gd name="T27" fmla="*/ 313 h 419"/>
                      <a:gd name="T28" fmla="*/ 522 w 740"/>
                      <a:gd name="T29" fmla="*/ 328 h 419"/>
                      <a:gd name="T30" fmla="*/ 487 w 740"/>
                      <a:gd name="T31" fmla="*/ 354 h 419"/>
                      <a:gd name="T32" fmla="*/ 479 w 740"/>
                      <a:gd name="T33" fmla="*/ 377 h 419"/>
                      <a:gd name="T34" fmla="*/ 496 w 740"/>
                      <a:gd name="T35" fmla="*/ 412 h 419"/>
                      <a:gd name="T36" fmla="*/ 546 w 740"/>
                      <a:gd name="T37" fmla="*/ 371 h 419"/>
                      <a:gd name="T38" fmla="*/ 580 w 740"/>
                      <a:gd name="T39" fmla="*/ 323 h 419"/>
                      <a:gd name="T40" fmla="*/ 644 w 740"/>
                      <a:gd name="T41" fmla="*/ 296 h 419"/>
                      <a:gd name="T42" fmla="*/ 683 w 740"/>
                      <a:gd name="T43" fmla="*/ 309 h 419"/>
                      <a:gd name="T44" fmla="*/ 717 w 740"/>
                      <a:gd name="T45" fmla="*/ 321 h 419"/>
                      <a:gd name="T46" fmla="*/ 693 w 740"/>
                      <a:gd name="T47" fmla="*/ 281 h 419"/>
                      <a:gd name="T48" fmla="*/ 685 w 740"/>
                      <a:gd name="T49" fmla="*/ 244 h 419"/>
                      <a:gd name="T50" fmla="*/ 723 w 740"/>
                      <a:gd name="T51" fmla="*/ 203 h 419"/>
                      <a:gd name="T52" fmla="*/ 737 w 740"/>
                      <a:gd name="T53" fmla="*/ 191 h 419"/>
                      <a:gd name="T54" fmla="*/ 728 w 740"/>
                      <a:gd name="T55" fmla="*/ 165 h 419"/>
                      <a:gd name="T56" fmla="*/ 730 w 740"/>
                      <a:gd name="T57" fmla="*/ 155 h 419"/>
                      <a:gd name="T58" fmla="*/ 690 w 740"/>
                      <a:gd name="T59" fmla="*/ 145 h 419"/>
                      <a:gd name="T60" fmla="*/ 650 w 740"/>
                      <a:gd name="T61" fmla="*/ 143 h 419"/>
                      <a:gd name="T62" fmla="*/ 614 w 740"/>
                      <a:gd name="T63" fmla="*/ 146 h 419"/>
                      <a:gd name="T64" fmla="*/ 587 w 740"/>
                      <a:gd name="T65" fmla="*/ 150 h 419"/>
                      <a:gd name="T66" fmla="*/ 592 w 740"/>
                      <a:gd name="T67" fmla="*/ 130 h 419"/>
                      <a:gd name="T68" fmla="*/ 619 w 740"/>
                      <a:gd name="T69" fmla="*/ 102 h 419"/>
                      <a:gd name="T70" fmla="*/ 607 w 740"/>
                      <a:gd name="T71" fmla="*/ 62 h 419"/>
                      <a:gd name="T72" fmla="*/ 590 w 740"/>
                      <a:gd name="T73" fmla="*/ 53 h 419"/>
                      <a:gd name="T74" fmla="*/ 561 w 740"/>
                      <a:gd name="T75" fmla="*/ 63 h 419"/>
                      <a:gd name="T76" fmla="*/ 572 w 740"/>
                      <a:gd name="T77" fmla="*/ 40 h 419"/>
                      <a:gd name="T78" fmla="*/ 580 w 740"/>
                      <a:gd name="T79" fmla="*/ 19 h 419"/>
                      <a:gd name="T80" fmla="*/ 559 w 740"/>
                      <a:gd name="T81" fmla="*/ 5 h 419"/>
                      <a:gd name="T82" fmla="*/ 516 w 740"/>
                      <a:gd name="T83" fmla="*/ 19 h 419"/>
                      <a:gd name="T84" fmla="*/ 477 w 740"/>
                      <a:gd name="T85" fmla="*/ 47 h 419"/>
                      <a:gd name="T86" fmla="*/ 448 w 740"/>
                      <a:gd name="T87" fmla="*/ 68 h 419"/>
                      <a:gd name="T88" fmla="*/ 411 w 740"/>
                      <a:gd name="T89" fmla="*/ 60 h 419"/>
                      <a:gd name="T90" fmla="*/ 363 w 740"/>
                      <a:gd name="T91" fmla="*/ 35 h 419"/>
                      <a:gd name="T92" fmla="*/ 330 w 740"/>
                      <a:gd name="T93" fmla="*/ 67 h 419"/>
                      <a:gd name="T94" fmla="*/ 291 w 740"/>
                      <a:gd name="T95" fmla="*/ 117 h 419"/>
                      <a:gd name="T96" fmla="*/ 256 w 740"/>
                      <a:gd name="T97" fmla="*/ 143 h 419"/>
                      <a:gd name="T98" fmla="*/ 205 w 740"/>
                      <a:gd name="T99" fmla="*/ 170 h 419"/>
                      <a:gd name="T100" fmla="*/ 192 w 740"/>
                      <a:gd name="T101" fmla="*/ 201 h 419"/>
                      <a:gd name="T102" fmla="*/ 162 w 740"/>
                      <a:gd name="T103" fmla="*/ 221 h 419"/>
                      <a:gd name="T104" fmla="*/ 138 w 740"/>
                      <a:gd name="T105" fmla="*/ 244 h 419"/>
                      <a:gd name="T106" fmla="*/ 123 w 740"/>
                      <a:gd name="T107" fmla="*/ 278 h 419"/>
                      <a:gd name="T108" fmla="*/ 77 w 740"/>
                      <a:gd name="T109" fmla="*/ 274 h 419"/>
                      <a:gd name="T110" fmla="*/ 45 w 740"/>
                      <a:gd name="T111" fmla="*/ 301 h 419"/>
                      <a:gd name="T112" fmla="*/ 7 w 740"/>
                      <a:gd name="T113" fmla="*/ 281 h 419"/>
                      <a:gd name="T114" fmla="*/ 0 w 740"/>
                      <a:gd name="T115" fmla="*/ 318 h 419"/>
                      <a:gd name="T116" fmla="*/ 25 w 740"/>
                      <a:gd name="T117" fmla="*/ 336 h 419"/>
                      <a:gd name="T118" fmla="*/ 65 w 740"/>
                      <a:gd name="T119" fmla="*/ 336 h 419"/>
                      <a:gd name="T120" fmla="*/ 67 w 740"/>
                      <a:gd name="T121" fmla="*/ 359 h 419"/>
                      <a:gd name="T122" fmla="*/ 82 w 740"/>
                      <a:gd name="T123" fmla="*/ 406 h 419"/>
                      <a:gd name="T124" fmla="*/ 80 w 740"/>
                      <a:gd name="T125"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0" h="419">
                        <a:moveTo>
                          <a:pt x="80" y="419"/>
                        </a:moveTo>
                        <a:lnTo>
                          <a:pt x="84" y="417"/>
                        </a:lnTo>
                        <a:lnTo>
                          <a:pt x="110" y="411"/>
                        </a:lnTo>
                        <a:lnTo>
                          <a:pt x="135" y="401"/>
                        </a:lnTo>
                        <a:lnTo>
                          <a:pt x="140" y="399"/>
                        </a:lnTo>
                        <a:lnTo>
                          <a:pt x="148" y="394"/>
                        </a:lnTo>
                        <a:lnTo>
                          <a:pt x="157" y="389"/>
                        </a:lnTo>
                        <a:lnTo>
                          <a:pt x="162" y="392"/>
                        </a:lnTo>
                        <a:lnTo>
                          <a:pt x="167" y="392"/>
                        </a:lnTo>
                        <a:lnTo>
                          <a:pt x="178" y="397"/>
                        </a:lnTo>
                        <a:lnTo>
                          <a:pt x="188" y="406"/>
                        </a:lnTo>
                        <a:lnTo>
                          <a:pt x="197" y="407"/>
                        </a:lnTo>
                        <a:lnTo>
                          <a:pt x="208" y="406"/>
                        </a:lnTo>
                        <a:lnTo>
                          <a:pt x="217" y="399"/>
                        </a:lnTo>
                        <a:lnTo>
                          <a:pt x="230" y="396"/>
                        </a:lnTo>
                        <a:lnTo>
                          <a:pt x="251" y="399"/>
                        </a:lnTo>
                        <a:lnTo>
                          <a:pt x="265" y="391"/>
                        </a:lnTo>
                        <a:lnTo>
                          <a:pt x="268" y="396"/>
                        </a:lnTo>
                        <a:lnTo>
                          <a:pt x="278" y="391"/>
                        </a:lnTo>
                        <a:lnTo>
                          <a:pt x="285" y="386"/>
                        </a:lnTo>
                        <a:lnTo>
                          <a:pt x="288" y="376"/>
                        </a:lnTo>
                        <a:lnTo>
                          <a:pt x="296" y="377"/>
                        </a:lnTo>
                        <a:lnTo>
                          <a:pt x="300" y="369"/>
                        </a:lnTo>
                        <a:lnTo>
                          <a:pt x="295" y="364"/>
                        </a:lnTo>
                        <a:lnTo>
                          <a:pt x="300" y="354"/>
                        </a:lnTo>
                        <a:lnTo>
                          <a:pt x="325" y="328"/>
                        </a:lnTo>
                        <a:lnTo>
                          <a:pt x="338" y="313"/>
                        </a:lnTo>
                        <a:lnTo>
                          <a:pt x="348" y="303"/>
                        </a:lnTo>
                        <a:lnTo>
                          <a:pt x="341" y="298"/>
                        </a:lnTo>
                        <a:lnTo>
                          <a:pt x="336" y="291"/>
                        </a:lnTo>
                        <a:lnTo>
                          <a:pt x="341" y="286"/>
                        </a:lnTo>
                        <a:lnTo>
                          <a:pt x="346" y="286"/>
                        </a:lnTo>
                        <a:lnTo>
                          <a:pt x="346" y="291"/>
                        </a:lnTo>
                        <a:lnTo>
                          <a:pt x="346" y="294"/>
                        </a:lnTo>
                        <a:lnTo>
                          <a:pt x="353" y="293"/>
                        </a:lnTo>
                        <a:lnTo>
                          <a:pt x="356" y="296"/>
                        </a:lnTo>
                        <a:lnTo>
                          <a:pt x="366" y="291"/>
                        </a:lnTo>
                        <a:lnTo>
                          <a:pt x="373" y="293"/>
                        </a:lnTo>
                        <a:lnTo>
                          <a:pt x="379" y="291"/>
                        </a:lnTo>
                        <a:lnTo>
                          <a:pt x="398" y="279"/>
                        </a:lnTo>
                        <a:lnTo>
                          <a:pt x="409" y="274"/>
                        </a:lnTo>
                        <a:lnTo>
                          <a:pt x="436" y="259"/>
                        </a:lnTo>
                        <a:lnTo>
                          <a:pt x="464" y="244"/>
                        </a:lnTo>
                        <a:lnTo>
                          <a:pt x="471" y="239"/>
                        </a:lnTo>
                        <a:lnTo>
                          <a:pt x="486" y="239"/>
                        </a:lnTo>
                        <a:lnTo>
                          <a:pt x="501" y="236"/>
                        </a:lnTo>
                        <a:lnTo>
                          <a:pt x="516" y="220"/>
                        </a:lnTo>
                        <a:lnTo>
                          <a:pt x="536" y="218"/>
                        </a:lnTo>
                        <a:lnTo>
                          <a:pt x="542" y="218"/>
                        </a:lnTo>
                        <a:lnTo>
                          <a:pt x="549" y="215"/>
                        </a:lnTo>
                        <a:lnTo>
                          <a:pt x="556" y="215"/>
                        </a:lnTo>
                        <a:lnTo>
                          <a:pt x="557" y="223"/>
                        </a:lnTo>
                        <a:lnTo>
                          <a:pt x="552" y="230"/>
                        </a:lnTo>
                        <a:lnTo>
                          <a:pt x="547" y="235"/>
                        </a:lnTo>
                        <a:lnTo>
                          <a:pt x="539" y="243"/>
                        </a:lnTo>
                        <a:lnTo>
                          <a:pt x="536" y="253"/>
                        </a:lnTo>
                        <a:lnTo>
                          <a:pt x="534" y="256"/>
                        </a:lnTo>
                        <a:lnTo>
                          <a:pt x="537" y="259"/>
                        </a:lnTo>
                        <a:lnTo>
                          <a:pt x="542" y="273"/>
                        </a:lnTo>
                        <a:lnTo>
                          <a:pt x="554" y="286"/>
                        </a:lnTo>
                        <a:lnTo>
                          <a:pt x="551" y="294"/>
                        </a:lnTo>
                        <a:lnTo>
                          <a:pt x="551" y="299"/>
                        </a:lnTo>
                        <a:lnTo>
                          <a:pt x="556" y="303"/>
                        </a:lnTo>
                        <a:lnTo>
                          <a:pt x="557" y="298"/>
                        </a:lnTo>
                        <a:lnTo>
                          <a:pt x="562" y="291"/>
                        </a:lnTo>
                        <a:lnTo>
                          <a:pt x="569" y="291"/>
                        </a:lnTo>
                        <a:lnTo>
                          <a:pt x="572" y="299"/>
                        </a:lnTo>
                        <a:lnTo>
                          <a:pt x="572" y="306"/>
                        </a:lnTo>
                        <a:lnTo>
                          <a:pt x="567" y="306"/>
                        </a:lnTo>
                        <a:lnTo>
                          <a:pt x="564" y="313"/>
                        </a:lnTo>
                        <a:lnTo>
                          <a:pt x="556" y="318"/>
                        </a:lnTo>
                        <a:lnTo>
                          <a:pt x="546" y="321"/>
                        </a:lnTo>
                        <a:lnTo>
                          <a:pt x="537" y="321"/>
                        </a:lnTo>
                        <a:lnTo>
                          <a:pt x="531" y="328"/>
                        </a:lnTo>
                        <a:lnTo>
                          <a:pt x="522" y="328"/>
                        </a:lnTo>
                        <a:lnTo>
                          <a:pt x="516" y="326"/>
                        </a:lnTo>
                        <a:lnTo>
                          <a:pt x="509" y="328"/>
                        </a:lnTo>
                        <a:lnTo>
                          <a:pt x="506" y="339"/>
                        </a:lnTo>
                        <a:lnTo>
                          <a:pt x="506" y="344"/>
                        </a:lnTo>
                        <a:lnTo>
                          <a:pt x="487" y="354"/>
                        </a:lnTo>
                        <a:lnTo>
                          <a:pt x="479" y="361"/>
                        </a:lnTo>
                        <a:lnTo>
                          <a:pt x="471" y="362"/>
                        </a:lnTo>
                        <a:lnTo>
                          <a:pt x="469" y="364"/>
                        </a:lnTo>
                        <a:lnTo>
                          <a:pt x="471" y="366"/>
                        </a:lnTo>
                        <a:lnTo>
                          <a:pt x="479" y="377"/>
                        </a:lnTo>
                        <a:lnTo>
                          <a:pt x="476" y="384"/>
                        </a:lnTo>
                        <a:lnTo>
                          <a:pt x="479" y="394"/>
                        </a:lnTo>
                        <a:lnTo>
                          <a:pt x="481" y="402"/>
                        </a:lnTo>
                        <a:lnTo>
                          <a:pt x="487" y="409"/>
                        </a:lnTo>
                        <a:lnTo>
                          <a:pt x="496" y="412"/>
                        </a:lnTo>
                        <a:lnTo>
                          <a:pt x="507" y="404"/>
                        </a:lnTo>
                        <a:lnTo>
                          <a:pt x="519" y="389"/>
                        </a:lnTo>
                        <a:lnTo>
                          <a:pt x="524" y="384"/>
                        </a:lnTo>
                        <a:lnTo>
                          <a:pt x="536" y="374"/>
                        </a:lnTo>
                        <a:lnTo>
                          <a:pt x="546" y="371"/>
                        </a:lnTo>
                        <a:lnTo>
                          <a:pt x="547" y="361"/>
                        </a:lnTo>
                        <a:lnTo>
                          <a:pt x="554" y="354"/>
                        </a:lnTo>
                        <a:lnTo>
                          <a:pt x="566" y="347"/>
                        </a:lnTo>
                        <a:lnTo>
                          <a:pt x="575" y="329"/>
                        </a:lnTo>
                        <a:lnTo>
                          <a:pt x="580" y="323"/>
                        </a:lnTo>
                        <a:lnTo>
                          <a:pt x="594" y="314"/>
                        </a:lnTo>
                        <a:lnTo>
                          <a:pt x="612" y="306"/>
                        </a:lnTo>
                        <a:lnTo>
                          <a:pt x="620" y="306"/>
                        </a:lnTo>
                        <a:lnTo>
                          <a:pt x="634" y="303"/>
                        </a:lnTo>
                        <a:lnTo>
                          <a:pt x="644" y="296"/>
                        </a:lnTo>
                        <a:lnTo>
                          <a:pt x="647" y="291"/>
                        </a:lnTo>
                        <a:lnTo>
                          <a:pt x="657" y="291"/>
                        </a:lnTo>
                        <a:lnTo>
                          <a:pt x="670" y="291"/>
                        </a:lnTo>
                        <a:lnTo>
                          <a:pt x="683" y="301"/>
                        </a:lnTo>
                        <a:lnTo>
                          <a:pt x="683" y="309"/>
                        </a:lnTo>
                        <a:lnTo>
                          <a:pt x="683" y="313"/>
                        </a:lnTo>
                        <a:lnTo>
                          <a:pt x="692" y="314"/>
                        </a:lnTo>
                        <a:lnTo>
                          <a:pt x="703" y="321"/>
                        </a:lnTo>
                        <a:lnTo>
                          <a:pt x="710" y="323"/>
                        </a:lnTo>
                        <a:lnTo>
                          <a:pt x="717" y="321"/>
                        </a:lnTo>
                        <a:lnTo>
                          <a:pt x="722" y="314"/>
                        </a:lnTo>
                        <a:lnTo>
                          <a:pt x="715" y="311"/>
                        </a:lnTo>
                        <a:lnTo>
                          <a:pt x="712" y="304"/>
                        </a:lnTo>
                        <a:lnTo>
                          <a:pt x="698" y="288"/>
                        </a:lnTo>
                        <a:lnTo>
                          <a:pt x="693" y="281"/>
                        </a:lnTo>
                        <a:lnTo>
                          <a:pt x="688" y="276"/>
                        </a:lnTo>
                        <a:lnTo>
                          <a:pt x="683" y="271"/>
                        </a:lnTo>
                        <a:lnTo>
                          <a:pt x="687" y="266"/>
                        </a:lnTo>
                        <a:lnTo>
                          <a:pt x="680" y="253"/>
                        </a:lnTo>
                        <a:lnTo>
                          <a:pt x="685" y="244"/>
                        </a:lnTo>
                        <a:lnTo>
                          <a:pt x="693" y="235"/>
                        </a:lnTo>
                        <a:lnTo>
                          <a:pt x="702" y="228"/>
                        </a:lnTo>
                        <a:lnTo>
                          <a:pt x="708" y="221"/>
                        </a:lnTo>
                        <a:lnTo>
                          <a:pt x="717" y="208"/>
                        </a:lnTo>
                        <a:lnTo>
                          <a:pt x="723" y="203"/>
                        </a:lnTo>
                        <a:lnTo>
                          <a:pt x="728" y="201"/>
                        </a:lnTo>
                        <a:lnTo>
                          <a:pt x="732" y="206"/>
                        </a:lnTo>
                        <a:lnTo>
                          <a:pt x="737" y="201"/>
                        </a:lnTo>
                        <a:lnTo>
                          <a:pt x="735" y="198"/>
                        </a:lnTo>
                        <a:lnTo>
                          <a:pt x="737" y="191"/>
                        </a:lnTo>
                        <a:lnTo>
                          <a:pt x="737" y="185"/>
                        </a:lnTo>
                        <a:lnTo>
                          <a:pt x="728" y="181"/>
                        </a:lnTo>
                        <a:lnTo>
                          <a:pt x="725" y="181"/>
                        </a:lnTo>
                        <a:lnTo>
                          <a:pt x="725" y="171"/>
                        </a:lnTo>
                        <a:lnTo>
                          <a:pt x="728" y="165"/>
                        </a:lnTo>
                        <a:lnTo>
                          <a:pt x="732" y="160"/>
                        </a:lnTo>
                        <a:lnTo>
                          <a:pt x="735" y="153"/>
                        </a:lnTo>
                        <a:lnTo>
                          <a:pt x="740" y="151"/>
                        </a:lnTo>
                        <a:lnTo>
                          <a:pt x="735" y="148"/>
                        </a:lnTo>
                        <a:lnTo>
                          <a:pt x="730" y="155"/>
                        </a:lnTo>
                        <a:lnTo>
                          <a:pt x="725" y="156"/>
                        </a:lnTo>
                        <a:lnTo>
                          <a:pt x="717" y="155"/>
                        </a:lnTo>
                        <a:lnTo>
                          <a:pt x="705" y="150"/>
                        </a:lnTo>
                        <a:lnTo>
                          <a:pt x="697" y="143"/>
                        </a:lnTo>
                        <a:lnTo>
                          <a:pt x="690" y="145"/>
                        </a:lnTo>
                        <a:lnTo>
                          <a:pt x="687" y="148"/>
                        </a:lnTo>
                        <a:lnTo>
                          <a:pt x="677" y="151"/>
                        </a:lnTo>
                        <a:lnTo>
                          <a:pt x="665" y="143"/>
                        </a:lnTo>
                        <a:lnTo>
                          <a:pt x="660" y="146"/>
                        </a:lnTo>
                        <a:lnTo>
                          <a:pt x="650" y="143"/>
                        </a:lnTo>
                        <a:lnTo>
                          <a:pt x="644" y="138"/>
                        </a:lnTo>
                        <a:lnTo>
                          <a:pt x="637" y="136"/>
                        </a:lnTo>
                        <a:lnTo>
                          <a:pt x="627" y="136"/>
                        </a:lnTo>
                        <a:lnTo>
                          <a:pt x="620" y="143"/>
                        </a:lnTo>
                        <a:lnTo>
                          <a:pt x="614" y="146"/>
                        </a:lnTo>
                        <a:lnTo>
                          <a:pt x="607" y="150"/>
                        </a:lnTo>
                        <a:lnTo>
                          <a:pt x="605" y="156"/>
                        </a:lnTo>
                        <a:lnTo>
                          <a:pt x="602" y="156"/>
                        </a:lnTo>
                        <a:lnTo>
                          <a:pt x="600" y="150"/>
                        </a:lnTo>
                        <a:lnTo>
                          <a:pt x="587" y="150"/>
                        </a:lnTo>
                        <a:lnTo>
                          <a:pt x="590" y="143"/>
                        </a:lnTo>
                        <a:lnTo>
                          <a:pt x="595" y="140"/>
                        </a:lnTo>
                        <a:lnTo>
                          <a:pt x="595" y="135"/>
                        </a:lnTo>
                        <a:lnTo>
                          <a:pt x="592" y="133"/>
                        </a:lnTo>
                        <a:lnTo>
                          <a:pt x="592" y="130"/>
                        </a:lnTo>
                        <a:lnTo>
                          <a:pt x="600" y="127"/>
                        </a:lnTo>
                        <a:lnTo>
                          <a:pt x="605" y="120"/>
                        </a:lnTo>
                        <a:lnTo>
                          <a:pt x="610" y="113"/>
                        </a:lnTo>
                        <a:lnTo>
                          <a:pt x="612" y="107"/>
                        </a:lnTo>
                        <a:lnTo>
                          <a:pt x="619" y="102"/>
                        </a:lnTo>
                        <a:lnTo>
                          <a:pt x="620" y="93"/>
                        </a:lnTo>
                        <a:lnTo>
                          <a:pt x="619" y="83"/>
                        </a:lnTo>
                        <a:lnTo>
                          <a:pt x="614" y="75"/>
                        </a:lnTo>
                        <a:lnTo>
                          <a:pt x="612" y="68"/>
                        </a:lnTo>
                        <a:lnTo>
                          <a:pt x="607" y="62"/>
                        </a:lnTo>
                        <a:lnTo>
                          <a:pt x="602" y="57"/>
                        </a:lnTo>
                        <a:lnTo>
                          <a:pt x="604" y="48"/>
                        </a:lnTo>
                        <a:lnTo>
                          <a:pt x="597" y="50"/>
                        </a:lnTo>
                        <a:lnTo>
                          <a:pt x="595" y="53"/>
                        </a:lnTo>
                        <a:lnTo>
                          <a:pt x="590" y="53"/>
                        </a:lnTo>
                        <a:lnTo>
                          <a:pt x="584" y="57"/>
                        </a:lnTo>
                        <a:lnTo>
                          <a:pt x="577" y="63"/>
                        </a:lnTo>
                        <a:lnTo>
                          <a:pt x="572" y="73"/>
                        </a:lnTo>
                        <a:lnTo>
                          <a:pt x="566" y="72"/>
                        </a:lnTo>
                        <a:lnTo>
                          <a:pt x="561" y="63"/>
                        </a:lnTo>
                        <a:lnTo>
                          <a:pt x="557" y="58"/>
                        </a:lnTo>
                        <a:lnTo>
                          <a:pt x="557" y="52"/>
                        </a:lnTo>
                        <a:lnTo>
                          <a:pt x="564" y="50"/>
                        </a:lnTo>
                        <a:lnTo>
                          <a:pt x="567" y="43"/>
                        </a:lnTo>
                        <a:lnTo>
                          <a:pt x="572" y="40"/>
                        </a:lnTo>
                        <a:lnTo>
                          <a:pt x="580" y="37"/>
                        </a:lnTo>
                        <a:lnTo>
                          <a:pt x="585" y="33"/>
                        </a:lnTo>
                        <a:lnTo>
                          <a:pt x="585" y="25"/>
                        </a:lnTo>
                        <a:lnTo>
                          <a:pt x="587" y="22"/>
                        </a:lnTo>
                        <a:lnTo>
                          <a:pt x="580" y="19"/>
                        </a:lnTo>
                        <a:lnTo>
                          <a:pt x="577" y="23"/>
                        </a:lnTo>
                        <a:lnTo>
                          <a:pt x="570" y="27"/>
                        </a:lnTo>
                        <a:lnTo>
                          <a:pt x="564" y="20"/>
                        </a:lnTo>
                        <a:lnTo>
                          <a:pt x="562" y="14"/>
                        </a:lnTo>
                        <a:lnTo>
                          <a:pt x="559" y="5"/>
                        </a:lnTo>
                        <a:lnTo>
                          <a:pt x="546" y="0"/>
                        </a:lnTo>
                        <a:lnTo>
                          <a:pt x="537" y="4"/>
                        </a:lnTo>
                        <a:lnTo>
                          <a:pt x="529" y="9"/>
                        </a:lnTo>
                        <a:lnTo>
                          <a:pt x="521" y="14"/>
                        </a:lnTo>
                        <a:lnTo>
                          <a:pt x="516" y="19"/>
                        </a:lnTo>
                        <a:lnTo>
                          <a:pt x="506" y="19"/>
                        </a:lnTo>
                        <a:lnTo>
                          <a:pt x="504" y="25"/>
                        </a:lnTo>
                        <a:lnTo>
                          <a:pt x="494" y="32"/>
                        </a:lnTo>
                        <a:lnTo>
                          <a:pt x="486" y="37"/>
                        </a:lnTo>
                        <a:lnTo>
                          <a:pt x="477" y="47"/>
                        </a:lnTo>
                        <a:lnTo>
                          <a:pt x="479" y="65"/>
                        </a:lnTo>
                        <a:lnTo>
                          <a:pt x="474" y="70"/>
                        </a:lnTo>
                        <a:lnTo>
                          <a:pt x="466" y="72"/>
                        </a:lnTo>
                        <a:lnTo>
                          <a:pt x="456" y="67"/>
                        </a:lnTo>
                        <a:lnTo>
                          <a:pt x="448" y="68"/>
                        </a:lnTo>
                        <a:lnTo>
                          <a:pt x="443" y="62"/>
                        </a:lnTo>
                        <a:lnTo>
                          <a:pt x="436" y="63"/>
                        </a:lnTo>
                        <a:lnTo>
                          <a:pt x="428" y="60"/>
                        </a:lnTo>
                        <a:lnTo>
                          <a:pt x="416" y="53"/>
                        </a:lnTo>
                        <a:lnTo>
                          <a:pt x="411" y="60"/>
                        </a:lnTo>
                        <a:lnTo>
                          <a:pt x="399" y="58"/>
                        </a:lnTo>
                        <a:lnTo>
                          <a:pt x="389" y="55"/>
                        </a:lnTo>
                        <a:lnTo>
                          <a:pt x="383" y="47"/>
                        </a:lnTo>
                        <a:lnTo>
                          <a:pt x="371" y="38"/>
                        </a:lnTo>
                        <a:lnTo>
                          <a:pt x="363" y="35"/>
                        </a:lnTo>
                        <a:lnTo>
                          <a:pt x="359" y="50"/>
                        </a:lnTo>
                        <a:lnTo>
                          <a:pt x="356" y="53"/>
                        </a:lnTo>
                        <a:lnTo>
                          <a:pt x="346" y="53"/>
                        </a:lnTo>
                        <a:lnTo>
                          <a:pt x="336" y="62"/>
                        </a:lnTo>
                        <a:lnTo>
                          <a:pt x="330" y="67"/>
                        </a:lnTo>
                        <a:lnTo>
                          <a:pt x="318" y="72"/>
                        </a:lnTo>
                        <a:lnTo>
                          <a:pt x="315" y="87"/>
                        </a:lnTo>
                        <a:lnTo>
                          <a:pt x="310" y="98"/>
                        </a:lnTo>
                        <a:lnTo>
                          <a:pt x="300" y="108"/>
                        </a:lnTo>
                        <a:lnTo>
                          <a:pt x="291" y="117"/>
                        </a:lnTo>
                        <a:lnTo>
                          <a:pt x="290" y="130"/>
                        </a:lnTo>
                        <a:lnTo>
                          <a:pt x="286" y="141"/>
                        </a:lnTo>
                        <a:lnTo>
                          <a:pt x="276" y="140"/>
                        </a:lnTo>
                        <a:lnTo>
                          <a:pt x="266" y="143"/>
                        </a:lnTo>
                        <a:lnTo>
                          <a:pt x="256" y="143"/>
                        </a:lnTo>
                        <a:lnTo>
                          <a:pt x="245" y="148"/>
                        </a:lnTo>
                        <a:lnTo>
                          <a:pt x="230" y="148"/>
                        </a:lnTo>
                        <a:lnTo>
                          <a:pt x="218" y="151"/>
                        </a:lnTo>
                        <a:lnTo>
                          <a:pt x="212" y="153"/>
                        </a:lnTo>
                        <a:lnTo>
                          <a:pt x="205" y="170"/>
                        </a:lnTo>
                        <a:lnTo>
                          <a:pt x="203" y="175"/>
                        </a:lnTo>
                        <a:lnTo>
                          <a:pt x="197" y="181"/>
                        </a:lnTo>
                        <a:lnTo>
                          <a:pt x="198" y="188"/>
                        </a:lnTo>
                        <a:lnTo>
                          <a:pt x="200" y="196"/>
                        </a:lnTo>
                        <a:lnTo>
                          <a:pt x="192" y="201"/>
                        </a:lnTo>
                        <a:lnTo>
                          <a:pt x="183" y="203"/>
                        </a:lnTo>
                        <a:lnTo>
                          <a:pt x="177" y="208"/>
                        </a:lnTo>
                        <a:lnTo>
                          <a:pt x="177" y="213"/>
                        </a:lnTo>
                        <a:lnTo>
                          <a:pt x="167" y="213"/>
                        </a:lnTo>
                        <a:lnTo>
                          <a:pt x="162" y="221"/>
                        </a:lnTo>
                        <a:lnTo>
                          <a:pt x="157" y="226"/>
                        </a:lnTo>
                        <a:lnTo>
                          <a:pt x="148" y="223"/>
                        </a:lnTo>
                        <a:lnTo>
                          <a:pt x="142" y="230"/>
                        </a:lnTo>
                        <a:lnTo>
                          <a:pt x="133" y="238"/>
                        </a:lnTo>
                        <a:lnTo>
                          <a:pt x="138" y="244"/>
                        </a:lnTo>
                        <a:lnTo>
                          <a:pt x="140" y="253"/>
                        </a:lnTo>
                        <a:lnTo>
                          <a:pt x="140" y="259"/>
                        </a:lnTo>
                        <a:lnTo>
                          <a:pt x="132" y="264"/>
                        </a:lnTo>
                        <a:lnTo>
                          <a:pt x="125" y="271"/>
                        </a:lnTo>
                        <a:lnTo>
                          <a:pt x="123" y="278"/>
                        </a:lnTo>
                        <a:lnTo>
                          <a:pt x="113" y="276"/>
                        </a:lnTo>
                        <a:lnTo>
                          <a:pt x="99" y="283"/>
                        </a:lnTo>
                        <a:lnTo>
                          <a:pt x="90" y="283"/>
                        </a:lnTo>
                        <a:lnTo>
                          <a:pt x="87" y="276"/>
                        </a:lnTo>
                        <a:lnTo>
                          <a:pt x="77" y="274"/>
                        </a:lnTo>
                        <a:lnTo>
                          <a:pt x="74" y="279"/>
                        </a:lnTo>
                        <a:lnTo>
                          <a:pt x="72" y="286"/>
                        </a:lnTo>
                        <a:lnTo>
                          <a:pt x="62" y="291"/>
                        </a:lnTo>
                        <a:lnTo>
                          <a:pt x="50" y="296"/>
                        </a:lnTo>
                        <a:lnTo>
                          <a:pt x="45" y="301"/>
                        </a:lnTo>
                        <a:lnTo>
                          <a:pt x="37" y="299"/>
                        </a:lnTo>
                        <a:lnTo>
                          <a:pt x="32" y="294"/>
                        </a:lnTo>
                        <a:lnTo>
                          <a:pt x="22" y="291"/>
                        </a:lnTo>
                        <a:lnTo>
                          <a:pt x="12" y="288"/>
                        </a:lnTo>
                        <a:lnTo>
                          <a:pt x="7" y="281"/>
                        </a:lnTo>
                        <a:lnTo>
                          <a:pt x="9" y="291"/>
                        </a:lnTo>
                        <a:lnTo>
                          <a:pt x="10" y="294"/>
                        </a:lnTo>
                        <a:lnTo>
                          <a:pt x="9" y="303"/>
                        </a:lnTo>
                        <a:lnTo>
                          <a:pt x="5" y="309"/>
                        </a:lnTo>
                        <a:lnTo>
                          <a:pt x="0" y="318"/>
                        </a:lnTo>
                        <a:lnTo>
                          <a:pt x="4" y="324"/>
                        </a:lnTo>
                        <a:lnTo>
                          <a:pt x="9" y="329"/>
                        </a:lnTo>
                        <a:lnTo>
                          <a:pt x="14" y="333"/>
                        </a:lnTo>
                        <a:lnTo>
                          <a:pt x="19" y="331"/>
                        </a:lnTo>
                        <a:lnTo>
                          <a:pt x="25" y="336"/>
                        </a:lnTo>
                        <a:lnTo>
                          <a:pt x="34" y="334"/>
                        </a:lnTo>
                        <a:lnTo>
                          <a:pt x="47" y="334"/>
                        </a:lnTo>
                        <a:lnTo>
                          <a:pt x="55" y="336"/>
                        </a:lnTo>
                        <a:lnTo>
                          <a:pt x="59" y="333"/>
                        </a:lnTo>
                        <a:lnTo>
                          <a:pt x="65" y="336"/>
                        </a:lnTo>
                        <a:lnTo>
                          <a:pt x="65" y="347"/>
                        </a:lnTo>
                        <a:lnTo>
                          <a:pt x="70" y="354"/>
                        </a:lnTo>
                        <a:lnTo>
                          <a:pt x="75" y="357"/>
                        </a:lnTo>
                        <a:lnTo>
                          <a:pt x="75" y="361"/>
                        </a:lnTo>
                        <a:lnTo>
                          <a:pt x="67" y="359"/>
                        </a:lnTo>
                        <a:lnTo>
                          <a:pt x="70" y="366"/>
                        </a:lnTo>
                        <a:lnTo>
                          <a:pt x="65" y="376"/>
                        </a:lnTo>
                        <a:lnTo>
                          <a:pt x="64" y="384"/>
                        </a:lnTo>
                        <a:lnTo>
                          <a:pt x="69" y="391"/>
                        </a:lnTo>
                        <a:lnTo>
                          <a:pt x="82" y="406"/>
                        </a:lnTo>
                        <a:lnTo>
                          <a:pt x="82" y="412"/>
                        </a:lnTo>
                        <a:lnTo>
                          <a:pt x="80" y="416"/>
                        </a:lnTo>
                        <a:lnTo>
                          <a:pt x="80" y="419"/>
                        </a:lnTo>
                        <a:lnTo>
                          <a:pt x="80" y="419"/>
                        </a:lnTo>
                        <a:lnTo>
                          <a:pt x="80" y="419"/>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24" name="Freeform 1080">
                    <a:extLst>
                      <a:ext uri="{FF2B5EF4-FFF2-40B4-BE49-F238E27FC236}">
                        <a16:creationId xmlns:a16="http://schemas.microsoft.com/office/drawing/2014/main" id="{E12FB6C6-2645-454A-9EC6-ECF9C079B3BF}"/>
                      </a:ext>
                    </a:extLst>
                  </p:cNvPr>
                  <p:cNvSpPr>
                    <a:spLocks/>
                  </p:cNvSpPr>
                  <p:nvPr/>
                </p:nvSpPr>
                <p:spPr bwMode="auto">
                  <a:xfrm>
                    <a:off x="5445916" y="2802686"/>
                    <a:ext cx="134402" cy="195382"/>
                  </a:xfrm>
                  <a:custGeom>
                    <a:avLst/>
                    <a:gdLst>
                      <a:gd name="T0" fmla="*/ 100 w 108"/>
                      <a:gd name="T1" fmla="*/ 122 h 157"/>
                      <a:gd name="T2" fmla="*/ 108 w 108"/>
                      <a:gd name="T3" fmla="*/ 117 h 157"/>
                      <a:gd name="T4" fmla="*/ 105 w 108"/>
                      <a:gd name="T5" fmla="*/ 107 h 157"/>
                      <a:gd name="T6" fmla="*/ 98 w 108"/>
                      <a:gd name="T7" fmla="*/ 98 h 157"/>
                      <a:gd name="T8" fmla="*/ 93 w 108"/>
                      <a:gd name="T9" fmla="*/ 90 h 157"/>
                      <a:gd name="T10" fmla="*/ 97 w 108"/>
                      <a:gd name="T11" fmla="*/ 75 h 157"/>
                      <a:gd name="T12" fmla="*/ 100 w 108"/>
                      <a:gd name="T13" fmla="*/ 62 h 157"/>
                      <a:gd name="T14" fmla="*/ 103 w 108"/>
                      <a:gd name="T15" fmla="*/ 45 h 157"/>
                      <a:gd name="T16" fmla="*/ 105 w 108"/>
                      <a:gd name="T17" fmla="*/ 32 h 157"/>
                      <a:gd name="T18" fmla="*/ 98 w 108"/>
                      <a:gd name="T19" fmla="*/ 27 h 157"/>
                      <a:gd name="T20" fmla="*/ 101 w 108"/>
                      <a:gd name="T21" fmla="*/ 20 h 157"/>
                      <a:gd name="T22" fmla="*/ 87 w 108"/>
                      <a:gd name="T23" fmla="*/ 9 h 157"/>
                      <a:gd name="T24" fmla="*/ 78 w 108"/>
                      <a:gd name="T25" fmla="*/ 9 h 157"/>
                      <a:gd name="T26" fmla="*/ 75 w 108"/>
                      <a:gd name="T27" fmla="*/ 0 h 157"/>
                      <a:gd name="T28" fmla="*/ 68 w 108"/>
                      <a:gd name="T29" fmla="*/ 7 h 157"/>
                      <a:gd name="T30" fmla="*/ 62 w 108"/>
                      <a:gd name="T31" fmla="*/ 5 h 157"/>
                      <a:gd name="T32" fmla="*/ 55 w 108"/>
                      <a:gd name="T33" fmla="*/ 12 h 157"/>
                      <a:gd name="T34" fmla="*/ 47 w 108"/>
                      <a:gd name="T35" fmla="*/ 19 h 157"/>
                      <a:gd name="T36" fmla="*/ 40 w 108"/>
                      <a:gd name="T37" fmla="*/ 25 h 157"/>
                      <a:gd name="T38" fmla="*/ 27 w 108"/>
                      <a:gd name="T39" fmla="*/ 29 h 157"/>
                      <a:gd name="T40" fmla="*/ 15 w 108"/>
                      <a:gd name="T41" fmla="*/ 29 h 157"/>
                      <a:gd name="T42" fmla="*/ 7 w 108"/>
                      <a:gd name="T43" fmla="*/ 30 h 157"/>
                      <a:gd name="T44" fmla="*/ 7 w 108"/>
                      <a:gd name="T45" fmla="*/ 42 h 157"/>
                      <a:gd name="T46" fmla="*/ 17 w 108"/>
                      <a:gd name="T47" fmla="*/ 45 h 157"/>
                      <a:gd name="T48" fmla="*/ 17 w 108"/>
                      <a:gd name="T49" fmla="*/ 57 h 157"/>
                      <a:gd name="T50" fmla="*/ 15 w 108"/>
                      <a:gd name="T51" fmla="*/ 69 h 157"/>
                      <a:gd name="T52" fmla="*/ 7 w 108"/>
                      <a:gd name="T53" fmla="*/ 78 h 157"/>
                      <a:gd name="T54" fmla="*/ 0 w 108"/>
                      <a:gd name="T55" fmla="*/ 90 h 157"/>
                      <a:gd name="T56" fmla="*/ 0 w 108"/>
                      <a:gd name="T57" fmla="*/ 108 h 157"/>
                      <a:gd name="T58" fmla="*/ 3 w 108"/>
                      <a:gd name="T59" fmla="*/ 122 h 157"/>
                      <a:gd name="T60" fmla="*/ 8 w 108"/>
                      <a:gd name="T61" fmla="*/ 133 h 157"/>
                      <a:gd name="T62" fmla="*/ 7 w 108"/>
                      <a:gd name="T63" fmla="*/ 142 h 157"/>
                      <a:gd name="T64" fmla="*/ 15 w 108"/>
                      <a:gd name="T65" fmla="*/ 153 h 157"/>
                      <a:gd name="T66" fmla="*/ 27 w 108"/>
                      <a:gd name="T67" fmla="*/ 153 h 157"/>
                      <a:gd name="T68" fmla="*/ 38 w 108"/>
                      <a:gd name="T69" fmla="*/ 152 h 157"/>
                      <a:gd name="T70" fmla="*/ 47 w 108"/>
                      <a:gd name="T71" fmla="*/ 155 h 157"/>
                      <a:gd name="T72" fmla="*/ 53 w 108"/>
                      <a:gd name="T73" fmla="*/ 155 h 157"/>
                      <a:gd name="T74" fmla="*/ 58 w 108"/>
                      <a:gd name="T75" fmla="*/ 147 h 157"/>
                      <a:gd name="T76" fmla="*/ 62 w 108"/>
                      <a:gd name="T77" fmla="*/ 142 h 157"/>
                      <a:gd name="T78" fmla="*/ 77 w 108"/>
                      <a:gd name="T79" fmla="*/ 140 h 157"/>
                      <a:gd name="T80" fmla="*/ 88 w 108"/>
                      <a:gd name="T81" fmla="*/ 140 h 157"/>
                      <a:gd name="T82" fmla="*/ 93 w 108"/>
                      <a:gd name="T83" fmla="*/ 132 h 157"/>
                      <a:gd name="T84" fmla="*/ 93 w 108"/>
                      <a:gd name="T85" fmla="*/ 13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57">
                        <a:moveTo>
                          <a:pt x="93" y="132"/>
                        </a:moveTo>
                        <a:lnTo>
                          <a:pt x="100" y="122"/>
                        </a:lnTo>
                        <a:lnTo>
                          <a:pt x="106" y="120"/>
                        </a:lnTo>
                        <a:lnTo>
                          <a:pt x="108" y="117"/>
                        </a:lnTo>
                        <a:lnTo>
                          <a:pt x="108" y="110"/>
                        </a:lnTo>
                        <a:lnTo>
                          <a:pt x="105" y="107"/>
                        </a:lnTo>
                        <a:lnTo>
                          <a:pt x="98" y="102"/>
                        </a:lnTo>
                        <a:lnTo>
                          <a:pt x="98" y="98"/>
                        </a:lnTo>
                        <a:lnTo>
                          <a:pt x="93" y="95"/>
                        </a:lnTo>
                        <a:lnTo>
                          <a:pt x="93" y="90"/>
                        </a:lnTo>
                        <a:lnTo>
                          <a:pt x="93" y="83"/>
                        </a:lnTo>
                        <a:lnTo>
                          <a:pt x="97" y="75"/>
                        </a:lnTo>
                        <a:lnTo>
                          <a:pt x="98" y="69"/>
                        </a:lnTo>
                        <a:lnTo>
                          <a:pt x="100" y="62"/>
                        </a:lnTo>
                        <a:lnTo>
                          <a:pt x="101" y="54"/>
                        </a:lnTo>
                        <a:lnTo>
                          <a:pt x="103" y="45"/>
                        </a:lnTo>
                        <a:lnTo>
                          <a:pt x="105" y="39"/>
                        </a:lnTo>
                        <a:lnTo>
                          <a:pt x="105" y="32"/>
                        </a:lnTo>
                        <a:lnTo>
                          <a:pt x="101" y="29"/>
                        </a:lnTo>
                        <a:lnTo>
                          <a:pt x="98" y="27"/>
                        </a:lnTo>
                        <a:lnTo>
                          <a:pt x="100" y="22"/>
                        </a:lnTo>
                        <a:lnTo>
                          <a:pt x="101" y="20"/>
                        </a:lnTo>
                        <a:lnTo>
                          <a:pt x="95" y="12"/>
                        </a:lnTo>
                        <a:lnTo>
                          <a:pt x="87" y="9"/>
                        </a:lnTo>
                        <a:lnTo>
                          <a:pt x="83" y="10"/>
                        </a:lnTo>
                        <a:lnTo>
                          <a:pt x="78" y="9"/>
                        </a:lnTo>
                        <a:lnTo>
                          <a:pt x="78" y="5"/>
                        </a:lnTo>
                        <a:lnTo>
                          <a:pt x="75" y="0"/>
                        </a:lnTo>
                        <a:lnTo>
                          <a:pt x="70" y="4"/>
                        </a:lnTo>
                        <a:lnTo>
                          <a:pt x="68" y="7"/>
                        </a:lnTo>
                        <a:lnTo>
                          <a:pt x="65" y="2"/>
                        </a:lnTo>
                        <a:lnTo>
                          <a:pt x="62" y="5"/>
                        </a:lnTo>
                        <a:lnTo>
                          <a:pt x="60" y="12"/>
                        </a:lnTo>
                        <a:lnTo>
                          <a:pt x="55" y="12"/>
                        </a:lnTo>
                        <a:lnTo>
                          <a:pt x="50" y="17"/>
                        </a:lnTo>
                        <a:lnTo>
                          <a:pt x="47" y="19"/>
                        </a:lnTo>
                        <a:lnTo>
                          <a:pt x="43" y="24"/>
                        </a:lnTo>
                        <a:lnTo>
                          <a:pt x="40" y="25"/>
                        </a:lnTo>
                        <a:lnTo>
                          <a:pt x="35" y="25"/>
                        </a:lnTo>
                        <a:lnTo>
                          <a:pt x="27" y="29"/>
                        </a:lnTo>
                        <a:lnTo>
                          <a:pt x="20" y="27"/>
                        </a:lnTo>
                        <a:lnTo>
                          <a:pt x="15" y="29"/>
                        </a:lnTo>
                        <a:lnTo>
                          <a:pt x="12" y="30"/>
                        </a:lnTo>
                        <a:lnTo>
                          <a:pt x="7" y="30"/>
                        </a:lnTo>
                        <a:lnTo>
                          <a:pt x="5" y="37"/>
                        </a:lnTo>
                        <a:lnTo>
                          <a:pt x="7" y="42"/>
                        </a:lnTo>
                        <a:lnTo>
                          <a:pt x="12" y="42"/>
                        </a:lnTo>
                        <a:lnTo>
                          <a:pt x="17" y="45"/>
                        </a:lnTo>
                        <a:lnTo>
                          <a:pt x="18" y="52"/>
                        </a:lnTo>
                        <a:lnTo>
                          <a:pt x="17" y="57"/>
                        </a:lnTo>
                        <a:lnTo>
                          <a:pt x="18" y="65"/>
                        </a:lnTo>
                        <a:lnTo>
                          <a:pt x="15" y="69"/>
                        </a:lnTo>
                        <a:lnTo>
                          <a:pt x="12" y="72"/>
                        </a:lnTo>
                        <a:lnTo>
                          <a:pt x="7" y="78"/>
                        </a:lnTo>
                        <a:lnTo>
                          <a:pt x="3" y="87"/>
                        </a:lnTo>
                        <a:lnTo>
                          <a:pt x="0" y="90"/>
                        </a:lnTo>
                        <a:lnTo>
                          <a:pt x="2" y="98"/>
                        </a:lnTo>
                        <a:lnTo>
                          <a:pt x="0" y="108"/>
                        </a:lnTo>
                        <a:lnTo>
                          <a:pt x="2" y="113"/>
                        </a:lnTo>
                        <a:lnTo>
                          <a:pt x="3" y="122"/>
                        </a:lnTo>
                        <a:lnTo>
                          <a:pt x="7" y="128"/>
                        </a:lnTo>
                        <a:lnTo>
                          <a:pt x="8" y="133"/>
                        </a:lnTo>
                        <a:lnTo>
                          <a:pt x="5" y="137"/>
                        </a:lnTo>
                        <a:lnTo>
                          <a:pt x="7" y="142"/>
                        </a:lnTo>
                        <a:lnTo>
                          <a:pt x="10" y="147"/>
                        </a:lnTo>
                        <a:lnTo>
                          <a:pt x="15" y="153"/>
                        </a:lnTo>
                        <a:lnTo>
                          <a:pt x="20" y="155"/>
                        </a:lnTo>
                        <a:lnTo>
                          <a:pt x="27" y="153"/>
                        </a:lnTo>
                        <a:lnTo>
                          <a:pt x="33" y="152"/>
                        </a:lnTo>
                        <a:lnTo>
                          <a:pt x="38" y="152"/>
                        </a:lnTo>
                        <a:lnTo>
                          <a:pt x="42" y="152"/>
                        </a:lnTo>
                        <a:lnTo>
                          <a:pt x="47" y="155"/>
                        </a:lnTo>
                        <a:lnTo>
                          <a:pt x="50" y="157"/>
                        </a:lnTo>
                        <a:lnTo>
                          <a:pt x="53" y="155"/>
                        </a:lnTo>
                        <a:lnTo>
                          <a:pt x="53" y="150"/>
                        </a:lnTo>
                        <a:lnTo>
                          <a:pt x="58" y="147"/>
                        </a:lnTo>
                        <a:lnTo>
                          <a:pt x="62" y="145"/>
                        </a:lnTo>
                        <a:lnTo>
                          <a:pt x="62" y="142"/>
                        </a:lnTo>
                        <a:lnTo>
                          <a:pt x="70" y="142"/>
                        </a:lnTo>
                        <a:lnTo>
                          <a:pt x="77" y="140"/>
                        </a:lnTo>
                        <a:lnTo>
                          <a:pt x="82" y="142"/>
                        </a:lnTo>
                        <a:lnTo>
                          <a:pt x="88" y="140"/>
                        </a:lnTo>
                        <a:lnTo>
                          <a:pt x="92" y="137"/>
                        </a:lnTo>
                        <a:lnTo>
                          <a:pt x="93" y="132"/>
                        </a:lnTo>
                        <a:lnTo>
                          <a:pt x="93" y="132"/>
                        </a:lnTo>
                        <a:lnTo>
                          <a:pt x="93" y="132"/>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25" name="Freeform 1082">
                    <a:extLst>
                      <a:ext uri="{FF2B5EF4-FFF2-40B4-BE49-F238E27FC236}">
                        <a16:creationId xmlns:a16="http://schemas.microsoft.com/office/drawing/2014/main" id="{6FBC126A-5925-4A43-8909-A7934FF89FDA}"/>
                      </a:ext>
                    </a:extLst>
                  </p:cNvPr>
                  <p:cNvSpPr>
                    <a:spLocks/>
                  </p:cNvSpPr>
                  <p:nvPr/>
                </p:nvSpPr>
                <p:spPr bwMode="auto">
                  <a:xfrm>
                    <a:off x="4704211" y="2948289"/>
                    <a:ext cx="793972" cy="574945"/>
                  </a:xfrm>
                  <a:custGeom>
                    <a:avLst/>
                    <a:gdLst>
                      <a:gd name="T0" fmla="*/ 94 w 638"/>
                      <a:gd name="T1" fmla="*/ 418 h 462"/>
                      <a:gd name="T2" fmla="*/ 111 w 638"/>
                      <a:gd name="T3" fmla="*/ 430 h 462"/>
                      <a:gd name="T4" fmla="*/ 132 w 638"/>
                      <a:gd name="T5" fmla="*/ 438 h 462"/>
                      <a:gd name="T6" fmla="*/ 167 w 638"/>
                      <a:gd name="T7" fmla="*/ 448 h 462"/>
                      <a:gd name="T8" fmla="*/ 192 w 638"/>
                      <a:gd name="T9" fmla="*/ 432 h 462"/>
                      <a:gd name="T10" fmla="*/ 217 w 638"/>
                      <a:gd name="T11" fmla="*/ 448 h 462"/>
                      <a:gd name="T12" fmla="*/ 257 w 638"/>
                      <a:gd name="T13" fmla="*/ 430 h 462"/>
                      <a:gd name="T14" fmla="*/ 310 w 638"/>
                      <a:gd name="T15" fmla="*/ 415 h 462"/>
                      <a:gd name="T16" fmla="*/ 315 w 638"/>
                      <a:gd name="T17" fmla="*/ 384 h 462"/>
                      <a:gd name="T18" fmla="*/ 365 w 638"/>
                      <a:gd name="T19" fmla="*/ 390 h 462"/>
                      <a:gd name="T20" fmla="*/ 385 w 638"/>
                      <a:gd name="T21" fmla="*/ 408 h 462"/>
                      <a:gd name="T22" fmla="*/ 415 w 638"/>
                      <a:gd name="T23" fmla="*/ 442 h 462"/>
                      <a:gd name="T24" fmla="*/ 450 w 638"/>
                      <a:gd name="T25" fmla="*/ 408 h 462"/>
                      <a:gd name="T26" fmla="*/ 481 w 638"/>
                      <a:gd name="T27" fmla="*/ 398 h 462"/>
                      <a:gd name="T28" fmla="*/ 505 w 638"/>
                      <a:gd name="T29" fmla="*/ 347 h 462"/>
                      <a:gd name="T30" fmla="*/ 525 w 638"/>
                      <a:gd name="T31" fmla="*/ 312 h 462"/>
                      <a:gd name="T32" fmla="*/ 551 w 638"/>
                      <a:gd name="T33" fmla="*/ 292 h 462"/>
                      <a:gd name="T34" fmla="*/ 589 w 638"/>
                      <a:gd name="T35" fmla="*/ 304 h 462"/>
                      <a:gd name="T36" fmla="*/ 596 w 638"/>
                      <a:gd name="T37" fmla="*/ 266 h 462"/>
                      <a:gd name="T38" fmla="*/ 611 w 638"/>
                      <a:gd name="T39" fmla="*/ 256 h 462"/>
                      <a:gd name="T40" fmla="*/ 596 w 638"/>
                      <a:gd name="T41" fmla="*/ 227 h 462"/>
                      <a:gd name="T42" fmla="*/ 581 w 638"/>
                      <a:gd name="T43" fmla="*/ 194 h 462"/>
                      <a:gd name="T44" fmla="*/ 626 w 638"/>
                      <a:gd name="T45" fmla="*/ 158 h 462"/>
                      <a:gd name="T46" fmla="*/ 634 w 638"/>
                      <a:gd name="T47" fmla="*/ 129 h 462"/>
                      <a:gd name="T48" fmla="*/ 618 w 638"/>
                      <a:gd name="T49" fmla="*/ 123 h 462"/>
                      <a:gd name="T50" fmla="*/ 588 w 638"/>
                      <a:gd name="T51" fmla="*/ 123 h 462"/>
                      <a:gd name="T52" fmla="*/ 551 w 638"/>
                      <a:gd name="T53" fmla="*/ 141 h 462"/>
                      <a:gd name="T54" fmla="*/ 508 w 638"/>
                      <a:gd name="T55" fmla="*/ 141 h 462"/>
                      <a:gd name="T56" fmla="*/ 458 w 638"/>
                      <a:gd name="T57" fmla="*/ 131 h 462"/>
                      <a:gd name="T58" fmla="*/ 403 w 638"/>
                      <a:gd name="T59" fmla="*/ 126 h 462"/>
                      <a:gd name="T60" fmla="*/ 365 w 638"/>
                      <a:gd name="T61" fmla="*/ 119 h 462"/>
                      <a:gd name="T62" fmla="*/ 307 w 638"/>
                      <a:gd name="T63" fmla="*/ 116 h 462"/>
                      <a:gd name="T64" fmla="*/ 255 w 638"/>
                      <a:gd name="T65" fmla="*/ 106 h 462"/>
                      <a:gd name="T66" fmla="*/ 224 w 638"/>
                      <a:gd name="T67" fmla="*/ 91 h 462"/>
                      <a:gd name="T68" fmla="*/ 181 w 638"/>
                      <a:gd name="T69" fmla="*/ 68 h 462"/>
                      <a:gd name="T70" fmla="*/ 169 w 638"/>
                      <a:gd name="T71" fmla="*/ 38 h 462"/>
                      <a:gd name="T72" fmla="*/ 119 w 638"/>
                      <a:gd name="T73" fmla="*/ 16 h 462"/>
                      <a:gd name="T74" fmla="*/ 78 w 638"/>
                      <a:gd name="T75" fmla="*/ 10 h 462"/>
                      <a:gd name="T76" fmla="*/ 64 w 638"/>
                      <a:gd name="T77" fmla="*/ 30 h 462"/>
                      <a:gd name="T78" fmla="*/ 81 w 638"/>
                      <a:gd name="T79" fmla="*/ 68 h 462"/>
                      <a:gd name="T80" fmla="*/ 108 w 638"/>
                      <a:gd name="T81" fmla="*/ 98 h 462"/>
                      <a:gd name="T82" fmla="*/ 124 w 638"/>
                      <a:gd name="T83" fmla="*/ 114 h 462"/>
                      <a:gd name="T84" fmla="*/ 96 w 638"/>
                      <a:gd name="T85" fmla="*/ 131 h 462"/>
                      <a:gd name="T86" fmla="*/ 73 w 638"/>
                      <a:gd name="T87" fmla="*/ 156 h 462"/>
                      <a:gd name="T88" fmla="*/ 104 w 638"/>
                      <a:gd name="T89" fmla="*/ 184 h 462"/>
                      <a:gd name="T90" fmla="*/ 141 w 638"/>
                      <a:gd name="T91" fmla="*/ 229 h 462"/>
                      <a:gd name="T92" fmla="*/ 147 w 638"/>
                      <a:gd name="T93" fmla="*/ 257 h 462"/>
                      <a:gd name="T94" fmla="*/ 96 w 638"/>
                      <a:gd name="T95" fmla="*/ 272 h 462"/>
                      <a:gd name="T96" fmla="*/ 53 w 638"/>
                      <a:gd name="T97" fmla="*/ 305 h 462"/>
                      <a:gd name="T98" fmla="*/ 14 w 638"/>
                      <a:gd name="T99" fmla="*/ 398 h 462"/>
                      <a:gd name="T100" fmla="*/ 29 w 638"/>
                      <a:gd name="T101" fmla="*/ 43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8" h="462">
                        <a:moveTo>
                          <a:pt x="29" y="430"/>
                        </a:moveTo>
                        <a:lnTo>
                          <a:pt x="53" y="432"/>
                        </a:lnTo>
                        <a:lnTo>
                          <a:pt x="74" y="428"/>
                        </a:lnTo>
                        <a:lnTo>
                          <a:pt x="86" y="425"/>
                        </a:lnTo>
                        <a:lnTo>
                          <a:pt x="94" y="418"/>
                        </a:lnTo>
                        <a:lnTo>
                          <a:pt x="101" y="423"/>
                        </a:lnTo>
                        <a:lnTo>
                          <a:pt x="106" y="432"/>
                        </a:lnTo>
                        <a:lnTo>
                          <a:pt x="109" y="435"/>
                        </a:lnTo>
                        <a:lnTo>
                          <a:pt x="114" y="433"/>
                        </a:lnTo>
                        <a:lnTo>
                          <a:pt x="111" y="430"/>
                        </a:lnTo>
                        <a:lnTo>
                          <a:pt x="118" y="427"/>
                        </a:lnTo>
                        <a:lnTo>
                          <a:pt x="124" y="430"/>
                        </a:lnTo>
                        <a:lnTo>
                          <a:pt x="127" y="428"/>
                        </a:lnTo>
                        <a:lnTo>
                          <a:pt x="136" y="430"/>
                        </a:lnTo>
                        <a:lnTo>
                          <a:pt x="132" y="438"/>
                        </a:lnTo>
                        <a:lnTo>
                          <a:pt x="141" y="448"/>
                        </a:lnTo>
                        <a:lnTo>
                          <a:pt x="152" y="452"/>
                        </a:lnTo>
                        <a:lnTo>
                          <a:pt x="159" y="462"/>
                        </a:lnTo>
                        <a:lnTo>
                          <a:pt x="161" y="457"/>
                        </a:lnTo>
                        <a:lnTo>
                          <a:pt x="167" y="448"/>
                        </a:lnTo>
                        <a:lnTo>
                          <a:pt x="167" y="443"/>
                        </a:lnTo>
                        <a:lnTo>
                          <a:pt x="177" y="448"/>
                        </a:lnTo>
                        <a:lnTo>
                          <a:pt x="182" y="442"/>
                        </a:lnTo>
                        <a:lnTo>
                          <a:pt x="182" y="438"/>
                        </a:lnTo>
                        <a:lnTo>
                          <a:pt x="192" y="432"/>
                        </a:lnTo>
                        <a:lnTo>
                          <a:pt x="199" y="428"/>
                        </a:lnTo>
                        <a:lnTo>
                          <a:pt x="202" y="435"/>
                        </a:lnTo>
                        <a:lnTo>
                          <a:pt x="211" y="440"/>
                        </a:lnTo>
                        <a:lnTo>
                          <a:pt x="211" y="445"/>
                        </a:lnTo>
                        <a:lnTo>
                          <a:pt x="217" y="448"/>
                        </a:lnTo>
                        <a:lnTo>
                          <a:pt x="229" y="443"/>
                        </a:lnTo>
                        <a:lnTo>
                          <a:pt x="234" y="445"/>
                        </a:lnTo>
                        <a:lnTo>
                          <a:pt x="237" y="448"/>
                        </a:lnTo>
                        <a:lnTo>
                          <a:pt x="245" y="438"/>
                        </a:lnTo>
                        <a:lnTo>
                          <a:pt x="257" y="430"/>
                        </a:lnTo>
                        <a:lnTo>
                          <a:pt x="269" y="425"/>
                        </a:lnTo>
                        <a:lnTo>
                          <a:pt x="289" y="422"/>
                        </a:lnTo>
                        <a:lnTo>
                          <a:pt x="295" y="422"/>
                        </a:lnTo>
                        <a:lnTo>
                          <a:pt x="300" y="415"/>
                        </a:lnTo>
                        <a:lnTo>
                          <a:pt x="310" y="415"/>
                        </a:lnTo>
                        <a:lnTo>
                          <a:pt x="312" y="410"/>
                        </a:lnTo>
                        <a:lnTo>
                          <a:pt x="310" y="402"/>
                        </a:lnTo>
                        <a:lnTo>
                          <a:pt x="315" y="393"/>
                        </a:lnTo>
                        <a:lnTo>
                          <a:pt x="315" y="390"/>
                        </a:lnTo>
                        <a:lnTo>
                          <a:pt x="315" y="384"/>
                        </a:lnTo>
                        <a:lnTo>
                          <a:pt x="327" y="384"/>
                        </a:lnTo>
                        <a:lnTo>
                          <a:pt x="334" y="384"/>
                        </a:lnTo>
                        <a:lnTo>
                          <a:pt x="345" y="393"/>
                        </a:lnTo>
                        <a:lnTo>
                          <a:pt x="357" y="387"/>
                        </a:lnTo>
                        <a:lnTo>
                          <a:pt x="365" y="390"/>
                        </a:lnTo>
                        <a:lnTo>
                          <a:pt x="367" y="395"/>
                        </a:lnTo>
                        <a:lnTo>
                          <a:pt x="370" y="402"/>
                        </a:lnTo>
                        <a:lnTo>
                          <a:pt x="367" y="405"/>
                        </a:lnTo>
                        <a:lnTo>
                          <a:pt x="378" y="412"/>
                        </a:lnTo>
                        <a:lnTo>
                          <a:pt x="385" y="408"/>
                        </a:lnTo>
                        <a:lnTo>
                          <a:pt x="395" y="410"/>
                        </a:lnTo>
                        <a:lnTo>
                          <a:pt x="393" y="418"/>
                        </a:lnTo>
                        <a:lnTo>
                          <a:pt x="392" y="428"/>
                        </a:lnTo>
                        <a:lnTo>
                          <a:pt x="397" y="427"/>
                        </a:lnTo>
                        <a:lnTo>
                          <a:pt x="415" y="442"/>
                        </a:lnTo>
                        <a:lnTo>
                          <a:pt x="420" y="425"/>
                        </a:lnTo>
                        <a:lnTo>
                          <a:pt x="427" y="413"/>
                        </a:lnTo>
                        <a:lnTo>
                          <a:pt x="435" y="403"/>
                        </a:lnTo>
                        <a:lnTo>
                          <a:pt x="442" y="410"/>
                        </a:lnTo>
                        <a:lnTo>
                          <a:pt x="450" y="408"/>
                        </a:lnTo>
                        <a:lnTo>
                          <a:pt x="455" y="402"/>
                        </a:lnTo>
                        <a:lnTo>
                          <a:pt x="463" y="408"/>
                        </a:lnTo>
                        <a:lnTo>
                          <a:pt x="476" y="410"/>
                        </a:lnTo>
                        <a:lnTo>
                          <a:pt x="476" y="398"/>
                        </a:lnTo>
                        <a:lnTo>
                          <a:pt x="481" y="398"/>
                        </a:lnTo>
                        <a:lnTo>
                          <a:pt x="493" y="400"/>
                        </a:lnTo>
                        <a:lnTo>
                          <a:pt x="496" y="387"/>
                        </a:lnTo>
                        <a:lnTo>
                          <a:pt x="496" y="370"/>
                        </a:lnTo>
                        <a:lnTo>
                          <a:pt x="503" y="357"/>
                        </a:lnTo>
                        <a:lnTo>
                          <a:pt x="505" y="347"/>
                        </a:lnTo>
                        <a:lnTo>
                          <a:pt x="503" y="335"/>
                        </a:lnTo>
                        <a:lnTo>
                          <a:pt x="518" y="327"/>
                        </a:lnTo>
                        <a:lnTo>
                          <a:pt x="523" y="327"/>
                        </a:lnTo>
                        <a:lnTo>
                          <a:pt x="521" y="319"/>
                        </a:lnTo>
                        <a:lnTo>
                          <a:pt x="525" y="312"/>
                        </a:lnTo>
                        <a:lnTo>
                          <a:pt x="535" y="310"/>
                        </a:lnTo>
                        <a:lnTo>
                          <a:pt x="545" y="315"/>
                        </a:lnTo>
                        <a:lnTo>
                          <a:pt x="545" y="309"/>
                        </a:lnTo>
                        <a:lnTo>
                          <a:pt x="551" y="300"/>
                        </a:lnTo>
                        <a:lnTo>
                          <a:pt x="551" y="292"/>
                        </a:lnTo>
                        <a:lnTo>
                          <a:pt x="558" y="292"/>
                        </a:lnTo>
                        <a:lnTo>
                          <a:pt x="566" y="297"/>
                        </a:lnTo>
                        <a:lnTo>
                          <a:pt x="581" y="302"/>
                        </a:lnTo>
                        <a:lnTo>
                          <a:pt x="586" y="309"/>
                        </a:lnTo>
                        <a:lnTo>
                          <a:pt x="589" y="304"/>
                        </a:lnTo>
                        <a:lnTo>
                          <a:pt x="591" y="299"/>
                        </a:lnTo>
                        <a:lnTo>
                          <a:pt x="586" y="294"/>
                        </a:lnTo>
                        <a:lnTo>
                          <a:pt x="580" y="285"/>
                        </a:lnTo>
                        <a:lnTo>
                          <a:pt x="588" y="279"/>
                        </a:lnTo>
                        <a:lnTo>
                          <a:pt x="596" y="266"/>
                        </a:lnTo>
                        <a:lnTo>
                          <a:pt x="603" y="261"/>
                        </a:lnTo>
                        <a:lnTo>
                          <a:pt x="609" y="267"/>
                        </a:lnTo>
                        <a:lnTo>
                          <a:pt x="618" y="267"/>
                        </a:lnTo>
                        <a:lnTo>
                          <a:pt x="614" y="261"/>
                        </a:lnTo>
                        <a:lnTo>
                          <a:pt x="611" y="256"/>
                        </a:lnTo>
                        <a:lnTo>
                          <a:pt x="616" y="249"/>
                        </a:lnTo>
                        <a:lnTo>
                          <a:pt x="611" y="246"/>
                        </a:lnTo>
                        <a:lnTo>
                          <a:pt x="611" y="239"/>
                        </a:lnTo>
                        <a:lnTo>
                          <a:pt x="604" y="232"/>
                        </a:lnTo>
                        <a:lnTo>
                          <a:pt x="596" y="227"/>
                        </a:lnTo>
                        <a:lnTo>
                          <a:pt x="593" y="216"/>
                        </a:lnTo>
                        <a:lnTo>
                          <a:pt x="584" y="212"/>
                        </a:lnTo>
                        <a:lnTo>
                          <a:pt x="580" y="211"/>
                        </a:lnTo>
                        <a:lnTo>
                          <a:pt x="581" y="204"/>
                        </a:lnTo>
                        <a:lnTo>
                          <a:pt x="581" y="194"/>
                        </a:lnTo>
                        <a:lnTo>
                          <a:pt x="588" y="187"/>
                        </a:lnTo>
                        <a:lnTo>
                          <a:pt x="601" y="187"/>
                        </a:lnTo>
                        <a:lnTo>
                          <a:pt x="596" y="177"/>
                        </a:lnTo>
                        <a:lnTo>
                          <a:pt x="608" y="169"/>
                        </a:lnTo>
                        <a:lnTo>
                          <a:pt x="626" y="158"/>
                        </a:lnTo>
                        <a:lnTo>
                          <a:pt x="633" y="148"/>
                        </a:lnTo>
                        <a:lnTo>
                          <a:pt x="638" y="146"/>
                        </a:lnTo>
                        <a:lnTo>
                          <a:pt x="638" y="141"/>
                        </a:lnTo>
                        <a:lnTo>
                          <a:pt x="629" y="134"/>
                        </a:lnTo>
                        <a:lnTo>
                          <a:pt x="634" y="129"/>
                        </a:lnTo>
                        <a:lnTo>
                          <a:pt x="631" y="124"/>
                        </a:lnTo>
                        <a:lnTo>
                          <a:pt x="626" y="126"/>
                        </a:lnTo>
                        <a:lnTo>
                          <a:pt x="628" y="114"/>
                        </a:lnTo>
                        <a:lnTo>
                          <a:pt x="623" y="116"/>
                        </a:lnTo>
                        <a:lnTo>
                          <a:pt x="618" y="123"/>
                        </a:lnTo>
                        <a:lnTo>
                          <a:pt x="614" y="119"/>
                        </a:lnTo>
                        <a:lnTo>
                          <a:pt x="614" y="129"/>
                        </a:lnTo>
                        <a:lnTo>
                          <a:pt x="606" y="139"/>
                        </a:lnTo>
                        <a:lnTo>
                          <a:pt x="596" y="134"/>
                        </a:lnTo>
                        <a:lnTo>
                          <a:pt x="588" y="123"/>
                        </a:lnTo>
                        <a:lnTo>
                          <a:pt x="584" y="131"/>
                        </a:lnTo>
                        <a:lnTo>
                          <a:pt x="576" y="126"/>
                        </a:lnTo>
                        <a:lnTo>
                          <a:pt x="571" y="134"/>
                        </a:lnTo>
                        <a:lnTo>
                          <a:pt x="560" y="136"/>
                        </a:lnTo>
                        <a:lnTo>
                          <a:pt x="551" y="141"/>
                        </a:lnTo>
                        <a:lnTo>
                          <a:pt x="543" y="136"/>
                        </a:lnTo>
                        <a:lnTo>
                          <a:pt x="526" y="134"/>
                        </a:lnTo>
                        <a:lnTo>
                          <a:pt x="518" y="146"/>
                        </a:lnTo>
                        <a:lnTo>
                          <a:pt x="511" y="146"/>
                        </a:lnTo>
                        <a:lnTo>
                          <a:pt x="508" y="141"/>
                        </a:lnTo>
                        <a:lnTo>
                          <a:pt x="493" y="141"/>
                        </a:lnTo>
                        <a:lnTo>
                          <a:pt x="485" y="139"/>
                        </a:lnTo>
                        <a:lnTo>
                          <a:pt x="481" y="116"/>
                        </a:lnTo>
                        <a:lnTo>
                          <a:pt x="471" y="126"/>
                        </a:lnTo>
                        <a:lnTo>
                          <a:pt x="458" y="131"/>
                        </a:lnTo>
                        <a:lnTo>
                          <a:pt x="453" y="139"/>
                        </a:lnTo>
                        <a:lnTo>
                          <a:pt x="445" y="136"/>
                        </a:lnTo>
                        <a:lnTo>
                          <a:pt x="438" y="143"/>
                        </a:lnTo>
                        <a:lnTo>
                          <a:pt x="425" y="134"/>
                        </a:lnTo>
                        <a:lnTo>
                          <a:pt x="403" y="126"/>
                        </a:lnTo>
                        <a:lnTo>
                          <a:pt x="392" y="119"/>
                        </a:lnTo>
                        <a:lnTo>
                          <a:pt x="385" y="116"/>
                        </a:lnTo>
                        <a:lnTo>
                          <a:pt x="373" y="119"/>
                        </a:lnTo>
                        <a:lnTo>
                          <a:pt x="370" y="126"/>
                        </a:lnTo>
                        <a:lnTo>
                          <a:pt x="365" y="119"/>
                        </a:lnTo>
                        <a:lnTo>
                          <a:pt x="353" y="113"/>
                        </a:lnTo>
                        <a:lnTo>
                          <a:pt x="342" y="113"/>
                        </a:lnTo>
                        <a:lnTo>
                          <a:pt x="330" y="123"/>
                        </a:lnTo>
                        <a:lnTo>
                          <a:pt x="317" y="121"/>
                        </a:lnTo>
                        <a:lnTo>
                          <a:pt x="307" y="116"/>
                        </a:lnTo>
                        <a:lnTo>
                          <a:pt x="309" y="94"/>
                        </a:lnTo>
                        <a:lnTo>
                          <a:pt x="302" y="89"/>
                        </a:lnTo>
                        <a:lnTo>
                          <a:pt x="287" y="86"/>
                        </a:lnTo>
                        <a:lnTo>
                          <a:pt x="269" y="98"/>
                        </a:lnTo>
                        <a:lnTo>
                          <a:pt x="255" y="106"/>
                        </a:lnTo>
                        <a:lnTo>
                          <a:pt x="239" y="101"/>
                        </a:lnTo>
                        <a:lnTo>
                          <a:pt x="236" y="96"/>
                        </a:lnTo>
                        <a:lnTo>
                          <a:pt x="236" y="91"/>
                        </a:lnTo>
                        <a:lnTo>
                          <a:pt x="231" y="88"/>
                        </a:lnTo>
                        <a:lnTo>
                          <a:pt x="224" y="91"/>
                        </a:lnTo>
                        <a:lnTo>
                          <a:pt x="217" y="91"/>
                        </a:lnTo>
                        <a:lnTo>
                          <a:pt x="211" y="81"/>
                        </a:lnTo>
                        <a:lnTo>
                          <a:pt x="204" y="76"/>
                        </a:lnTo>
                        <a:lnTo>
                          <a:pt x="192" y="71"/>
                        </a:lnTo>
                        <a:lnTo>
                          <a:pt x="181" y="68"/>
                        </a:lnTo>
                        <a:lnTo>
                          <a:pt x="169" y="68"/>
                        </a:lnTo>
                        <a:lnTo>
                          <a:pt x="162" y="63"/>
                        </a:lnTo>
                        <a:lnTo>
                          <a:pt x="167" y="56"/>
                        </a:lnTo>
                        <a:lnTo>
                          <a:pt x="169" y="51"/>
                        </a:lnTo>
                        <a:lnTo>
                          <a:pt x="169" y="38"/>
                        </a:lnTo>
                        <a:lnTo>
                          <a:pt x="166" y="30"/>
                        </a:lnTo>
                        <a:lnTo>
                          <a:pt x="161" y="25"/>
                        </a:lnTo>
                        <a:lnTo>
                          <a:pt x="151" y="23"/>
                        </a:lnTo>
                        <a:lnTo>
                          <a:pt x="132" y="20"/>
                        </a:lnTo>
                        <a:lnTo>
                          <a:pt x="119" y="16"/>
                        </a:lnTo>
                        <a:lnTo>
                          <a:pt x="111" y="10"/>
                        </a:lnTo>
                        <a:lnTo>
                          <a:pt x="103" y="6"/>
                        </a:lnTo>
                        <a:lnTo>
                          <a:pt x="98" y="0"/>
                        </a:lnTo>
                        <a:lnTo>
                          <a:pt x="88" y="10"/>
                        </a:lnTo>
                        <a:lnTo>
                          <a:pt x="78" y="10"/>
                        </a:lnTo>
                        <a:lnTo>
                          <a:pt x="66" y="10"/>
                        </a:lnTo>
                        <a:lnTo>
                          <a:pt x="58" y="10"/>
                        </a:lnTo>
                        <a:lnTo>
                          <a:pt x="59" y="15"/>
                        </a:lnTo>
                        <a:lnTo>
                          <a:pt x="68" y="21"/>
                        </a:lnTo>
                        <a:lnTo>
                          <a:pt x="64" y="30"/>
                        </a:lnTo>
                        <a:lnTo>
                          <a:pt x="63" y="40"/>
                        </a:lnTo>
                        <a:lnTo>
                          <a:pt x="78" y="46"/>
                        </a:lnTo>
                        <a:lnTo>
                          <a:pt x="74" y="58"/>
                        </a:lnTo>
                        <a:lnTo>
                          <a:pt x="74" y="64"/>
                        </a:lnTo>
                        <a:lnTo>
                          <a:pt x="81" y="68"/>
                        </a:lnTo>
                        <a:lnTo>
                          <a:pt x="89" y="78"/>
                        </a:lnTo>
                        <a:lnTo>
                          <a:pt x="86" y="93"/>
                        </a:lnTo>
                        <a:lnTo>
                          <a:pt x="99" y="93"/>
                        </a:lnTo>
                        <a:lnTo>
                          <a:pt x="103" y="98"/>
                        </a:lnTo>
                        <a:lnTo>
                          <a:pt x="108" y="98"/>
                        </a:lnTo>
                        <a:lnTo>
                          <a:pt x="111" y="93"/>
                        </a:lnTo>
                        <a:lnTo>
                          <a:pt x="114" y="96"/>
                        </a:lnTo>
                        <a:lnTo>
                          <a:pt x="113" y="106"/>
                        </a:lnTo>
                        <a:lnTo>
                          <a:pt x="108" y="113"/>
                        </a:lnTo>
                        <a:lnTo>
                          <a:pt x="124" y="114"/>
                        </a:lnTo>
                        <a:lnTo>
                          <a:pt x="137" y="123"/>
                        </a:lnTo>
                        <a:lnTo>
                          <a:pt x="126" y="129"/>
                        </a:lnTo>
                        <a:lnTo>
                          <a:pt x="111" y="133"/>
                        </a:lnTo>
                        <a:lnTo>
                          <a:pt x="104" y="128"/>
                        </a:lnTo>
                        <a:lnTo>
                          <a:pt x="96" y="131"/>
                        </a:lnTo>
                        <a:lnTo>
                          <a:pt x="93" y="134"/>
                        </a:lnTo>
                        <a:lnTo>
                          <a:pt x="89" y="143"/>
                        </a:lnTo>
                        <a:lnTo>
                          <a:pt x="71" y="143"/>
                        </a:lnTo>
                        <a:lnTo>
                          <a:pt x="68" y="151"/>
                        </a:lnTo>
                        <a:lnTo>
                          <a:pt x="73" y="156"/>
                        </a:lnTo>
                        <a:lnTo>
                          <a:pt x="84" y="156"/>
                        </a:lnTo>
                        <a:lnTo>
                          <a:pt x="91" y="163"/>
                        </a:lnTo>
                        <a:lnTo>
                          <a:pt x="106" y="168"/>
                        </a:lnTo>
                        <a:lnTo>
                          <a:pt x="108" y="174"/>
                        </a:lnTo>
                        <a:lnTo>
                          <a:pt x="104" y="184"/>
                        </a:lnTo>
                        <a:lnTo>
                          <a:pt x="88" y="184"/>
                        </a:lnTo>
                        <a:lnTo>
                          <a:pt x="89" y="192"/>
                        </a:lnTo>
                        <a:lnTo>
                          <a:pt x="89" y="199"/>
                        </a:lnTo>
                        <a:lnTo>
                          <a:pt x="123" y="227"/>
                        </a:lnTo>
                        <a:lnTo>
                          <a:pt x="141" y="229"/>
                        </a:lnTo>
                        <a:lnTo>
                          <a:pt x="146" y="237"/>
                        </a:lnTo>
                        <a:lnTo>
                          <a:pt x="157" y="241"/>
                        </a:lnTo>
                        <a:lnTo>
                          <a:pt x="167" y="249"/>
                        </a:lnTo>
                        <a:lnTo>
                          <a:pt x="159" y="261"/>
                        </a:lnTo>
                        <a:lnTo>
                          <a:pt x="147" y="257"/>
                        </a:lnTo>
                        <a:lnTo>
                          <a:pt x="131" y="256"/>
                        </a:lnTo>
                        <a:lnTo>
                          <a:pt x="119" y="261"/>
                        </a:lnTo>
                        <a:lnTo>
                          <a:pt x="104" y="257"/>
                        </a:lnTo>
                        <a:lnTo>
                          <a:pt x="98" y="266"/>
                        </a:lnTo>
                        <a:lnTo>
                          <a:pt x="96" y="272"/>
                        </a:lnTo>
                        <a:lnTo>
                          <a:pt x="78" y="285"/>
                        </a:lnTo>
                        <a:lnTo>
                          <a:pt x="69" y="292"/>
                        </a:lnTo>
                        <a:lnTo>
                          <a:pt x="71" y="302"/>
                        </a:lnTo>
                        <a:lnTo>
                          <a:pt x="63" y="305"/>
                        </a:lnTo>
                        <a:lnTo>
                          <a:pt x="53" y="305"/>
                        </a:lnTo>
                        <a:lnTo>
                          <a:pt x="6" y="330"/>
                        </a:lnTo>
                        <a:lnTo>
                          <a:pt x="6" y="339"/>
                        </a:lnTo>
                        <a:lnTo>
                          <a:pt x="0" y="360"/>
                        </a:lnTo>
                        <a:lnTo>
                          <a:pt x="6" y="377"/>
                        </a:lnTo>
                        <a:lnTo>
                          <a:pt x="14" y="398"/>
                        </a:lnTo>
                        <a:lnTo>
                          <a:pt x="26" y="407"/>
                        </a:lnTo>
                        <a:lnTo>
                          <a:pt x="26" y="413"/>
                        </a:lnTo>
                        <a:lnTo>
                          <a:pt x="33" y="420"/>
                        </a:lnTo>
                        <a:lnTo>
                          <a:pt x="29" y="430"/>
                        </a:lnTo>
                        <a:lnTo>
                          <a:pt x="29" y="430"/>
                        </a:lnTo>
                        <a:lnTo>
                          <a:pt x="29" y="430"/>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26" name="Freeform 1084">
                    <a:extLst>
                      <a:ext uri="{FF2B5EF4-FFF2-40B4-BE49-F238E27FC236}">
                        <a16:creationId xmlns:a16="http://schemas.microsoft.com/office/drawing/2014/main" id="{725F0387-538F-424A-AD12-2293A8C1DD41}"/>
                      </a:ext>
                    </a:extLst>
                  </p:cNvPr>
                  <p:cNvSpPr>
                    <a:spLocks/>
                  </p:cNvSpPr>
                  <p:nvPr/>
                </p:nvSpPr>
                <p:spPr bwMode="auto">
                  <a:xfrm>
                    <a:off x="5127331" y="2952022"/>
                    <a:ext cx="618501" cy="1029177"/>
                  </a:xfrm>
                  <a:custGeom>
                    <a:avLst/>
                    <a:gdLst>
                      <a:gd name="T0" fmla="*/ 271 w 497"/>
                      <a:gd name="T1" fmla="*/ 233 h 827"/>
                      <a:gd name="T2" fmla="*/ 256 w 497"/>
                      <a:gd name="T3" fmla="*/ 259 h 827"/>
                      <a:gd name="T4" fmla="*/ 244 w 497"/>
                      <a:gd name="T5" fmla="*/ 326 h 827"/>
                      <a:gd name="T6" fmla="*/ 259 w 497"/>
                      <a:gd name="T7" fmla="*/ 376 h 827"/>
                      <a:gd name="T8" fmla="*/ 253 w 497"/>
                      <a:gd name="T9" fmla="*/ 422 h 827"/>
                      <a:gd name="T10" fmla="*/ 223 w 497"/>
                      <a:gd name="T11" fmla="*/ 460 h 827"/>
                      <a:gd name="T12" fmla="*/ 201 w 497"/>
                      <a:gd name="T13" fmla="*/ 485 h 827"/>
                      <a:gd name="T14" fmla="*/ 186 w 497"/>
                      <a:gd name="T15" fmla="*/ 498 h 827"/>
                      <a:gd name="T16" fmla="*/ 163 w 497"/>
                      <a:gd name="T17" fmla="*/ 513 h 827"/>
                      <a:gd name="T18" fmla="*/ 120 w 497"/>
                      <a:gd name="T19" fmla="*/ 533 h 827"/>
                      <a:gd name="T20" fmla="*/ 55 w 497"/>
                      <a:gd name="T21" fmla="*/ 575 h 827"/>
                      <a:gd name="T22" fmla="*/ 25 w 497"/>
                      <a:gd name="T23" fmla="*/ 570 h 827"/>
                      <a:gd name="T24" fmla="*/ 0 w 497"/>
                      <a:gd name="T25" fmla="*/ 603 h 827"/>
                      <a:gd name="T26" fmla="*/ 42 w 497"/>
                      <a:gd name="T27" fmla="*/ 630 h 827"/>
                      <a:gd name="T28" fmla="*/ 85 w 497"/>
                      <a:gd name="T29" fmla="*/ 653 h 827"/>
                      <a:gd name="T30" fmla="*/ 133 w 497"/>
                      <a:gd name="T31" fmla="*/ 703 h 827"/>
                      <a:gd name="T32" fmla="*/ 138 w 497"/>
                      <a:gd name="T33" fmla="*/ 741 h 827"/>
                      <a:gd name="T34" fmla="*/ 166 w 497"/>
                      <a:gd name="T35" fmla="*/ 791 h 827"/>
                      <a:gd name="T36" fmla="*/ 206 w 497"/>
                      <a:gd name="T37" fmla="*/ 803 h 827"/>
                      <a:gd name="T38" fmla="*/ 284 w 497"/>
                      <a:gd name="T39" fmla="*/ 804 h 827"/>
                      <a:gd name="T40" fmla="*/ 324 w 497"/>
                      <a:gd name="T41" fmla="*/ 744 h 827"/>
                      <a:gd name="T42" fmla="*/ 344 w 497"/>
                      <a:gd name="T43" fmla="*/ 798 h 827"/>
                      <a:gd name="T44" fmla="*/ 392 w 497"/>
                      <a:gd name="T45" fmla="*/ 759 h 827"/>
                      <a:gd name="T46" fmla="*/ 437 w 497"/>
                      <a:gd name="T47" fmla="*/ 754 h 827"/>
                      <a:gd name="T48" fmla="*/ 417 w 497"/>
                      <a:gd name="T49" fmla="*/ 660 h 827"/>
                      <a:gd name="T50" fmla="*/ 406 w 497"/>
                      <a:gd name="T51" fmla="*/ 600 h 827"/>
                      <a:gd name="T52" fmla="*/ 387 w 497"/>
                      <a:gd name="T53" fmla="*/ 565 h 827"/>
                      <a:gd name="T54" fmla="*/ 357 w 497"/>
                      <a:gd name="T55" fmla="*/ 520 h 827"/>
                      <a:gd name="T56" fmla="*/ 376 w 497"/>
                      <a:gd name="T57" fmla="*/ 432 h 827"/>
                      <a:gd name="T58" fmla="*/ 288 w 497"/>
                      <a:gd name="T59" fmla="*/ 390 h 827"/>
                      <a:gd name="T60" fmla="*/ 308 w 497"/>
                      <a:gd name="T61" fmla="*/ 344 h 827"/>
                      <a:gd name="T62" fmla="*/ 329 w 497"/>
                      <a:gd name="T63" fmla="*/ 317 h 827"/>
                      <a:gd name="T64" fmla="*/ 384 w 497"/>
                      <a:gd name="T65" fmla="*/ 301 h 827"/>
                      <a:gd name="T66" fmla="*/ 366 w 497"/>
                      <a:gd name="T67" fmla="*/ 256 h 827"/>
                      <a:gd name="T68" fmla="*/ 306 w 497"/>
                      <a:gd name="T69" fmla="*/ 221 h 827"/>
                      <a:gd name="T70" fmla="*/ 283 w 497"/>
                      <a:gd name="T71" fmla="*/ 174 h 827"/>
                      <a:gd name="T72" fmla="*/ 319 w 497"/>
                      <a:gd name="T73" fmla="*/ 135 h 827"/>
                      <a:gd name="T74" fmla="*/ 304 w 497"/>
                      <a:gd name="T75" fmla="*/ 118 h 827"/>
                      <a:gd name="T76" fmla="*/ 334 w 497"/>
                      <a:gd name="T77" fmla="*/ 121 h 827"/>
                      <a:gd name="T78" fmla="*/ 346 w 497"/>
                      <a:gd name="T79" fmla="*/ 145 h 827"/>
                      <a:gd name="T80" fmla="*/ 379 w 497"/>
                      <a:gd name="T81" fmla="*/ 138 h 827"/>
                      <a:gd name="T82" fmla="*/ 379 w 497"/>
                      <a:gd name="T83" fmla="*/ 116 h 827"/>
                      <a:gd name="T84" fmla="*/ 409 w 497"/>
                      <a:gd name="T85" fmla="*/ 145 h 827"/>
                      <a:gd name="T86" fmla="*/ 459 w 497"/>
                      <a:gd name="T87" fmla="*/ 173 h 827"/>
                      <a:gd name="T88" fmla="*/ 477 w 497"/>
                      <a:gd name="T89" fmla="*/ 135 h 827"/>
                      <a:gd name="T90" fmla="*/ 497 w 497"/>
                      <a:gd name="T91" fmla="*/ 85 h 827"/>
                      <a:gd name="T92" fmla="*/ 472 w 497"/>
                      <a:gd name="T93" fmla="*/ 63 h 827"/>
                      <a:gd name="T94" fmla="*/ 444 w 497"/>
                      <a:gd name="T95" fmla="*/ 53 h 827"/>
                      <a:gd name="T96" fmla="*/ 402 w 497"/>
                      <a:gd name="T97" fmla="*/ 61 h 827"/>
                      <a:gd name="T98" fmla="*/ 366 w 497"/>
                      <a:gd name="T99" fmla="*/ 40 h 827"/>
                      <a:gd name="T100" fmla="*/ 351 w 497"/>
                      <a:gd name="T101" fmla="*/ 15 h 827"/>
                      <a:gd name="T102" fmla="*/ 311 w 497"/>
                      <a:gd name="T103" fmla="*/ 28 h 827"/>
                      <a:gd name="T104" fmla="*/ 273 w 497"/>
                      <a:gd name="T105" fmla="*/ 30 h 827"/>
                      <a:gd name="T106" fmla="*/ 259 w 497"/>
                      <a:gd name="T107" fmla="*/ 8 h 827"/>
                      <a:gd name="T108" fmla="*/ 271 w 497"/>
                      <a:gd name="T109" fmla="*/ 50 h 827"/>
                      <a:gd name="T110" fmla="*/ 274 w 497"/>
                      <a:gd name="T111" fmla="*/ 108 h 827"/>
                      <a:gd name="T112" fmla="*/ 286 w 497"/>
                      <a:gd name="T113" fmla="*/ 121 h 827"/>
                      <a:gd name="T114" fmla="*/ 291 w 497"/>
                      <a:gd name="T115" fmla="*/ 145 h 827"/>
                      <a:gd name="T116" fmla="*/ 246 w 497"/>
                      <a:gd name="T117" fmla="*/ 183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7" h="827">
                        <a:moveTo>
                          <a:pt x="246" y="183"/>
                        </a:moveTo>
                        <a:lnTo>
                          <a:pt x="241" y="191"/>
                        </a:lnTo>
                        <a:lnTo>
                          <a:pt x="241" y="199"/>
                        </a:lnTo>
                        <a:lnTo>
                          <a:pt x="240" y="206"/>
                        </a:lnTo>
                        <a:lnTo>
                          <a:pt x="254" y="211"/>
                        </a:lnTo>
                        <a:lnTo>
                          <a:pt x="256" y="223"/>
                        </a:lnTo>
                        <a:lnTo>
                          <a:pt x="271" y="233"/>
                        </a:lnTo>
                        <a:lnTo>
                          <a:pt x="271" y="241"/>
                        </a:lnTo>
                        <a:lnTo>
                          <a:pt x="276" y="244"/>
                        </a:lnTo>
                        <a:lnTo>
                          <a:pt x="271" y="251"/>
                        </a:lnTo>
                        <a:lnTo>
                          <a:pt x="278" y="264"/>
                        </a:lnTo>
                        <a:lnTo>
                          <a:pt x="268" y="263"/>
                        </a:lnTo>
                        <a:lnTo>
                          <a:pt x="263" y="256"/>
                        </a:lnTo>
                        <a:lnTo>
                          <a:pt x="256" y="259"/>
                        </a:lnTo>
                        <a:lnTo>
                          <a:pt x="253" y="269"/>
                        </a:lnTo>
                        <a:lnTo>
                          <a:pt x="240" y="281"/>
                        </a:lnTo>
                        <a:lnTo>
                          <a:pt x="243" y="286"/>
                        </a:lnTo>
                        <a:lnTo>
                          <a:pt x="251" y="294"/>
                        </a:lnTo>
                        <a:lnTo>
                          <a:pt x="251" y="301"/>
                        </a:lnTo>
                        <a:lnTo>
                          <a:pt x="244" y="306"/>
                        </a:lnTo>
                        <a:lnTo>
                          <a:pt x="244" y="326"/>
                        </a:lnTo>
                        <a:lnTo>
                          <a:pt x="254" y="334"/>
                        </a:lnTo>
                        <a:lnTo>
                          <a:pt x="256" y="347"/>
                        </a:lnTo>
                        <a:lnTo>
                          <a:pt x="259" y="357"/>
                        </a:lnTo>
                        <a:lnTo>
                          <a:pt x="258" y="369"/>
                        </a:lnTo>
                        <a:lnTo>
                          <a:pt x="251" y="371"/>
                        </a:lnTo>
                        <a:lnTo>
                          <a:pt x="254" y="376"/>
                        </a:lnTo>
                        <a:lnTo>
                          <a:pt x="259" y="376"/>
                        </a:lnTo>
                        <a:lnTo>
                          <a:pt x="261" y="382"/>
                        </a:lnTo>
                        <a:lnTo>
                          <a:pt x="261" y="392"/>
                        </a:lnTo>
                        <a:lnTo>
                          <a:pt x="258" y="400"/>
                        </a:lnTo>
                        <a:lnTo>
                          <a:pt x="249" y="397"/>
                        </a:lnTo>
                        <a:lnTo>
                          <a:pt x="246" y="400"/>
                        </a:lnTo>
                        <a:lnTo>
                          <a:pt x="253" y="412"/>
                        </a:lnTo>
                        <a:lnTo>
                          <a:pt x="253" y="422"/>
                        </a:lnTo>
                        <a:lnTo>
                          <a:pt x="248" y="434"/>
                        </a:lnTo>
                        <a:lnTo>
                          <a:pt x="240" y="447"/>
                        </a:lnTo>
                        <a:lnTo>
                          <a:pt x="233" y="452"/>
                        </a:lnTo>
                        <a:lnTo>
                          <a:pt x="240" y="459"/>
                        </a:lnTo>
                        <a:lnTo>
                          <a:pt x="235" y="464"/>
                        </a:lnTo>
                        <a:lnTo>
                          <a:pt x="233" y="460"/>
                        </a:lnTo>
                        <a:lnTo>
                          <a:pt x="223" y="460"/>
                        </a:lnTo>
                        <a:lnTo>
                          <a:pt x="226" y="469"/>
                        </a:lnTo>
                        <a:lnTo>
                          <a:pt x="221" y="472"/>
                        </a:lnTo>
                        <a:lnTo>
                          <a:pt x="216" y="470"/>
                        </a:lnTo>
                        <a:lnTo>
                          <a:pt x="213" y="472"/>
                        </a:lnTo>
                        <a:lnTo>
                          <a:pt x="215" y="480"/>
                        </a:lnTo>
                        <a:lnTo>
                          <a:pt x="208" y="487"/>
                        </a:lnTo>
                        <a:lnTo>
                          <a:pt x="201" y="485"/>
                        </a:lnTo>
                        <a:lnTo>
                          <a:pt x="198" y="487"/>
                        </a:lnTo>
                        <a:lnTo>
                          <a:pt x="193" y="482"/>
                        </a:lnTo>
                        <a:lnTo>
                          <a:pt x="186" y="482"/>
                        </a:lnTo>
                        <a:lnTo>
                          <a:pt x="181" y="482"/>
                        </a:lnTo>
                        <a:lnTo>
                          <a:pt x="181" y="487"/>
                        </a:lnTo>
                        <a:lnTo>
                          <a:pt x="186" y="492"/>
                        </a:lnTo>
                        <a:lnTo>
                          <a:pt x="186" y="498"/>
                        </a:lnTo>
                        <a:lnTo>
                          <a:pt x="185" y="505"/>
                        </a:lnTo>
                        <a:lnTo>
                          <a:pt x="183" y="512"/>
                        </a:lnTo>
                        <a:lnTo>
                          <a:pt x="176" y="508"/>
                        </a:lnTo>
                        <a:lnTo>
                          <a:pt x="170" y="507"/>
                        </a:lnTo>
                        <a:lnTo>
                          <a:pt x="173" y="512"/>
                        </a:lnTo>
                        <a:lnTo>
                          <a:pt x="170" y="517"/>
                        </a:lnTo>
                        <a:lnTo>
                          <a:pt x="163" y="513"/>
                        </a:lnTo>
                        <a:lnTo>
                          <a:pt x="151" y="507"/>
                        </a:lnTo>
                        <a:lnTo>
                          <a:pt x="143" y="507"/>
                        </a:lnTo>
                        <a:lnTo>
                          <a:pt x="136" y="503"/>
                        </a:lnTo>
                        <a:lnTo>
                          <a:pt x="133" y="512"/>
                        </a:lnTo>
                        <a:lnTo>
                          <a:pt x="126" y="523"/>
                        </a:lnTo>
                        <a:lnTo>
                          <a:pt x="128" y="527"/>
                        </a:lnTo>
                        <a:lnTo>
                          <a:pt x="120" y="533"/>
                        </a:lnTo>
                        <a:lnTo>
                          <a:pt x="108" y="533"/>
                        </a:lnTo>
                        <a:lnTo>
                          <a:pt x="88" y="543"/>
                        </a:lnTo>
                        <a:lnTo>
                          <a:pt x="78" y="550"/>
                        </a:lnTo>
                        <a:lnTo>
                          <a:pt x="68" y="560"/>
                        </a:lnTo>
                        <a:lnTo>
                          <a:pt x="72" y="568"/>
                        </a:lnTo>
                        <a:lnTo>
                          <a:pt x="63" y="572"/>
                        </a:lnTo>
                        <a:lnTo>
                          <a:pt x="55" y="575"/>
                        </a:lnTo>
                        <a:lnTo>
                          <a:pt x="47" y="570"/>
                        </a:lnTo>
                        <a:lnTo>
                          <a:pt x="42" y="565"/>
                        </a:lnTo>
                        <a:lnTo>
                          <a:pt x="40" y="558"/>
                        </a:lnTo>
                        <a:lnTo>
                          <a:pt x="32" y="555"/>
                        </a:lnTo>
                        <a:lnTo>
                          <a:pt x="23" y="557"/>
                        </a:lnTo>
                        <a:lnTo>
                          <a:pt x="25" y="563"/>
                        </a:lnTo>
                        <a:lnTo>
                          <a:pt x="25" y="570"/>
                        </a:lnTo>
                        <a:lnTo>
                          <a:pt x="18" y="572"/>
                        </a:lnTo>
                        <a:lnTo>
                          <a:pt x="13" y="570"/>
                        </a:lnTo>
                        <a:lnTo>
                          <a:pt x="5" y="570"/>
                        </a:lnTo>
                        <a:lnTo>
                          <a:pt x="4" y="577"/>
                        </a:lnTo>
                        <a:lnTo>
                          <a:pt x="9" y="582"/>
                        </a:lnTo>
                        <a:lnTo>
                          <a:pt x="5" y="592"/>
                        </a:lnTo>
                        <a:lnTo>
                          <a:pt x="0" y="603"/>
                        </a:lnTo>
                        <a:lnTo>
                          <a:pt x="4" y="610"/>
                        </a:lnTo>
                        <a:lnTo>
                          <a:pt x="7" y="618"/>
                        </a:lnTo>
                        <a:lnTo>
                          <a:pt x="10" y="616"/>
                        </a:lnTo>
                        <a:lnTo>
                          <a:pt x="25" y="613"/>
                        </a:lnTo>
                        <a:lnTo>
                          <a:pt x="32" y="626"/>
                        </a:lnTo>
                        <a:lnTo>
                          <a:pt x="40" y="625"/>
                        </a:lnTo>
                        <a:lnTo>
                          <a:pt x="42" y="630"/>
                        </a:lnTo>
                        <a:lnTo>
                          <a:pt x="53" y="638"/>
                        </a:lnTo>
                        <a:lnTo>
                          <a:pt x="68" y="638"/>
                        </a:lnTo>
                        <a:lnTo>
                          <a:pt x="85" y="638"/>
                        </a:lnTo>
                        <a:lnTo>
                          <a:pt x="93" y="638"/>
                        </a:lnTo>
                        <a:lnTo>
                          <a:pt x="93" y="645"/>
                        </a:lnTo>
                        <a:lnTo>
                          <a:pt x="85" y="650"/>
                        </a:lnTo>
                        <a:lnTo>
                          <a:pt x="85" y="653"/>
                        </a:lnTo>
                        <a:lnTo>
                          <a:pt x="83" y="660"/>
                        </a:lnTo>
                        <a:lnTo>
                          <a:pt x="85" y="670"/>
                        </a:lnTo>
                        <a:lnTo>
                          <a:pt x="90" y="673"/>
                        </a:lnTo>
                        <a:lnTo>
                          <a:pt x="105" y="678"/>
                        </a:lnTo>
                        <a:lnTo>
                          <a:pt x="117" y="695"/>
                        </a:lnTo>
                        <a:lnTo>
                          <a:pt x="131" y="696"/>
                        </a:lnTo>
                        <a:lnTo>
                          <a:pt x="133" y="703"/>
                        </a:lnTo>
                        <a:lnTo>
                          <a:pt x="128" y="708"/>
                        </a:lnTo>
                        <a:lnTo>
                          <a:pt x="131" y="718"/>
                        </a:lnTo>
                        <a:lnTo>
                          <a:pt x="140" y="716"/>
                        </a:lnTo>
                        <a:lnTo>
                          <a:pt x="138" y="721"/>
                        </a:lnTo>
                        <a:lnTo>
                          <a:pt x="140" y="731"/>
                        </a:lnTo>
                        <a:lnTo>
                          <a:pt x="148" y="739"/>
                        </a:lnTo>
                        <a:lnTo>
                          <a:pt x="138" y="741"/>
                        </a:lnTo>
                        <a:lnTo>
                          <a:pt x="125" y="748"/>
                        </a:lnTo>
                        <a:lnTo>
                          <a:pt x="126" y="756"/>
                        </a:lnTo>
                        <a:lnTo>
                          <a:pt x="135" y="754"/>
                        </a:lnTo>
                        <a:lnTo>
                          <a:pt x="146" y="763"/>
                        </a:lnTo>
                        <a:lnTo>
                          <a:pt x="160" y="766"/>
                        </a:lnTo>
                        <a:lnTo>
                          <a:pt x="165" y="773"/>
                        </a:lnTo>
                        <a:lnTo>
                          <a:pt x="166" y="791"/>
                        </a:lnTo>
                        <a:lnTo>
                          <a:pt x="175" y="796"/>
                        </a:lnTo>
                        <a:lnTo>
                          <a:pt x="176" y="789"/>
                        </a:lnTo>
                        <a:lnTo>
                          <a:pt x="185" y="788"/>
                        </a:lnTo>
                        <a:lnTo>
                          <a:pt x="186" y="779"/>
                        </a:lnTo>
                        <a:lnTo>
                          <a:pt x="196" y="783"/>
                        </a:lnTo>
                        <a:lnTo>
                          <a:pt x="196" y="794"/>
                        </a:lnTo>
                        <a:lnTo>
                          <a:pt x="206" y="803"/>
                        </a:lnTo>
                        <a:lnTo>
                          <a:pt x="220" y="804"/>
                        </a:lnTo>
                        <a:lnTo>
                          <a:pt x="226" y="809"/>
                        </a:lnTo>
                        <a:lnTo>
                          <a:pt x="226" y="819"/>
                        </a:lnTo>
                        <a:lnTo>
                          <a:pt x="230" y="827"/>
                        </a:lnTo>
                        <a:lnTo>
                          <a:pt x="241" y="826"/>
                        </a:lnTo>
                        <a:lnTo>
                          <a:pt x="266" y="816"/>
                        </a:lnTo>
                        <a:lnTo>
                          <a:pt x="284" y="804"/>
                        </a:lnTo>
                        <a:lnTo>
                          <a:pt x="294" y="791"/>
                        </a:lnTo>
                        <a:lnTo>
                          <a:pt x="304" y="769"/>
                        </a:lnTo>
                        <a:lnTo>
                          <a:pt x="323" y="753"/>
                        </a:lnTo>
                        <a:lnTo>
                          <a:pt x="319" y="744"/>
                        </a:lnTo>
                        <a:lnTo>
                          <a:pt x="309" y="738"/>
                        </a:lnTo>
                        <a:lnTo>
                          <a:pt x="319" y="736"/>
                        </a:lnTo>
                        <a:lnTo>
                          <a:pt x="324" y="744"/>
                        </a:lnTo>
                        <a:lnTo>
                          <a:pt x="328" y="754"/>
                        </a:lnTo>
                        <a:lnTo>
                          <a:pt x="324" y="763"/>
                        </a:lnTo>
                        <a:lnTo>
                          <a:pt x="319" y="776"/>
                        </a:lnTo>
                        <a:lnTo>
                          <a:pt x="321" y="788"/>
                        </a:lnTo>
                        <a:lnTo>
                          <a:pt x="329" y="799"/>
                        </a:lnTo>
                        <a:lnTo>
                          <a:pt x="334" y="791"/>
                        </a:lnTo>
                        <a:lnTo>
                          <a:pt x="344" y="798"/>
                        </a:lnTo>
                        <a:lnTo>
                          <a:pt x="359" y="789"/>
                        </a:lnTo>
                        <a:lnTo>
                          <a:pt x="367" y="778"/>
                        </a:lnTo>
                        <a:lnTo>
                          <a:pt x="377" y="776"/>
                        </a:lnTo>
                        <a:lnTo>
                          <a:pt x="377" y="763"/>
                        </a:lnTo>
                        <a:lnTo>
                          <a:pt x="382" y="754"/>
                        </a:lnTo>
                        <a:lnTo>
                          <a:pt x="386" y="759"/>
                        </a:lnTo>
                        <a:lnTo>
                          <a:pt x="392" y="759"/>
                        </a:lnTo>
                        <a:lnTo>
                          <a:pt x="399" y="754"/>
                        </a:lnTo>
                        <a:lnTo>
                          <a:pt x="399" y="764"/>
                        </a:lnTo>
                        <a:lnTo>
                          <a:pt x="411" y="771"/>
                        </a:lnTo>
                        <a:lnTo>
                          <a:pt x="421" y="769"/>
                        </a:lnTo>
                        <a:lnTo>
                          <a:pt x="429" y="771"/>
                        </a:lnTo>
                        <a:lnTo>
                          <a:pt x="439" y="768"/>
                        </a:lnTo>
                        <a:lnTo>
                          <a:pt x="437" y="754"/>
                        </a:lnTo>
                        <a:lnTo>
                          <a:pt x="432" y="744"/>
                        </a:lnTo>
                        <a:lnTo>
                          <a:pt x="436" y="733"/>
                        </a:lnTo>
                        <a:lnTo>
                          <a:pt x="426" y="714"/>
                        </a:lnTo>
                        <a:lnTo>
                          <a:pt x="424" y="703"/>
                        </a:lnTo>
                        <a:lnTo>
                          <a:pt x="424" y="690"/>
                        </a:lnTo>
                        <a:lnTo>
                          <a:pt x="416" y="676"/>
                        </a:lnTo>
                        <a:lnTo>
                          <a:pt x="417" y="660"/>
                        </a:lnTo>
                        <a:lnTo>
                          <a:pt x="414" y="650"/>
                        </a:lnTo>
                        <a:lnTo>
                          <a:pt x="417" y="645"/>
                        </a:lnTo>
                        <a:lnTo>
                          <a:pt x="416" y="633"/>
                        </a:lnTo>
                        <a:lnTo>
                          <a:pt x="412" y="623"/>
                        </a:lnTo>
                        <a:lnTo>
                          <a:pt x="404" y="620"/>
                        </a:lnTo>
                        <a:lnTo>
                          <a:pt x="407" y="613"/>
                        </a:lnTo>
                        <a:lnTo>
                          <a:pt x="406" y="600"/>
                        </a:lnTo>
                        <a:lnTo>
                          <a:pt x="419" y="588"/>
                        </a:lnTo>
                        <a:lnTo>
                          <a:pt x="414" y="582"/>
                        </a:lnTo>
                        <a:lnTo>
                          <a:pt x="404" y="580"/>
                        </a:lnTo>
                        <a:lnTo>
                          <a:pt x="394" y="580"/>
                        </a:lnTo>
                        <a:lnTo>
                          <a:pt x="386" y="580"/>
                        </a:lnTo>
                        <a:lnTo>
                          <a:pt x="381" y="572"/>
                        </a:lnTo>
                        <a:lnTo>
                          <a:pt x="387" y="565"/>
                        </a:lnTo>
                        <a:lnTo>
                          <a:pt x="389" y="553"/>
                        </a:lnTo>
                        <a:lnTo>
                          <a:pt x="384" y="542"/>
                        </a:lnTo>
                        <a:lnTo>
                          <a:pt x="376" y="540"/>
                        </a:lnTo>
                        <a:lnTo>
                          <a:pt x="372" y="535"/>
                        </a:lnTo>
                        <a:lnTo>
                          <a:pt x="364" y="530"/>
                        </a:lnTo>
                        <a:lnTo>
                          <a:pt x="356" y="528"/>
                        </a:lnTo>
                        <a:lnTo>
                          <a:pt x="357" y="520"/>
                        </a:lnTo>
                        <a:lnTo>
                          <a:pt x="357" y="497"/>
                        </a:lnTo>
                        <a:lnTo>
                          <a:pt x="371" y="487"/>
                        </a:lnTo>
                        <a:lnTo>
                          <a:pt x="379" y="479"/>
                        </a:lnTo>
                        <a:lnTo>
                          <a:pt x="377" y="470"/>
                        </a:lnTo>
                        <a:lnTo>
                          <a:pt x="372" y="457"/>
                        </a:lnTo>
                        <a:lnTo>
                          <a:pt x="372" y="445"/>
                        </a:lnTo>
                        <a:lnTo>
                          <a:pt x="376" y="432"/>
                        </a:lnTo>
                        <a:lnTo>
                          <a:pt x="367" y="427"/>
                        </a:lnTo>
                        <a:lnTo>
                          <a:pt x="359" y="425"/>
                        </a:lnTo>
                        <a:lnTo>
                          <a:pt x="348" y="425"/>
                        </a:lnTo>
                        <a:lnTo>
                          <a:pt x="326" y="420"/>
                        </a:lnTo>
                        <a:lnTo>
                          <a:pt x="308" y="409"/>
                        </a:lnTo>
                        <a:lnTo>
                          <a:pt x="298" y="405"/>
                        </a:lnTo>
                        <a:lnTo>
                          <a:pt x="288" y="390"/>
                        </a:lnTo>
                        <a:lnTo>
                          <a:pt x="279" y="379"/>
                        </a:lnTo>
                        <a:lnTo>
                          <a:pt x="286" y="371"/>
                        </a:lnTo>
                        <a:lnTo>
                          <a:pt x="296" y="352"/>
                        </a:lnTo>
                        <a:lnTo>
                          <a:pt x="291" y="346"/>
                        </a:lnTo>
                        <a:lnTo>
                          <a:pt x="298" y="341"/>
                        </a:lnTo>
                        <a:lnTo>
                          <a:pt x="304" y="337"/>
                        </a:lnTo>
                        <a:lnTo>
                          <a:pt x="308" y="344"/>
                        </a:lnTo>
                        <a:lnTo>
                          <a:pt x="304" y="349"/>
                        </a:lnTo>
                        <a:lnTo>
                          <a:pt x="313" y="349"/>
                        </a:lnTo>
                        <a:lnTo>
                          <a:pt x="316" y="346"/>
                        </a:lnTo>
                        <a:lnTo>
                          <a:pt x="319" y="339"/>
                        </a:lnTo>
                        <a:lnTo>
                          <a:pt x="329" y="332"/>
                        </a:lnTo>
                        <a:lnTo>
                          <a:pt x="331" y="324"/>
                        </a:lnTo>
                        <a:lnTo>
                          <a:pt x="329" y="317"/>
                        </a:lnTo>
                        <a:lnTo>
                          <a:pt x="329" y="307"/>
                        </a:lnTo>
                        <a:lnTo>
                          <a:pt x="338" y="302"/>
                        </a:lnTo>
                        <a:lnTo>
                          <a:pt x="349" y="306"/>
                        </a:lnTo>
                        <a:lnTo>
                          <a:pt x="357" y="299"/>
                        </a:lnTo>
                        <a:lnTo>
                          <a:pt x="362" y="302"/>
                        </a:lnTo>
                        <a:lnTo>
                          <a:pt x="376" y="304"/>
                        </a:lnTo>
                        <a:lnTo>
                          <a:pt x="384" y="301"/>
                        </a:lnTo>
                        <a:lnTo>
                          <a:pt x="394" y="296"/>
                        </a:lnTo>
                        <a:lnTo>
                          <a:pt x="399" y="281"/>
                        </a:lnTo>
                        <a:lnTo>
                          <a:pt x="382" y="274"/>
                        </a:lnTo>
                        <a:lnTo>
                          <a:pt x="374" y="268"/>
                        </a:lnTo>
                        <a:lnTo>
                          <a:pt x="374" y="259"/>
                        </a:lnTo>
                        <a:lnTo>
                          <a:pt x="374" y="253"/>
                        </a:lnTo>
                        <a:lnTo>
                          <a:pt x="366" y="256"/>
                        </a:lnTo>
                        <a:lnTo>
                          <a:pt x="357" y="256"/>
                        </a:lnTo>
                        <a:lnTo>
                          <a:pt x="344" y="258"/>
                        </a:lnTo>
                        <a:lnTo>
                          <a:pt x="333" y="253"/>
                        </a:lnTo>
                        <a:lnTo>
                          <a:pt x="328" y="243"/>
                        </a:lnTo>
                        <a:lnTo>
                          <a:pt x="323" y="234"/>
                        </a:lnTo>
                        <a:lnTo>
                          <a:pt x="309" y="226"/>
                        </a:lnTo>
                        <a:lnTo>
                          <a:pt x="306" y="221"/>
                        </a:lnTo>
                        <a:lnTo>
                          <a:pt x="298" y="214"/>
                        </a:lnTo>
                        <a:lnTo>
                          <a:pt x="289" y="218"/>
                        </a:lnTo>
                        <a:lnTo>
                          <a:pt x="281" y="223"/>
                        </a:lnTo>
                        <a:lnTo>
                          <a:pt x="279" y="213"/>
                        </a:lnTo>
                        <a:lnTo>
                          <a:pt x="281" y="206"/>
                        </a:lnTo>
                        <a:lnTo>
                          <a:pt x="281" y="191"/>
                        </a:lnTo>
                        <a:lnTo>
                          <a:pt x="283" y="174"/>
                        </a:lnTo>
                        <a:lnTo>
                          <a:pt x="289" y="165"/>
                        </a:lnTo>
                        <a:lnTo>
                          <a:pt x="299" y="156"/>
                        </a:lnTo>
                        <a:lnTo>
                          <a:pt x="308" y="158"/>
                        </a:lnTo>
                        <a:lnTo>
                          <a:pt x="306" y="151"/>
                        </a:lnTo>
                        <a:lnTo>
                          <a:pt x="309" y="145"/>
                        </a:lnTo>
                        <a:lnTo>
                          <a:pt x="314" y="138"/>
                        </a:lnTo>
                        <a:lnTo>
                          <a:pt x="319" y="135"/>
                        </a:lnTo>
                        <a:lnTo>
                          <a:pt x="328" y="136"/>
                        </a:lnTo>
                        <a:lnTo>
                          <a:pt x="331" y="131"/>
                        </a:lnTo>
                        <a:lnTo>
                          <a:pt x="324" y="128"/>
                        </a:lnTo>
                        <a:lnTo>
                          <a:pt x="319" y="126"/>
                        </a:lnTo>
                        <a:lnTo>
                          <a:pt x="311" y="121"/>
                        </a:lnTo>
                        <a:lnTo>
                          <a:pt x="311" y="120"/>
                        </a:lnTo>
                        <a:lnTo>
                          <a:pt x="304" y="118"/>
                        </a:lnTo>
                        <a:lnTo>
                          <a:pt x="306" y="110"/>
                        </a:lnTo>
                        <a:lnTo>
                          <a:pt x="309" y="106"/>
                        </a:lnTo>
                        <a:lnTo>
                          <a:pt x="313" y="105"/>
                        </a:lnTo>
                        <a:lnTo>
                          <a:pt x="314" y="108"/>
                        </a:lnTo>
                        <a:lnTo>
                          <a:pt x="321" y="108"/>
                        </a:lnTo>
                        <a:lnTo>
                          <a:pt x="331" y="118"/>
                        </a:lnTo>
                        <a:lnTo>
                          <a:pt x="334" y="121"/>
                        </a:lnTo>
                        <a:lnTo>
                          <a:pt x="338" y="116"/>
                        </a:lnTo>
                        <a:lnTo>
                          <a:pt x="344" y="123"/>
                        </a:lnTo>
                        <a:lnTo>
                          <a:pt x="349" y="128"/>
                        </a:lnTo>
                        <a:lnTo>
                          <a:pt x="351" y="135"/>
                        </a:lnTo>
                        <a:lnTo>
                          <a:pt x="346" y="140"/>
                        </a:lnTo>
                        <a:lnTo>
                          <a:pt x="343" y="141"/>
                        </a:lnTo>
                        <a:lnTo>
                          <a:pt x="346" y="145"/>
                        </a:lnTo>
                        <a:lnTo>
                          <a:pt x="351" y="145"/>
                        </a:lnTo>
                        <a:lnTo>
                          <a:pt x="354" y="143"/>
                        </a:lnTo>
                        <a:lnTo>
                          <a:pt x="356" y="141"/>
                        </a:lnTo>
                        <a:lnTo>
                          <a:pt x="361" y="143"/>
                        </a:lnTo>
                        <a:lnTo>
                          <a:pt x="367" y="146"/>
                        </a:lnTo>
                        <a:lnTo>
                          <a:pt x="374" y="141"/>
                        </a:lnTo>
                        <a:lnTo>
                          <a:pt x="379" y="138"/>
                        </a:lnTo>
                        <a:lnTo>
                          <a:pt x="386" y="141"/>
                        </a:lnTo>
                        <a:lnTo>
                          <a:pt x="392" y="145"/>
                        </a:lnTo>
                        <a:lnTo>
                          <a:pt x="396" y="135"/>
                        </a:lnTo>
                        <a:lnTo>
                          <a:pt x="391" y="131"/>
                        </a:lnTo>
                        <a:lnTo>
                          <a:pt x="382" y="130"/>
                        </a:lnTo>
                        <a:lnTo>
                          <a:pt x="379" y="121"/>
                        </a:lnTo>
                        <a:lnTo>
                          <a:pt x="379" y="116"/>
                        </a:lnTo>
                        <a:lnTo>
                          <a:pt x="384" y="116"/>
                        </a:lnTo>
                        <a:lnTo>
                          <a:pt x="394" y="116"/>
                        </a:lnTo>
                        <a:lnTo>
                          <a:pt x="401" y="120"/>
                        </a:lnTo>
                        <a:lnTo>
                          <a:pt x="404" y="126"/>
                        </a:lnTo>
                        <a:lnTo>
                          <a:pt x="402" y="133"/>
                        </a:lnTo>
                        <a:lnTo>
                          <a:pt x="409" y="141"/>
                        </a:lnTo>
                        <a:lnTo>
                          <a:pt x="409" y="145"/>
                        </a:lnTo>
                        <a:lnTo>
                          <a:pt x="407" y="146"/>
                        </a:lnTo>
                        <a:lnTo>
                          <a:pt x="412" y="153"/>
                        </a:lnTo>
                        <a:lnTo>
                          <a:pt x="424" y="161"/>
                        </a:lnTo>
                        <a:lnTo>
                          <a:pt x="432" y="171"/>
                        </a:lnTo>
                        <a:lnTo>
                          <a:pt x="441" y="173"/>
                        </a:lnTo>
                        <a:lnTo>
                          <a:pt x="451" y="174"/>
                        </a:lnTo>
                        <a:lnTo>
                          <a:pt x="459" y="173"/>
                        </a:lnTo>
                        <a:lnTo>
                          <a:pt x="466" y="178"/>
                        </a:lnTo>
                        <a:lnTo>
                          <a:pt x="469" y="171"/>
                        </a:lnTo>
                        <a:lnTo>
                          <a:pt x="474" y="161"/>
                        </a:lnTo>
                        <a:lnTo>
                          <a:pt x="467" y="156"/>
                        </a:lnTo>
                        <a:lnTo>
                          <a:pt x="469" y="148"/>
                        </a:lnTo>
                        <a:lnTo>
                          <a:pt x="474" y="141"/>
                        </a:lnTo>
                        <a:lnTo>
                          <a:pt x="477" y="135"/>
                        </a:lnTo>
                        <a:lnTo>
                          <a:pt x="484" y="140"/>
                        </a:lnTo>
                        <a:lnTo>
                          <a:pt x="485" y="131"/>
                        </a:lnTo>
                        <a:lnTo>
                          <a:pt x="495" y="125"/>
                        </a:lnTo>
                        <a:lnTo>
                          <a:pt x="495" y="110"/>
                        </a:lnTo>
                        <a:lnTo>
                          <a:pt x="495" y="105"/>
                        </a:lnTo>
                        <a:lnTo>
                          <a:pt x="495" y="95"/>
                        </a:lnTo>
                        <a:lnTo>
                          <a:pt x="497" y="85"/>
                        </a:lnTo>
                        <a:lnTo>
                          <a:pt x="497" y="80"/>
                        </a:lnTo>
                        <a:lnTo>
                          <a:pt x="492" y="73"/>
                        </a:lnTo>
                        <a:lnTo>
                          <a:pt x="487" y="73"/>
                        </a:lnTo>
                        <a:lnTo>
                          <a:pt x="477" y="68"/>
                        </a:lnTo>
                        <a:lnTo>
                          <a:pt x="470" y="70"/>
                        </a:lnTo>
                        <a:lnTo>
                          <a:pt x="467" y="66"/>
                        </a:lnTo>
                        <a:lnTo>
                          <a:pt x="472" y="63"/>
                        </a:lnTo>
                        <a:lnTo>
                          <a:pt x="466" y="60"/>
                        </a:lnTo>
                        <a:lnTo>
                          <a:pt x="464" y="63"/>
                        </a:lnTo>
                        <a:lnTo>
                          <a:pt x="457" y="60"/>
                        </a:lnTo>
                        <a:lnTo>
                          <a:pt x="451" y="58"/>
                        </a:lnTo>
                        <a:lnTo>
                          <a:pt x="447" y="61"/>
                        </a:lnTo>
                        <a:lnTo>
                          <a:pt x="442" y="58"/>
                        </a:lnTo>
                        <a:lnTo>
                          <a:pt x="444" y="53"/>
                        </a:lnTo>
                        <a:lnTo>
                          <a:pt x="436" y="52"/>
                        </a:lnTo>
                        <a:lnTo>
                          <a:pt x="431" y="52"/>
                        </a:lnTo>
                        <a:lnTo>
                          <a:pt x="424" y="57"/>
                        </a:lnTo>
                        <a:lnTo>
                          <a:pt x="421" y="60"/>
                        </a:lnTo>
                        <a:lnTo>
                          <a:pt x="414" y="58"/>
                        </a:lnTo>
                        <a:lnTo>
                          <a:pt x="412" y="61"/>
                        </a:lnTo>
                        <a:lnTo>
                          <a:pt x="402" y="61"/>
                        </a:lnTo>
                        <a:lnTo>
                          <a:pt x="397" y="58"/>
                        </a:lnTo>
                        <a:lnTo>
                          <a:pt x="394" y="50"/>
                        </a:lnTo>
                        <a:lnTo>
                          <a:pt x="391" y="47"/>
                        </a:lnTo>
                        <a:lnTo>
                          <a:pt x="381" y="47"/>
                        </a:lnTo>
                        <a:lnTo>
                          <a:pt x="379" y="40"/>
                        </a:lnTo>
                        <a:lnTo>
                          <a:pt x="372" y="43"/>
                        </a:lnTo>
                        <a:lnTo>
                          <a:pt x="366" y="40"/>
                        </a:lnTo>
                        <a:lnTo>
                          <a:pt x="369" y="33"/>
                        </a:lnTo>
                        <a:lnTo>
                          <a:pt x="367" y="25"/>
                        </a:lnTo>
                        <a:lnTo>
                          <a:pt x="366" y="22"/>
                        </a:lnTo>
                        <a:lnTo>
                          <a:pt x="357" y="20"/>
                        </a:lnTo>
                        <a:lnTo>
                          <a:pt x="357" y="17"/>
                        </a:lnTo>
                        <a:lnTo>
                          <a:pt x="354" y="15"/>
                        </a:lnTo>
                        <a:lnTo>
                          <a:pt x="351" y="15"/>
                        </a:lnTo>
                        <a:lnTo>
                          <a:pt x="346" y="18"/>
                        </a:lnTo>
                        <a:lnTo>
                          <a:pt x="341" y="18"/>
                        </a:lnTo>
                        <a:lnTo>
                          <a:pt x="334" y="18"/>
                        </a:lnTo>
                        <a:lnTo>
                          <a:pt x="329" y="20"/>
                        </a:lnTo>
                        <a:lnTo>
                          <a:pt x="321" y="20"/>
                        </a:lnTo>
                        <a:lnTo>
                          <a:pt x="319" y="23"/>
                        </a:lnTo>
                        <a:lnTo>
                          <a:pt x="311" y="28"/>
                        </a:lnTo>
                        <a:lnTo>
                          <a:pt x="313" y="32"/>
                        </a:lnTo>
                        <a:lnTo>
                          <a:pt x="308" y="35"/>
                        </a:lnTo>
                        <a:lnTo>
                          <a:pt x="303" y="30"/>
                        </a:lnTo>
                        <a:lnTo>
                          <a:pt x="296" y="28"/>
                        </a:lnTo>
                        <a:lnTo>
                          <a:pt x="288" y="30"/>
                        </a:lnTo>
                        <a:lnTo>
                          <a:pt x="279" y="33"/>
                        </a:lnTo>
                        <a:lnTo>
                          <a:pt x="273" y="30"/>
                        </a:lnTo>
                        <a:lnTo>
                          <a:pt x="266" y="23"/>
                        </a:lnTo>
                        <a:lnTo>
                          <a:pt x="263" y="20"/>
                        </a:lnTo>
                        <a:lnTo>
                          <a:pt x="263" y="15"/>
                        </a:lnTo>
                        <a:lnTo>
                          <a:pt x="266" y="12"/>
                        </a:lnTo>
                        <a:lnTo>
                          <a:pt x="264" y="5"/>
                        </a:lnTo>
                        <a:lnTo>
                          <a:pt x="259" y="0"/>
                        </a:lnTo>
                        <a:lnTo>
                          <a:pt x="259" y="8"/>
                        </a:lnTo>
                        <a:lnTo>
                          <a:pt x="259" y="17"/>
                        </a:lnTo>
                        <a:lnTo>
                          <a:pt x="254" y="18"/>
                        </a:lnTo>
                        <a:lnTo>
                          <a:pt x="251" y="27"/>
                        </a:lnTo>
                        <a:lnTo>
                          <a:pt x="253" y="33"/>
                        </a:lnTo>
                        <a:lnTo>
                          <a:pt x="259" y="40"/>
                        </a:lnTo>
                        <a:lnTo>
                          <a:pt x="266" y="43"/>
                        </a:lnTo>
                        <a:lnTo>
                          <a:pt x="271" y="50"/>
                        </a:lnTo>
                        <a:lnTo>
                          <a:pt x="273" y="53"/>
                        </a:lnTo>
                        <a:lnTo>
                          <a:pt x="278" y="61"/>
                        </a:lnTo>
                        <a:lnTo>
                          <a:pt x="279" y="66"/>
                        </a:lnTo>
                        <a:lnTo>
                          <a:pt x="283" y="75"/>
                        </a:lnTo>
                        <a:lnTo>
                          <a:pt x="283" y="93"/>
                        </a:lnTo>
                        <a:lnTo>
                          <a:pt x="278" y="101"/>
                        </a:lnTo>
                        <a:lnTo>
                          <a:pt x="274" y="108"/>
                        </a:lnTo>
                        <a:lnTo>
                          <a:pt x="273" y="113"/>
                        </a:lnTo>
                        <a:lnTo>
                          <a:pt x="279" y="116"/>
                        </a:lnTo>
                        <a:lnTo>
                          <a:pt x="281" y="113"/>
                        </a:lnTo>
                        <a:lnTo>
                          <a:pt x="286" y="110"/>
                        </a:lnTo>
                        <a:lnTo>
                          <a:pt x="286" y="115"/>
                        </a:lnTo>
                        <a:lnTo>
                          <a:pt x="283" y="118"/>
                        </a:lnTo>
                        <a:lnTo>
                          <a:pt x="286" y="121"/>
                        </a:lnTo>
                        <a:lnTo>
                          <a:pt x="291" y="120"/>
                        </a:lnTo>
                        <a:lnTo>
                          <a:pt x="293" y="125"/>
                        </a:lnTo>
                        <a:lnTo>
                          <a:pt x="289" y="130"/>
                        </a:lnTo>
                        <a:lnTo>
                          <a:pt x="293" y="135"/>
                        </a:lnTo>
                        <a:lnTo>
                          <a:pt x="298" y="136"/>
                        </a:lnTo>
                        <a:lnTo>
                          <a:pt x="296" y="141"/>
                        </a:lnTo>
                        <a:lnTo>
                          <a:pt x="291" y="145"/>
                        </a:lnTo>
                        <a:lnTo>
                          <a:pt x="284" y="153"/>
                        </a:lnTo>
                        <a:lnTo>
                          <a:pt x="266" y="165"/>
                        </a:lnTo>
                        <a:lnTo>
                          <a:pt x="254" y="173"/>
                        </a:lnTo>
                        <a:lnTo>
                          <a:pt x="261" y="184"/>
                        </a:lnTo>
                        <a:lnTo>
                          <a:pt x="253" y="183"/>
                        </a:lnTo>
                        <a:lnTo>
                          <a:pt x="249" y="183"/>
                        </a:lnTo>
                        <a:lnTo>
                          <a:pt x="246" y="183"/>
                        </a:lnTo>
                        <a:lnTo>
                          <a:pt x="246" y="183"/>
                        </a:lnTo>
                        <a:lnTo>
                          <a:pt x="246" y="183"/>
                        </a:lnTo>
                        <a:close/>
                      </a:path>
                    </a:pathLst>
                  </a:custGeom>
                  <a:solidFill>
                    <a:schemeClr val="accent1">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27" name="Freeform 1112">
                    <a:extLst>
                      <a:ext uri="{FF2B5EF4-FFF2-40B4-BE49-F238E27FC236}">
                        <a16:creationId xmlns:a16="http://schemas.microsoft.com/office/drawing/2014/main" id="{76A594F5-FD2F-415E-A3B8-6FB583555E91}"/>
                      </a:ext>
                    </a:extLst>
                  </p:cNvPr>
                  <p:cNvSpPr>
                    <a:spLocks/>
                  </p:cNvSpPr>
                  <p:nvPr/>
                </p:nvSpPr>
                <p:spPr bwMode="auto">
                  <a:xfrm>
                    <a:off x="4711679" y="3307941"/>
                    <a:ext cx="737971" cy="619746"/>
                  </a:xfrm>
                  <a:custGeom>
                    <a:avLst/>
                    <a:gdLst>
                      <a:gd name="T0" fmla="*/ 472 w 593"/>
                      <a:gd name="T1" fmla="*/ 435 h 498"/>
                      <a:gd name="T2" fmla="*/ 465 w 593"/>
                      <a:gd name="T3" fmla="*/ 409 h 498"/>
                      <a:gd name="T4" fmla="*/ 419 w 593"/>
                      <a:gd name="T5" fmla="*/ 364 h 498"/>
                      <a:gd name="T6" fmla="*/ 372 w 593"/>
                      <a:gd name="T7" fmla="*/ 337 h 498"/>
                      <a:gd name="T8" fmla="*/ 334 w 593"/>
                      <a:gd name="T9" fmla="*/ 315 h 498"/>
                      <a:gd name="T10" fmla="*/ 354 w 593"/>
                      <a:gd name="T11" fmla="*/ 284 h 498"/>
                      <a:gd name="T12" fmla="*/ 376 w 593"/>
                      <a:gd name="T13" fmla="*/ 272 h 498"/>
                      <a:gd name="T14" fmla="*/ 422 w 593"/>
                      <a:gd name="T15" fmla="*/ 256 h 498"/>
                      <a:gd name="T16" fmla="*/ 467 w 593"/>
                      <a:gd name="T17" fmla="*/ 226 h 498"/>
                      <a:gd name="T18" fmla="*/ 504 w 593"/>
                      <a:gd name="T19" fmla="*/ 229 h 498"/>
                      <a:gd name="T20" fmla="*/ 515 w 593"/>
                      <a:gd name="T21" fmla="*/ 203 h 498"/>
                      <a:gd name="T22" fmla="*/ 540 w 593"/>
                      <a:gd name="T23" fmla="*/ 201 h 498"/>
                      <a:gd name="T24" fmla="*/ 560 w 593"/>
                      <a:gd name="T25" fmla="*/ 181 h 498"/>
                      <a:gd name="T26" fmla="*/ 565 w 593"/>
                      <a:gd name="T27" fmla="*/ 164 h 498"/>
                      <a:gd name="T28" fmla="*/ 580 w 593"/>
                      <a:gd name="T29" fmla="*/ 114 h 498"/>
                      <a:gd name="T30" fmla="*/ 585 w 593"/>
                      <a:gd name="T31" fmla="*/ 88 h 498"/>
                      <a:gd name="T32" fmla="*/ 588 w 593"/>
                      <a:gd name="T33" fmla="*/ 46 h 498"/>
                      <a:gd name="T34" fmla="*/ 552 w 593"/>
                      <a:gd name="T35" fmla="*/ 1 h 498"/>
                      <a:gd name="T36" fmla="*/ 527 w 593"/>
                      <a:gd name="T37" fmla="*/ 20 h 498"/>
                      <a:gd name="T38" fmla="*/ 497 w 593"/>
                      <a:gd name="T39" fmla="*/ 45 h 498"/>
                      <a:gd name="T40" fmla="*/ 469 w 593"/>
                      <a:gd name="T41" fmla="*/ 106 h 498"/>
                      <a:gd name="T42" fmla="*/ 434 w 593"/>
                      <a:gd name="T43" fmla="*/ 119 h 498"/>
                      <a:gd name="T44" fmla="*/ 386 w 593"/>
                      <a:gd name="T45" fmla="*/ 138 h 498"/>
                      <a:gd name="T46" fmla="*/ 361 w 593"/>
                      <a:gd name="T47" fmla="*/ 114 h 498"/>
                      <a:gd name="T48" fmla="*/ 328 w 593"/>
                      <a:gd name="T49" fmla="*/ 93 h 498"/>
                      <a:gd name="T50" fmla="*/ 301 w 593"/>
                      <a:gd name="T51" fmla="*/ 124 h 498"/>
                      <a:gd name="T52" fmla="*/ 239 w 593"/>
                      <a:gd name="T53" fmla="*/ 148 h 498"/>
                      <a:gd name="T54" fmla="*/ 203 w 593"/>
                      <a:gd name="T55" fmla="*/ 156 h 498"/>
                      <a:gd name="T56" fmla="*/ 175 w 593"/>
                      <a:gd name="T57" fmla="*/ 153 h 498"/>
                      <a:gd name="T58" fmla="*/ 151 w 593"/>
                      <a:gd name="T59" fmla="*/ 174 h 498"/>
                      <a:gd name="T60" fmla="*/ 121 w 593"/>
                      <a:gd name="T61" fmla="*/ 138 h 498"/>
                      <a:gd name="T62" fmla="*/ 103 w 593"/>
                      <a:gd name="T63" fmla="*/ 146 h 498"/>
                      <a:gd name="T64" fmla="*/ 68 w 593"/>
                      <a:gd name="T65" fmla="*/ 139 h 498"/>
                      <a:gd name="T66" fmla="*/ 7 w 593"/>
                      <a:gd name="T67" fmla="*/ 174 h 498"/>
                      <a:gd name="T68" fmla="*/ 13 w 593"/>
                      <a:gd name="T69" fmla="*/ 211 h 498"/>
                      <a:gd name="T70" fmla="*/ 58 w 593"/>
                      <a:gd name="T71" fmla="*/ 261 h 498"/>
                      <a:gd name="T72" fmla="*/ 90 w 593"/>
                      <a:gd name="T73" fmla="*/ 267 h 498"/>
                      <a:gd name="T74" fmla="*/ 87 w 593"/>
                      <a:gd name="T75" fmla="*/ 302 h 498"/>
                      <a:gd name="T76" fmla="*/ 103 w 593"/>
                      <a:gd name="T77" fmla="*/ 315 h 498"/>
                      <a:gd name="T78" fmla="*/ 112 w 593"/>
                      <a:gd name="T79" fmla="*/ 362 h 498"/>
                      <a:gd name="T80" fmla="*/ 140 w 593"/>
                      <a:gd name="T81" fmla="*/ 362 h 498"/>
                      <a:gd name="T82" fmla="*/ 118 w 593"/>
                      <a:gd name="T83" fmla="*/ 409 h 498"/>
                      <a:gd name="T84" fmla="*/ 103 w 593"/>
                      <a:gd name="T85" fmla="*/ 432 h 498"/>
                      <a:gd name="T86" fmla="*/ 150 w 593"/>
                      <a:gd name="T87" fmla="*/ 453 h 498"/>
                      <a:gd name="T88" fmla="*/ 200 w 593"/>
                      <a:gd name="T89" fmla="*/ 438 h 498"/>
                      <a:gd name="T90" fmla="*/ 236 w 593"/>
                      <a:gd name="T91" fmla="*/ 432 h 498"/>
                      <a:gd name="T92" fmla="*/ 230 w 593"/>
                      <a:gd name="T93" fmla="*/ 485 h 498"/>
                      <a:gd name="T94" fmla="*/ 264 w 593"/>
                      <a:gd name="T95" fmla="*/ 497 h 498"/>
                      <a:gd name="T96" fmla="*/ 281 w 593"/>
                      <a:gd name="T97" fmla="*/ 475 h 498"/>
                      <a:gd name="T98" fmla="*/ 331 w 593"/>
                      <a:gd name="T99" fmla="*/ 487 h 498"/>
                      <a:gd name="T100" fmla="*/ 336 w 593"/>
                      <a:gd name="T101" fmla="*/ 498 h 498"/>
                      <a:gd name="T102" fmla="*/ 362 w 593"/>
                      <a:gd name="T103" fmla="*/ 482 h 498"/>
                      <a:gd name="T104" fmla="*/ 361 w 593"/>
                      <a:gd name="T105" fmla="*/ 447 h 498"/>
                      <a:gd name="T106" fmla="*/ 354 w 593"/>
                      <a:gd name="T107" fmla="*/ 422 h 498"/>
                      <a:gd name="T108" fmla="*/ 394 w 593"/>
                      <a:gd name="T109" fmla="*/ 428 h 498"/>
                      <a:gd name="T110" fmla="*/ 452 w 593"/>
                      <a:gd name="T111" fmla="*/ 45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93" h="498">
                        <a:moveTo>
                          <a:pt x="459" y="462"/>
                        </a:moveTo>
                        <a:lnTo>
                          <a:pt x="472" y="453"/>
                        </a:lnTo>
                        <a:lnTo>
                          <a:pt x="482" y="452"/>
                        </a:lnTo>
                        <a:lnTo>
                          <a:pt x="474" y="443"/>
                        </a:lnTo>
                        <a:lnTo>
                          <a:pt x="472" y="435"/>
                        </a:lnTo>
                        <a:lnTo>
                          <a:pt x="474" y="427"/>
                        </a:lnTo>
                        <a:lnTo>
                          <a:pt x="465" y="430"/>
                        </a:lnTo>
                        <a:lnTo>
                          <a:pt x="464" y="420"/>
                        </a:lnTo>
                        <a:lnTo>
                          <a:pt x="467" y="415"/>
                        </a:lnTo>
                        <a:lnTo>
                          <a:pt x="465" y="409"/>
                        </a:lnTo>
                        <a:lnTo>
                          <a:pt x="451" y="407"/>
                        </a:lnTo>
                        <a:lnTo>
                          <a:pt x="439" y="390"/>
                        </a:lnTo>
                        <a:lnTo>
                          <a:pt x="422" y="387"/>
                        </a:lnTo>
                        <a:lnTo>
                          <a:pt x="419" y="382"/>
                        </a:lnTo>
                        <a:lnTo>
                          <a:pt x="419" y="364"/>
                        </a:lnTo>
                        <a:lnTo>
                          <a:pt x="427" y="355"/>
                        </a:lnTo>
                        <a:lnTo>
                          <a:pt x="429" y="352"/>
                        </a:lnTo>
                        <a:lnTo>
                          <a:pt x="417" y="350"/>
                        </a:lnTo>
                        <a:lnTo>
                          <a:pt x="387" y="350"/>
                        </a:lnTo>
                        <a:lnTo>
                          <a:pt x="372" y="337"/>
                        </a:lnTo>
                        <a:lnTo>
                          <a:pt x="366" y="339"/>
                        </a:lnTo>
                        <a:lnTo>
                          <a:pt x="359" y="325"/>
                        </a:lnTo>
                        <a:lnTo>
                          <a:pt x="341" y="330"/>
                        </a:lnTo>
                        <a:lnTo>
                          <a:pt x="338" y="322"/>
                        </a:lnTo>
                        <a:lnTo>
                          <a:pt x="334" y="315"/>
                        </a:lnTo>
                        <a:lnTo>
                          <a:pt x="343" y="292"/>
                        </a:lnTo>
                        <a:lnTo>
                          <a:pt x="338" y="289"/>
                        </a:lnTo>
                        <a:lnTo>
                          <a:pt x="339" y="282"/>
                        </a:lnTo>
                        <a:lnTo>
                          <a:pt x="347" y="282"/>
                        </a:lnTo>
                        <a:lnTo>
                          <a:pt x="354" y="284"/>
                        </a:lnTo>
                        <a:lnTo>
                          <a:pt x="361" y="282"/>
                        </a:lnTo>
                        <a:lnTo>
                          <a:pt x="359" y="277"/>
                        </a:lnTo>
                        <a:lnTo>
                          <a:pt x="356" y="271"/>
                        </a:lnTo>
                        <a:lnTo>
                          <a:pt x="367" y="267"/>
                        </a:lnTo>
                        <a:lnTo>
                          <a:pt x="376" y="272"/>
                        </a:lnTo>
                        <a:lnTo>
                          <a:pt x="376" y="279"/>
                        </a:lnTo>
                        <a:lnTo>
                          <a:pt x="389" y="289"/>
                        </a:lnTo>
                        <a:lnTo>
                          <a:pt x="406" y="282"/>
                        </a:lnTo>
                        <a:lnTo>
                          <a:pt x="402" y="272"/>
                        </a:lnTo>
                        <a:lnTo>
                          <a:pt x="422" y="256"/>
                        </a:lnTo>
                        <a:lnTo>
                          <a:pt x="442" y="246"/>
                        </a:lnTo>
                        <a:lnTo>
                          <a:pt x="454" y="247"/>
                        </a:lnTo>
                        <a:lnTo>
                          <a:pt x="462" y="241"/>
                        </a:lnTo>
                        <a:lnTo>
                          <a:pt x="459" y="236"/>
                        </a:lnTo>
                        <a:lnTo>
                          <a:pt x="467" y="226"/>
                        </a:lnTo>
                        <a:lnTo>
                          <a:pt x="470" y="216"/>
                        </a:lnTo>
                        <a:lnTo>
                          <a:pt x="474" y="221"/>
                        </a:lnTo>
                        <a:lnTo>
                          <a:pt x="484" y="219"/>
                        </a:lnTo>
                        <a:lnTo>
                          <a:pt x="497" y="227"/>
                        </a:lnTo>
                        <a:lnTo>
                          <a:pt x="504" y="229"/>
                        </a:lnTo>
                        <a:lnTo>
                          <a:pt x="505" y="224"/>
                        </a:lnTo>
                        <a:lnTo>
                          <a:pt x="504" y="219"/>
                        </a:lnTo>
                        <a:lnTo>
                          <a:pt x="517" y="224"/>
                        </a:lnTo>
                        <a:lnTo>
                          <a:pt x="522" y="204"/>
                        </a:lnTo>
                        <a:lnTo>
                          <a:pt x="515" y="203"/>
                        </a:lnTo>
                        <a:lnTo>
                          <a:pt x="515" y="193"/>
                        </a:lnTo>
                        <a:lnTo>
                          <a:pt x="527" y="196"/>
                        </a:lnTo>
                        <a:lnTo>
                          <a:pt x="532" y="201"/>
                        </a:lnTo>
                        <a:lnTo>
                          <a:pt x="535" y="198"/>
                        </a:lnTo>
                        <a:lnTo>
                          <a:pt x="540" y="201"/>
                        </a:lnTo>
                        <a:lnTo>
                          <a:pt x="549" y="193"/>
                        </a:lnTo>
                        <a:lnTo>
                          <a:pt x="545" y="184"/>
                        </a:lnTo>
                        <a:lnTo>
                          <a:pt x="549" y="183"/>
                        </a:lnTo>
                        <a:lnTo>
                          <a:pt x="557" y="184"/>
                        </a:lnTo>
                        <a:lnTo>
                          <a:pt x="560" y="181"/>
                        </a:lnTo>
                        <a:lnTo>
                          <a:pt x="555" y="174"/>
                        </a:lnTo>
                        <a:lnTo>
                          <a:pt x="565" y="174"/>
                        </a:lnTo>
                        <a:lnTo>
                          <a:pt x="569" y="178"/>
                        </a:lnTo>
                        <a:lnTo>
                          <a:pt x="574" y="173"/>
                        </a:lnTo>
                        <a:lnTo>
                          <a:pt x="565" y="164"/>
                        </a:lnTo>
                        <a:lnTo>
                          <a:pt x="574" y="159"/>
                        </a:lnTo>
                        <a:lnTo>
                          <a:pt x="583" y="143"/>
                        </a:lnTo>
                        <a:lnTo>
                          <a:pt x="587" y="136"/>
                        </a:lnTo>
                        <a:lnTo>
                          <a:pt x="587" y="124"/>
                        </a:lnTo>
                        <a:lnTo>
                          <a:pt x="580" y="114"/>
                        </a:lnTo>
                        <a:lnTo>
                          <a:pt x="582" y="108"/>
                        </a:lnTo>
                        <a:lnTo>
                          <a:pt x="590" y="113"/>
                        </a:lnTo>
                        <a:lnTo>
                          <a:pt x="593" y="106"/>
                        </a:lnTo>
                        <a:lnTo>
                          <a:pt x="593" y="88"/>
                        </a:lnTo>
                        <a:lnTo>
                          <a:pt x="585" y="88"/>
                        </a:lnTo>
                        <a:lnTo>
                          <a:pt x="585" y="85"/>
                        </a:lnTo>
                        <a:lnTo>
                          <a:pt x="592" y="81"/>
                        </a:lnTo>
                        <a:lnTo>
                          <a:pt x="593" y="70"/>
                        </a:lnTo>
                        <a:lnTo>
                          <a:pt x="590" y="58"/>
                        </a:lnTo>
                        <a:lnTo>
                          <a:pt x="588" y="46"/>
                        </a:lnTo>
                        <a:lnTo>
                          <a:pt x="578" y="38"/>
                        </a:lnTo>
                        <a:lnTo>
                          <a:pt x="578" y="18"/>
                        </a:lnTo>
                        <a:lnTo>
                          <a:pt x="574" y="11"/>
                        </a:lnTo>
                        <a:lnTo>
                          <a:pt x="555" y="3"/>
                        </a:lnTo>
                        <a:lnTo>
                          <a:pt x="552" y="1"/>
                        </a:lnTo>
                        <a:lnTo>
                          <a:pt x="544" y="0"/>
                        </a:lnTo>
                        <a:lnTo>
                          <a:pt x="545" y="10"/>
                        </a:lnTo>
                        <a:lnTo>
                          <a:pt x="539" y="16"/>
                        </a:lnTo>
                        <a:lnTo>
                          <a:pt x="537" y="26"/>
                        </a:lnTo>
                        <a:lnTo>
                          <a:pt x="527" y="20"/>
                        </a:lnTo>
                        <a:lnTo>
                          <a:pt x="517" y="20"/>
                        </a:lnTo>
                        <a:lnTo>
                          <a:pt x="514" y="26"/>
                        </a:lnTo>
                        <a:lnTo>
                          <a:pt x="517" y="36"/>
                        </a:lnTo>
                        <a:lnTo>
                          <a:pt x="510" y="36"/>
                        </a:lnTo>
                        <a:lnTo>
                          <a:pt x="497" y="45"/>
                        </a:lnTo>
                        <a:lnTo>
                          <a:pt x="497" y="66"/>
                        </a:lnTo>
                        <a:lnTo>
                          <a:pt x="490" y="80"/>
                        </a:lnTo>
                        <a:lnTo>
                          <a:pt x="489" y="98"/>
                        </a:lnTo>
                        <a:lnTo>
                          <a:pt x="485" y="109"/>
                        </a:lnTo>
                        <a:lnTo>
                          <a:pt x="469" y="106"/>
                        </a:lnTo>
                        <a:lnTo>
                          <a:pt x="470" y="121"/>
                        </a:lnTo>
                        <a:lnTo>
                          <a:pt x="456" y="119"/>
                        </a:lnTo>
                        <a:lnTo>
                          <a:pt x="449" y="111"/>
                        </a:lnTo>
                        <a:lnTo>
                          <a:pt x="442" y="118"/>
                        </a:lnTo>
                        <a:lnTo>
                          <a:pt x="434" y="119"/>
                        </a:lnTo>
                        <a:lnTo>
                          <a:pt x="426" y="111"/>
                        </a:lnTo>
                        <a:lnTo>
                          <a:pt x="416" y="133"/>
                        </a:lnTo>
                        <a:lnTo>
                          <a:pt x="407" y="151"/>
                        </a:lnTo>
                        <a:lnTo>
                          <a:pt x="391" y="136"/>
                        </a:lnTo>
                        <a:lnTo>
                          <a:pt x="386" y="138"/>
                        </a:lnTo>
                        <a:lnTo>
                          <a:pt x="386" y="129"/>
                        </a:lnTo>
                        <a:lnTo>
                          <a:pt x="389" y="119"/>
                        </a:lnTo>
                        <a:lnTo>
                          <a:pt x="377" y="118"/>
                        </a:lnTo>
                        <a:lnTo>
                          <a:pt x="369" y="123"/>
                        </a:lnTo>
                        <a:lnTo>
                          <a:pt x="361" y="114"/>
                        </a:lnTo>
                        <a:lnTo>
                          <a:pt x="364" y="111"/>
                        </a:lnTo>
                        <a:lnTo>
                          <a:pt x="359" y="99"/>
                        </a:lnTo>
                        <a:lnTo>
                          <a:pt x="349" y="96"/>
                        </a:lnTo>
                        <a:lnTo>
                          <a:pt x="338" y="103"/>
                        </a:lnTo>
                        <a:lnTo>
                          <a:pt x="328" y="93"/>
                        </a:lnTo>
                        <a:lnTo>
                          <a:pt x="308" y="93"/>
                        </a:lnTo>
                        <a:lnTo>
                          <a:pt x="308" y="104"/>
                        </a:lnTo>
                        <a:lnTo>
                          <a:pt x="301" y="111"/>
                        </a:lnTo>
                        <a:lnTo>
                          <a:pt x="306" y="121"/>
                        </a:lnTo>
                        <a:lnTo>
                          <a:pt x="301" y="124"/>
                        </a:lnTo>
                        <a:lnTo>
                          <a:pt x="294" y="124"/>
                        </a:lnTo>
                        <a:lnTo>
                          <a:pt x="286" y="131"/>
                        </a:lnTo>
                        <a:lnTo>
                          <a:pt x="266" y="133"/>
                        </a:lnTo>
                        <a:lnTo>
                          <a:pt x="249" y="139"/>
                        </a:lnTo>
                        <a:lnTo>
                          <a:pt x="239" y="148"/>
                        </a:lnTo>
                        <a:lnTo>
                          <a:pt x="231" y="161"/>
                        </a:lnTo>
                        <a:lnTo>
                          <a:pt x="228" y="153"/>
                        </a:lnTo>
                        <a:lnTo>
                          <a:pt x="221" y="153"/>
                        </a:lnTo>
                        <a:lnTo>
                          <a:pt x="211" y="159"/>
                        </a:lnTo>
                        <a:lnTo>
                          <a:pt x="203" y="156"/>
                        </a:lnTo>
                        <a:lnTo>
                          <a:pt x="203" y="148"/>
                        </a:lnTo>
                        <a:lnTo>
                          <a:pt x="200" y="148"/>
                        </a:lnTo>
                        <a:lnTo>
                          <a:pt x="191" y="138"/>
                        </a:lnTo>
                        <a:lnTo>
                          <a:pt x="175" y="148"/>
                        </a:lnTo>
                        <a:lnTo>
                          <a:pt x="175" y="153"/>
                        </a:lnTo>
                        <a:lnTo>
                          <a:pt x="170" y="158"/>
                        </a:lnTo>
                        <a:lnTo>
                          <a:pt x="161" y="153"/>
                        </a:lnTo>
                        <a:lnTo>
                          <a:pt x="160" y="159"/>
                        </a:lnTo>
                        <a:lnTo>
                          <a:pt x="153" y="169"/>
                        </a:lnTo>
                        <a:lnTo>
                          <a:pt x="151" y="174"/>
                        </a:lnTo>
                        <a:lnTo>
                          <a:pt x="145" y="163"/>
                        </a:lnTo>
                        <a:lnTo>
                          <a:pt x="135" y="159"/>
                        </a:lnTo>
                        <a:lnTo>
                          <a:pt x="126" y="148"/>
                        </a:lnTo>
                        <a:lnTo>
                          <a:pt x="130" y="141"/>
                        </a:lnTo>
                        <a:lnTo>
                          <a:pt x="121" y="138"/>
                        </a:lnTo>
                        <a:lnTo>
                          <a:pt x="117" y="141"/>
                        </a:lnTo>
                        <a:lnTo>
                          <a:pt x="112" y="136"/>
                        </a:lnTo>
                        <a:lnTo>
                          <a:pt x="105" y="139"/>
                        </a:lnTo>
                        <a:lnTo>
                          <a:pt x="108" y="144"/>
                        </a:lnTo>
                        <a:lnTo>
                          <a:pt x="103" y="146"/>
                        </a:lnTo>
                        <a:lnTo>
                          <a:pt x="98" y="139"/>
                        </a:lnTo>
                        <a:lnTo>
                          <a:pt x="95" y="133"/>
                        </a:lnTo>
                        <a:lnTo>
                          <a:pt x="88" y="128"/>
                        </a:lnTo>
                        <a:lnTo>
                          <a:pt x="80" y="133"/>
                        </a:lnTo>
                        <a:lnTo>
                          <a:pt x="68" y="139"/>
                        </a:lnTo>
                        <a:lnTo>
                          <a:pt x="43" y="143"/>
                        </a:lnTo>
                        <a:lnTo>
                          <a:pt x="22" y="141"/>
                        </a:lnTo>
                        <a:lnTo>
                          <a:pt x="7" y="153"/>
                        </a:lnTo>
                        <a:lnTo>
                          <a:pt x="15" y="164"/>
                        </a:lnTo>
                        <a:lnTo>
                          <a:pt x="7" y="174"/>
                        </a:lnTo>
                        <a:lnTo>
                          <a:pt x="7" y="184"/>
                        </a:lnTo>
                        <a:lnTo>
                          <a:pt x="3" y="198"/>
                        </a:lnTo>
                        <a:lnTo>
                          <a:pt x="0" y="206"/>
                        </a:lnTo>
                        <a:lnTo>
                          <a:pt x="8" y="209"/>
                        </a:lnTo>
                        <a:lnTo>
                          <a:pt x="13" y="211"/>
                        </a:lnTo>
                        <a:lnTo>
                          <a:pt x="28" y="226"/>
                        </a:lnTo>
                        <a:lnTo>
                          <a:pt x="37" y="236"/>
                        </a:lnTo>
                        <a:lnTo>
                          <a:pt x="47" y="242"/>
                        </a:lnTo>
                        <a:lnTo>
                          <a:pt x="55" y="252"/>
                        </a:lnTo>
                        <a:lnTo>
                          <a:pt x="58" y="261"/>
                        </a:lnTo>
                        <a:lnTo>
                          <a:pt x="63" y="272"/>
                        </a:lnTo>
                        <a:lnTo>
                          <a:pt x="72" y="277"/>
                        </a:lnTo>
                        <a:lnTo>
                          <a:pt x="82" y="274"/>
                        </a:lnTo>
                        <a:lnTo>
                          <a:pt x="85" y="269"/>
                        </a:lnTo>
                        <a:lnTo>
                          <a:pt x="90" y="267"/>
                        </a:lnTo>
                        <a:lnTo>
                          <a:pt x="97" y="274"/>
                        </a:lnTo>
                        <a:lnTo>
                          <a:pt x="97" y="281"/>
                        </a:lnTo>
                        <a:lnTo>
                          <a:pt x="92" y="289"/>
                        </a:lnTo>
                        <a:lnTo>
                          <a:pt x="88" y="296"/>
                        </a:lnTo>
                        <a:lnTo>
                          <a:pt x="87" y="302"/>
                        </a:lnTo>
                        <a:lnTo>
                          <a:pt x="85" y="306"/>
                        </a:lnTo>
                        <a:lnTo>
                          <a:pt x="85" y="311"/>
                        </a:lnTo>
                        <a:lnTo>
                          <a:pt x="93" y="309"/>
                        </a:lnTo>
                        <a:lnTo>
                          <a:pt x="102" y="307"/>
                        </a:lnTo>
                        <a:lnTo>
                          <a:pt x="103" y="315"/>
                        </a:lnTo>
                        <a:lnTo>
                          <a:pt x="100" y="324"/>
                        </a:lnTo>
                        <a:lnTo>
                          <a:pt x="97" y="334"/>
                        </a:lnTo>
                        <a:lnTo>
                          <a:pt x="100" y="342"/>
                        </a:lnTo>
                        <a:lnTo>
                          <a:pt x="112" y="349"/>
                        </a:lnTo>
                        <a:lnTo>
                          <a:pt x="112" y="362"/>
                        </a:lnTo>
                        <a:lnTo>
                          <a:pt x="115" y="360"/>
                        </a:lnTo>
                        <a:lnTo>
                          <a:pt x="118" y="357"/>
                        </a:lnTo>
                        <a:lnTo>
                          <a:pt x="123" y="364"/>
                        </a:lnTo>
                        <a:lnTo>
                          <a:pt x="133" y="362"/>
                        </a:lnTo>
                        <a:lnTo>
                          <a:pt x="140" y="362"/>
                        </a:lnTo>
                        <a:lnTo>
                          <a:pt x="143" y="369"/>
                        </a:lnTo>
                        <a:lnTo>
                          <a:pt x="140" y="384"/>
                        </a:lnTo>
                        <a:lnTo>
                          <a:pt x="133" y="387"/>
                        </a:lnTo>
                        <a:lnTo>
                          <a:pt x="128" y="404"/>
                        </a:lnTo>
                        <a:lnTo>
                          <a:pt x="118" y="409"/>
                        </a:lnTo>
                        <a:lnTo>
                          <a:pt x="112" y="414"/>
                        </a:lnTo>
                        <a:lnTo>
                          <a:pt x="98" y="420"/>
                        </a:lnTo>
                        <a:lnTo>
                          <a:pt x="93" y="427"/>
                        </a:lnTo>
                        <a:lnTo>
                          <a:pt x="98" y="432"/>
                        </a:lnTo>
                        <a:lnTo>
                          <a:pt x="103" y="432"/>
                        </a:lnTo>
                        <a:lnTo>
                          <a:pt x="110" y="437"/>
                        </a:lnTo>
                        <a:lnTo>
                          <a:pt x="121" y="447"/>
                        </a:lnTo>
                        <a:lnTo>
                          <a:pt x="130" y="448"/>
                        </a:lnTo>
                        <a:lnTo>
                          <a:pt x="136" y="453"/>
                        </a:lnTo>
                        <a:lnTo>
                          <a:pt x="150" y="453"/>
                        </a:lnTo>
                        <a:lnTo>
                          <a:pt x="155" y="447"/>
                        </a:lnTo>
                        <a:lnTo>
                          <a:pt x="163" y="442"/>
                        </a:lnTo>
                        <a:lnTo>
                          <a:pt x="175" y="440"/>
                        </a:lnTo>
                        <a:lnTo>
                          <a:pt x="186" y="440"/>
                        </a:lnTo>
                        <a:lnTo>
                          <a:pt x="200" y="438"/>
                        </a:lnTo>
                        <a:lnTo>
                          <a:pt x="205" y="437"/>
                        </a:lnTo>
                        <a:lnTo>
                          <a:pt x="216" y="440"/>
                        </a:lnTo>
                        <a:lnTo>
                          <a:pt x="221" y="433"/>
                        </a:lnTo>
                        <a:lnTo>
                          <a:pt x="230" y="433"/>
                        </a:lnTo>
                        <a:lnTo>
                          <a:pt x="236" y="432"/>
                        </a:lnTo>
                        <a:lnTo>
                          <a:pt x="239" y="443"/>
                        </a:lnTo>
                        <a:lnTo>
                          <a:pt x="241" y="452"/>
                        </a:lnTo>
                        <a:lnTo>
                          <a:pt x="241" y="463"/>
                        </a:lnTo>
                        <a:lnTo>
                          <a:pt x="234" y="477"/>
                        </a:lnTo>
                        <a:lnTo>
                          <a:pt x="230" y="485"/>
                        </a:lnTo>
                        <a:lnTo>
                          <a:pt x="234" y="488"/>
                        </a:lnTo>
                        <a:lnTo>
                          <a:pt x="241" y="488"/>
                        </a:lnTo>
                        <a:lnTo>
                          <a:pt x="251" y="492"/>
                        </a:lnTo>
                        <a:lnTo>
                          <a:pt x="259" y="495"/>
                        </a:lnTo>
                        <a:lnTo>
                          <a:pt x="264" y="497"/>
                        </a:lnTo>
                        <a:lnTo>
                          <a:pt x="268" y="488"/>
                        </a:lnTo>
                        <a:lnTo>
                          <a:pt x="271" y="483"/>
                        </a:lnTo>
                        <a:lnTo>
                          <a:pt x="276" y="482"/>
                        </a:lnTo>
                        <a:lnTo>
                          <a:pt x="276" y="475"/>
                        </a:lnTo>
                        <a:lnTo>
                          <a:pt x="281" y="475"/>
                        </a:lnTo>
                        <a:lnTo>
                          <a:pt x="289" y="477"/>
                        </a:lnTo>
                        <a:lnTo>
                          <a:pt x="299" y="482"/>
                        </a:lnTo>
                        <a:lnTo>
                          <a:pt x="306" y="487"/>
                        </a:lnTo>
                        <a:lnTo>
                          <a:pt x="319" y="487"/>
                        </a:lnTo>
                        <a:lnTo>
                          <a:pt x="331" y="487"/>
                        </a:lnTo>
                        <a:lnTo>
                          <a:pt x="334" y="480"/>
                        </a:lnTo>
                        <a:lnTo>
                          <a:pt x="341" y="482"/>
                        </a:lnTo>
                        <a:lnTo>
                          <a:pt x="338" y="490"/>
                        </a:lnTo>
                        <a:lnTo>
                          <a:pt x="334" y="495"/>
                        </a:lnTo>
                        <a:lnTo>
                          <a:pt x="336" y="498"/>
                        </a:lnTo>
                        <a:lnTo>
                          <a:pt x="344" y="498"/>
                        </a:lnTo>
                        <a:lnTo>
                          <a:pt x="349" y="498"/>
                        </a:lnTo>
                        <a:lnTo>
                          <a:pt x="356" y="493"/>
                        </a:lnTo>
                        <a:lnTo>
                          <a:pt x="362" y="488"/>
                        </a:lnTo>
                        <a:lnTo>
                          <a:pt x="362" y="482"/>
                        </a:lnTo>
                        <a:lnTo>
                          <a:pt x="366" y="475"/>
                        </a:lnTo>
                        <a:lnTo>
                          <a:pt x="367" y="468"/>
                        </a:lnTo>
                        <a:lnTo>
                          <a:pt x="361" y="458"/>
                        </a:lnTo>
                        <a:lnTo>
                          <a:pt x="366" y="453"/>
                        </a:lnTo>
                        <a:lnTo>
                          <a:pt x="361" y="447"/>
                        </a:lnTo>
                        <a:lnTo>
                          <a:pt x="367" y="442"/>
                        </a:lnTo>
                        <a:lnTo>
                          <a:pt x="367" y="437"/>
                        </a:lnTo>
                        <a:lnTo>
                          <a:pt x="361" y="432"/>
                        </a:lnTo>
                        <a:lnTo>
                          <a:pt x="354" y="427"/>
                        </a:lnTo>
                        <a:lnTo>
                          <a:pt x="354" y="422"/>
                        </a:lnTo>
                        <a:lnTo>
                          <a:pt x="362" y="419"/>
                        </a:lnTo>
                        <a:lnTo>
                          <a:pt x="364" y="414"/>
                        </a:lnTo>
                        <a:lnTo>
                          <a:pt x="376" y="420"/>
                        </a:lnTo>
                        <a:lnTo>
                          <a:pt x="382" y="427"/>
                        </a:lnTo>
                        <a:lnTo>
                          <a:pt x="394" y="428"/>
                        </a:lnTo>
                        <a:lnTo>
                          <a:pt x="402" y="435"/>
                        </a:lnTo>
                        <a:lnTo>
                          <a:pt x="416" y="445"/>
                        </a:lnTo>
                        <a:lnTo>
                          <a:pt x="429" y="443"/>
                        </a:lnTo>
                        <a:lnTo>
                          <a:pt x="442" y="447"/>
                        </a:lnTo>
                        <a:lnTo>
                          <a:pt x="452" y="457"/>
                        </a:lnTo>
                        <a:lnTo>
                          <a:pt x="459" y="462"/>
                        </a:lnTo>
                        <a:lnTo>
                          <a:pt x="459" y="462"/>
                        </a:lnTo>
                        <a:lnTo>
                          <a:pt x="459" y="462"/>
                        </a:lnTo>
                        <a:close/>
                      </a:path>
                    </a:pathLst>
                  </a:custGeom>
                  <a:solidFill>
                    <a:schemeClr val="accent1">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dirty="0">
                      <a:solidFill>
                        <a:schemeClr val="tx1">
                          <a:lumMod val="85000"/>
                          <a:lumOff val="15000"/>
                        </a:schemeClr>
                      </a:solidFill>
                    </a:endParaRPr>
                  </a:p>
                </p:txBody>
              </p:sp>
              <p:sp>
                <p:nvSpPr>
                  <p:cNvPr id="28" name="Freeform 1114">
                    <a:extLst>
                      <a:ext uri="{FF2B5EF4-FFF2-40B4-BE49-F238E27FC236}">
                        <a16:creationId xmlns:a16="http://schemas.microsoft.com/office/drawing/2014/main" id="{E62F9D14-C6C2-43EB-B8D2-1F570AF4EF81}"/>
                      </a:ext>
                    </a:extLst>
                  </p:cNvPr>
                  <p:cNvSpPr>
                    <a:spLocks/>
                  </p:cNvSpPr>
                  <p:nvPr/>
                </p:nvSpPr>
                <p:spPr bwMode="auto">
                  <a:xfrm>
                    <a:off x="2486566" y="2461702"/>
                    <a:ext cx="1400029" cy="1284293"/>
                  </a:xfrm>
                  <a:custGeom>
                    <a:avLst/>
                    <a:gdLst>
                      <a:gd name="T0" fmla="*/ 261 w 1125"/>
                      <a:gd name="T1" fmla="*/ 786 h 1032"/>
                      <a:gd name="T2" fmla="*/ 307 w 1125"/>
                      <a:gd name="T3" fmla="*/ 778 h 1032"/>
                      <a:gd name="T4" fmla="*/ 357 w 1125"/>
                      <a:gd name="T5" fmla="*/ 818 h 1032"/>
                      <a:gd name="T6" fmla="*/ 416 w 1125"/>
                      <a:gd name="T7" fmla="*/ 829 h 1032"/>
                      <a:gd name="T8" fmla="*/ 442 w 1125"/>
                      <a:gd name="T9" fmla="*/ 829 h 1032"/>
                      <a:gd name="T10" fmla="*/ 457 w 1125"/>
                      <a:gd name="T11" fmla="*/ 881 h 1032"/>
                      <a:gd name="T12" fmla="*/ 482 w 1125"/>
                      <a:gd name="T13" fmla="*/ 896 h 1032"/>
                      <a:gd name="T14" fmla="*/ 489 w 1125"/>
                      <a:gd name="T15" fmla="*/ 941 h 1032"/>
                      <a:gd name="T16" fmla="*/ 525 w 1125"/>
                      <a:gd name="T17" fmla="*/ 974 h 1032"/>
                      <a:gd name="T18" fmla="*/ 570 w 1125"/>
                      <a:gd name="T19" fmla="*/ 1014 h 1032"/>
                      <a:gd name="T20" fmla="*/ 622 w 1125"/>
                      <a:gd name="T21" fmla="*/ 1024 h 1032"/>
                      <a:gd name="T22" fmla="*/ 627 w 1125"/>
                      <a:gd name="T23" fmla="*/ 995 h 1032"/>
                      <a:gd name="T24" fmla="*/ 675 w 1125"/>
                      <a:gd name="T25" fmla="*/ 951 h 1032"/>
                      <a:gd name="T26" fmla="*/ 688 w 1125"/>
                      <a:gd name="T27" fmla="*/ 889 h 1032"/>
                      <a:gd name="T28" fmla="*/ 658 w 1125"/>
                      <a:gd name="T29" fmla="*/ 824 h 1032"/>
                      <a:gd name="T30" fmla="*/ 690 w 1125"/>
                      <a:gd name="T31" fmla="*/ 798 h 1032"/>
                      <a:gd name="T32" fmla="*/ 676 w 1125"/>
                      <a:gd name="T33" fmla="*/ 761 h 1032"/>
                      <a:gd name="T34" fmla="*/ 713 w 1125"/>
                      <a:gd name="T35" fmla="*/ 748 h 1032"/>
                      <a:gd name="T36" fmla="*/ 748 w 1125"/>
                      <a:gd name="T37" fmla="*/ 771 h 1032"/>
                      <a:gd name="T38" fmla="*/ 720 w 1125"/>
                      <a:gd name="T39" fmla="*/ 794 h 1032"/>
                      <a:gd name="T40" fmla="*/ 788 w 1125"/>
                      <a:gd name="T41" fmla="*/ 789 h 1032"/>
                      <a:gd name="T42" fmla="*/ 798 w 1125"/>
                      <a:gd name="T43" fmla="*/ 833 h 1032"/>
                      <a:gd name="T44" fmla="*/ 801 w 1125"/>
                      <a:gd name="T45" fmla="*/ 889 h 1032"/>
                      <a:gd name="T46" fmla="*/ 760 w 1125"/>
                      <a:gd name="T47" fmla="*/ 917 h 1032"/>
                      <a:gd name="T48" fmla="*/ 799 w 1125"/>
                      <a:gd name="T49" fmla="*/ 917 h 1032"/>
                      <a:gd name="T50" fmla="*/ 838 w 1125"/>
                      <a:gd name="T51" fmla="*/ 866 h 1032"/>
                      <a:gd name="T52" fmla="*/ 873 w 1125"/>
                      <a:gd name="T53" fmla="*/ 874 h 1032"/>
                      <a:gd name="T54" fmla="*/ 904 w 1125"/>
                      <a:gd name="T55" fmla="*/ 876 h 1032"/>
                      <a:gd name="T56" fmla="*/ 931 w 1125"/>
                      <a:gd name="T57" fmla="*/ 864 h 1032"/>
                      <a:gd name="T58" fmla="*/ 952 w 1125"/>
                      <a:gd name="T59" fmla="*/ 836 h 1032"/>
                      <a:gd name="T60" fmla="*/ 941 w 1125"/>
                      <a:gd name="T61" fmla="*/ 798 h 1032"/>
                      <a:gd name="T62" fmla="*/ 931 w 1125"/>
                      <a:gd name="T63" fmla="*/ 765 h 1032"/>
                      <a:gd name="T64" fmla="*/ 992 w 1125"/>
                      <a:gd name="T65" fmla="*/ 748 h 1032"/>
                      <a:gd name="T66" fmla="*/ 994 w 1125"/>
                      <a:gd name="T67" fmla="*/ 698 h 1032"/>
                      <a:gd name="T68" fmla="*/ 911 w 1125"/>
                      <a:gd name="T69" fmla="*/ 708 h 1032"/>
                      <a:gd name="T70" fmla="*/ 924 w 1125"/>
                      <a:gd name="T71" fmla="*/ 627 h 1032"/>
                      <a:gd name="T72" fmla="*/ 1105 w 1125"/>
                      <a:gd name="T73" fmla="*/ 515 h 1032"/>
                      <a:gd name="T74" fmla="*/ 1107 w 1125"/>
                      <a:gd name="T75" fmla="*/ 489 h 1032"/>
                      <a:gd name="T76" fmla="*/ 1035 w 1125"/>
                      <a:gd name="T77" fmla="*/ 500 h 1032"/>
                      <a:gd name="T78" fmla="*/ 1057 w 1125"/>
                      <a:gd name="T79" fmla="*/ 474 h 1032"/>
                      <a:gd name="T80" fmla="*/ 1037 w 1125"/>
                      <a:gd name="T81" fmla="*/ 441 h 1032"/>
                      <a:gd name="T82" fmla="*/ 984 w 1125"/>
                      <a:gd name="T83" fmla="*/ 357 h 1032"/>
                      <a:gd name="T84" fmla="*/ 949 w 1125"/>
                      <a:gd name="T85" fmla="*/ 369 h 1032"/>
                      <a:gd name="T86" fmla="*/ 916 w 1125"/>
                      <a:gd name="T87" fmla="*/ 318 h 1032"/>
                      <a:gd name="T88" fmla="*/ 874 w 1125"/>
                      <a:gd name="T89" fmla="*/ 301 h 1032"/>
                      <a:gd name="T90" fmla="*/ 856 w 1125"/>
                      <a:gd name="T91" fmla="*/ 339 h 1032"/>
                      <a:gd name="T92" fmla="*/ 836 w 1125"/>
                      <a:gd name="T93" fmla="*/ 323 h 1032"/>
                      <a:gd name="T94" fmla="*/ 791 w 1125"/>
                      <a:gd name="T95" fmla="*/ 243 h 1032"/>
                      <a:gd name="T96" fmla="*/ 769 w 1125"/>
                      <a:gd name="T97" fmla="*/ 171 h 1032"/>
                      <a:gd name="T98" fmla="*/ 743 w 1125"/>
                      <a:gd name="T99" fmla="*/ 141 h 1032"/>
                      <a:gd name="T100" fmla="*/ 688 w 1125"/>
                      <a:gd name="T101" fmla="*/ 127 h 1032"/>
                      <a:gd name="T102" fmla="*/ 665 w 1125"/>
                      <a:gd name="T103" fmla="*/ 82 h 1032"/>
                      <a:gd name="T104" fmla="*/ 655 w 1125"/>
                      <a:gd name="T105" fmla="*/ 35 h 1032"/>
                      <a:gd name="T106" fmla="*/ 537 w 1125"/>
                      <a:gd name="T107" fmla="*/ 25 h 1032"/>
                      <a:gd name="T108" fmla="*/ 401 w 1125"/>
                      <a:gd name="T109" fmla="*/ 188 h 1032"/>
                      <a:gd name="T110" fmla="*/ 238 w 1125"/>
                      <a:gd name="T111" fmla="*/ 318 h 1032"/>
                      <a:gd name="T112" fmla="*/ 126 w 1125"/>
                      <a:gd name="T113" fmla="*/ 284 h 1032"/>
                      <a:gd name="T114" fmla="*/ 0 w 1125"/>
                      <a:gd name="T115" fmla="*/ 451 h 1032"/>
                      <a:gd name="T116" fmla="*/ 86 w 1125"/>
                      <a:gd name="T117" fmla="*/ 514 h 1032"/>
                      <a:gd name="T118" fmla="*/ 133 w 1125"/>
                      <a:gd name="T119" fmla="*/ 617 h 1032"/>
                      <a:gd name="T120" fmla="*/ 185 w 1125"/>
                      <a:gd name="T121" fmla="*/ 760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5" h="1032">
                        <a:moveTo>
                          <a:pt x="193" y="776"/>
                        </a:moveTo>
                        <a:lnTo>
                          <a:pt x="204" y="781"/>
                        </a:lnTo>
                        <a:lnTo>
                          <a:pt x="218" y="779"/>
                        </a:lnTo>
                        <a:lnTo>
                          <a:pt x="226" y="778"/>
                        </a:lnTo>
                        <a:lnTo>
                          <a:pt x="236" y="776"/>
                        </a:lnTo>
                        <a:lnTo>
                          <a:pt x="246" y="776"/>
                        </a:lnTo>
                        <a:lnTo>
                          <a:pt x="256" y="784"/>
                        </a:lnTo>
                        <a:lnTo>
                          <a:pt x="261" y="786"/>
                        </a:lnTo>
                        <a:lnTo>
                          <a:pt x="264" y="781"/>
                        </a:lnTo>
                        <a:lnTo>
                          <a:pt x="273" y="781"/>
                        </a:lnTo>
                        <a:lnTo>
                          <a:pt x="276" y="786"/>
                        </a:lnTo>
                        <a:lnTo>
                          <a:pt x="281" y="791"/>
                        </a:lnTo>
                        <a:lnTo>
                          <a:pt x="284" y="779"/>
                        </a:lnTo>
                        <a:lnTo>
                          <a:pt x="293" y="786"/>
                        </a:lnTo>
                        <a:lnTo>
                          <a:pt x="299" y="781"/>
                        </a:lnTo>
                        <a:lnTo>
                          <a:pt x="307" y="778"/>
                        </a:lnTo>
                        <a:lnTo>
                          <a:pt x="319" y="786"/>
                        </a:lnTo>
                        <a:lnTo>
                          <a:pt x="327" y="791"/>
                        </a:lnTo>
                        <a:lnTo>
                          <a:pt x="339" y="791"/>
                        </a:lnTo>
                        <a:lnTo>
                          <a:pt x="342" y="793"/>
                        </a:lnTo>
                        <a:lnTo>
                          <a:pt x="336" y="798"/>
                        </a:lnTo>
                        <a:lnTo>
                          <a:pt x="347" y="801"/>
                        </a:lnTo>
                        <a:lnTo>
                          <a:pt x="357" y="808"/>
                        </a:lnTo>
                        <a:lnTo>
                          <a:pt x="357" y="818"/>
                        </a:lnTo>
                        <a:lnTo>
                          <a:pt x="362" y="821"/>
                        </a:lnTo>
                        <a:lnTo>
                          <a:pt x="366" y="818"/>
                        </a:lnTo>
                        <a:lnTo>
                          <a:pt x="367" y="811"/>
                        </a:lnTo>
                        <a:lnTo>
                          <a:pt x="381" y="814"/>
                        </a:lnTo>
                        <a:lnTo>
                          <a:pt x="386" y="816"/>
                        </a:lnTo>
                        <a:lnTo>
                          <a:pt x="387" y="821"/>
                        </a:lnTo>
                        <a:lnTo>
                          <a:pt x="396" y="829"/>
                        </a:lnTo>
                        <a:lnTo>
                          <a:pt x="416" y="829"/>
                        </a:lnTo>
                        <a:lnTo>
                          <a:pt x="420" y="836"/>
                        </a:lnTo>
                        <a:lnTo>
                          <a:pt x="424" y="831"/>
                        </a:lnTo>
                        <a:lnTo>
                          <a:pt x="422" y="823"/>
                        </a:lnTo>
                        <a:lnTo>
                          <a:pt x="429" y="813"/>
                        </a:lnTo>
                        <a:lnTo>
                          <a:pt x="442" y="813"/>
                        </a:lnTo>
                        <a:lnTo>
                          <a:pt x="447" y="816"/>
                        </a:lnTo>
                        <a:lnTo>
                          <a:pt x="442" y="824"/>
                        </a:lnTo>
                        <a:lnTo>
                          <a:pt x="442" y="829"/>
                        </a:lnTo>
                        <a:lnTo>
                          <a:pt x="454" y="831"/>
                        </a:lnTo>
                        <a:lnTo>
                          <a:pt x="459" y="833"/>
                        </a:lnTo>
                        <a:lnTo>
                          <a:pt x="455" y="838"/>
                        </a:lnTo>
                        <a:lnTo>
                          <a:pt x="447" y="841"/>
                        </a:lnTo>
                        <a:lnTo>
                          <a:pt x="440" y="858"/>
                        </a:lnTo>
                        <a:lnTo>
                          <a:pt x="442" y="863"/>
                        </a:lnTo>
                        <a:lnTo>
                          <a:pt x="454" y="873"/>
                        </a:lnTo>
                        <a:lnTo>
                          <a:pt x="457" y="881"/>
                        </a:lnTo>
                        <a:lnTo>
                          <a:pt x="464" y="884"/>
                        </a:lnTo>
                        <a:lnTo>
                          <a:pt x="472" y="879"/>
                        </a:lnTo>
                        <a:lnTo>
                          <a:pt x="472" y="874"/>
                        </a:lnTo>
                        <a:lnTo>
                          <a:pt x="475" y="869"/>
                        </a:lnTo>
                        <a:lnTo>
                          <a:pt x="477" y="874"/>
                        </a:lnTo>
                        <a:lnTo>
                          <a:pt x="484" y="883"/>
                        </a:lnTo>
                        <a:lnTo>
                          <a:pt x="480" y="891"/>
                        </a:lnTo>
                        <a:lnTo>
                          <a:pt x="482" y="896"/>
                        </a:lnTo>
                        <a:lnTo>
                          <a:pt x="474" y="906"/>
                        </a:lnTo>
                        <a:lnTo>
                          <a:pt x="472" y="917"/>
                        </a:lnTo>
                        <a:lnTo>
                          <a:pt x="479" y="919"/>
                        </a:lnTo>
                        <a:lnTo>
                          <a:pt x="482" y="926"/>
                        </a:lnTo>
                        <a:lnTo>
                          <a:pt x="487" y="929"/>
                        </a:lnTo>
                        <a:lnTo>
                          <a:pt x="494" y="931"/>
                        </a:lnTo>
                        <a:lnTo>
                          <a:pt x="492" y="936"/>
                        </a:lnTo>
                        <a:lnTo>
                          <a:pt x="489" y="941"/>
                        </a:lnTo>
                        <a:lnTo>
                          <a:pt x="494" y="947"/>
                        </a:lnTo>
                        <a:lnTo>
                          <a:pt x="499" y="942"/>
                        </a:lnTo>
                        <a:lnTo>
                          <a:pt x="504" y="939"/>
                        </a:lnTo>
                        <a:lnTo>
                          <a:pt x="510" y="942"/>
                        </a:lnTo>
                        <a:lnTo>
                          <a:pt x="512" y="947"/>
                        </a:lnTo>
                        <a:lnTo>
                          <a:pt x="507" y="962"/>
                        </a:lnTo>
                        <a:lnTo>
                          <a:pt x="514" y="972"/>
                        </a:lnTo>
                        <a:lnTo>
                          <a:pt x="525" y="974"/>
                        </a:lnTo>
                        <a:lnTo>
                          <a:pt x="530" y="969"/>
                        </a:lnTo>
                        <a:lnTo>
                          <a:pt x="535" y="974"/>
                        </a:lnTo>
                        <a:lnTo>
                          <a:pt x="538" y="984"/>
                        </a:lnTo>
                        <a:lnTo>
                          <a:pt x="553" y="984"/>
                        </a:lnTo>
                        <a:lnTo>
                          <a:pt x="563" y="992"/>
                        </a:lnTo>
                        <a:lnTo>
                          <a:pt x="570" y="995"/>
                        </a:lnTo>
                        <a:lnTo>
                          <a:pt x="568" y="1007"/>
                        </a:lnTo>
                        <a:lnTo>
                          <a:pt x="570" y="1014"/>
                        </a:lnTo>
                        <a:lnTo>
                          <a:pt x="578" y="1012"/>
                        </a:lnTo>
                        <a:lnTo>
                          <a:pt x="585" y="1009"/>
                        </a:lnTo>
                        <a:lnTo>
                          <a:pt x="592" y="1012"/>
                        </a:lnTo>
                        <a:lnTo>
                          <a:pt x="592" y="1022"/>
                        </a:lnTo>
                        <a:lnTo>
                          <a:pt x="595" y="1032"/>
                        </a:lnTo>
                        <a:lnTo>
                          <a:pt x="602" y="1022"/>
                        </a:lnTo>
                        <a:lnTo>
                          <a:pt x="608" y="1025"/>
                        </a:lnTo>
                        <a:lnTo>
                          <a:pt x="622" y="1024"/>
                        </a:lnTo>
                        <a:lnTo>
                          <a:pt x="630" y="1019"/>
                        </a:lnTo>
                        <a:lnTo>
                          <a:pt x="637" y="1014"/>
                        </a:lnTo>
                        <a:lnTo>
                          <a:pt x="643" y="1010"/>
                        </a:lnTo>
                        <a:lnTo>
                          <a:pt x="650" y="1014"/>
                        </a:lnTo>
                        <a:lnTo>
                          <a:pt x="651" y="1009"/>
                        </a:lnTo>
                        <a:lnTo>
                          <a:pt x="647" y="1000"/>
                        </a:lnTo>
                        <a:lnTo>
                          <a:pt x="633" y="1000"/>
                        </a:lnTo>
                        <a:lnTo>
                          <a:pt x="627" y="995"/>
                        </a:lnTo>
                        <a:lnTo>
                          <a:pt x="625" y="991"/>
                        </a:lnTo>
                        <a:lnTo>
                          <a:pt x="630" y="986"/>
                        </a:lnTo>
                        <a:lnTo>
                          <a:pt x="630" y="976"/>
                        </a:lnTo>
                        <a:lnTo>
                          <a:pt x="643" y="967"/>
                        </a:lnTo>
                        <a:lnTo>
                          <a:pt x="651" y="969"/>
                        </a:lnTo>
                        <a:lnTo>
                          <a:pt x="653" y="962"/>
                        </a:lnTo>
                        <a:lnTo>
                          <a:pt x="666" y="961"/>
                        </a:lnTo>
                        <a:lnTo>
                          <a:pt x="675" y="951"/>
                        </a:lnTo>
                        <a:lnTo>
                          <a:pt x="680" y="949"/>
                        </a:lnTo>
                        <a:lnTo>
                          <a:pt x="675" y="944"/>
                        </a:lnTo>
                        <a:lnTo>
                          <a:pt x="680" y="932"/>
                        </a:lnTo>
                        <a:lnTo>
                          <a:pt x="676" y="924"/>
                        </a:lnTo>
                        <a:lnTo>
                          <a:pt x="676" y="912"/>
                        </a:lnTo>
                        <a:lnTo>
                          <a:pt x="680" y="902"/>
                        </a:lnTo>
                        <a:lnTo>
                          <a:pt x="688" y="894"/>
                        </a:lnTo>
                        <a:lnTo>
                          <a:pt x="688" y="889"/>
                        </a:lnTo>
                        <a:lnTo>
                          <a:pt x="683" y="887"/>
                        </a:lnTo>
                        <a:lnTo>
                          <a:pt x="675" y="876"/>
                        </a:lnTo>
                        <a:lnTo>
                          <a:pt x="680" y="868"/>
                        </a:lnTo>
                        <a:lnTo>
                          <a:pt x="680" y="861"/>
                        </a:lnTo>
                        <a:lnTo>
                          <a:pt x="656" y="861"/>
                        </a:lnTo>
                        <a:lnTo>
                          <a:pt x="661" y="846"/>
                        </a:lnTo>
                        <a:lnTo>
                          <a:pt x="673" y="834"/>
                        </a:lnTo>
                        <a:lnTo>
                          <a:pt x="658" y="824"/>
                        </a:lnTo>
                        <a:lnTo>
                          <a:pt x="656" y="819"/>
                        </a:lnTo>
                        <a:lnTo>
                          <a:pt x="666" y="808"/>
                        </a:lnTo>
                        <a:lnTo>
                          <a:pt x="668" y="798"/>
                        </a:lnTo>
                        <a:lnTo>
                          <a:pt x="666" y="786"/>
                        </a:lnTo>
                        <a:lnTo>
                          <a:pt x="670" y="794"/>
                        </a:lnTo>
                        <a:lnTo>
                          <a:pt x="678" y="806"/>
                        </a:lnTo>
                        <a:lnTo>
                          <a:pt x="685" y="804"/>
                        </a:lnTo>
                        <a:lnTo>
                          <a:pt x="690" y="798"/>
                        </a:lnTo>
                        <a:lnTo>
                          <a:pt x="695" y="788"/>
                        </a:lnTo>
                        <a:lnTo>
                          <a:pt x="690" y="786"/>
                        </a:lnTo>
                        <a:lnTo>
                          <a:pt x="675" y="786"/>
                        </a:lnTo>
                        <a:lnTo>
                          <a:pt x="673" y="776"/>
                        </a:lnTo>
                        <a:lnTo>
                          <a:pt x="670" y="770"/>
                        </a:lnTo>
                        <a:lnTo>
                          <a:pt x="670" y="765"/>
                        </a:lnTo>
                        <a:lnTo>
                          <a:pt x="675" y="756"/>
                        </a:lnTo>
                        <a:lnTo>
                          <a:pt x="676" y="761"/>
                        </a:lnTo>
                        <a:lnTo>
                          <a:pt x="681" y="765"/>
                        </a:lnTo>
                        <a:lnTo>
                          <a:pt x="685" y="770"/>
                        </a:lnTo>
                        <a:lnTo>
                          <a:pt x="691" y="776"/>
                        </a:lnTo>
                        <a:lnTo>
                          <a:pt x="703" y="776"/>
                        </a:lnTo>
                        <a:lnTo>
                          <a:pt x="708" y="771"/>
                        </a:lnTo>
                        <a:lnTo>
                          <a:pt x="711" y="766"/>
                        </a:lnTo>
                        <a:lnTo>
                          <a:pt x="713" y="756"/>
                        </a:lnTo>
                        <a:lnTo>
                          <a:pt x="713" y="748"/>
                        </a:lnTo>
                        <a:lnTo>
                          <a:pt x="731" y="748"/>
                        </a:lnTo>
                        <a:lnTo>
                          <a:pt x="740" y="751"/>
                        </a:lnTo>
                        <a:lnTo>
                          <a:pt x="738" y="761"/>
                        </a:lnTo>
                        <a:lnTo>
                          <a:pt x="740" y="770"/>
                        </a:lnTo>
                        <a:lnTo>
                          <a:pt x="731" y="761"/>
                        </a:lnTo>
                        <a:lnTo>
                          <a:pt x="730" y="771"/>
                        </a:lnTo>
                        <a:lnTo>
                          <a:pt x="736" y="776"/>
                        </a:lnTo>
                        <a:lnTo>
                          <a:pt x="748" y="771"/>
                        </a:lnTo>
                        <a:lnTo>
                          <a:pt x="751" y="778"/>
                        </a:lnTo>
                        <a:lnTo>
                          <a:pt x="745" y="781"/>
                        </a:lnTo>
                        <a:lnTo>
                          <a:pt x="736" y="784"/>
                        </a:lnTo>
                        <a:lnTo>
                          <a:pt x="730" y="778"/>
                        </a:lnTo>
                        <a:lnTo>
                          <a:pt x="726" y="775"/>
                        </a:lnTo>
                        <a:lnTo>
                          <a:pt x="726" y="781"/>
                        </a:lnTo>
                        <a:lnTo>
                          <a:pt x="720" y="788"/>
                        </a:lnTo>
                        <a:lnTo>
                          <a:pt x="720" y="794"/>
                        </a:lnTo>
                        <a:lnTo>
                          <a:pt x="728" y="796"/>
                        </a:lnTo>
                        <a:lnTo>
                          <a:pt x="733" y="796"/>
                        </a:lnTo>
                        <a:lnTo>
                          <a:pt x="746" y="801"/>
                        </a:lnTo>
                        <a:lnTo>
                          <a:pt x="755" y="803"/>
                        </a:lnTo>
                        <a:lnTo>
                          <a:pt x="760" y="798"/>
                        </a:lnTo>
                        <a:lnTo>
                          <a:pt x="773" y="803"/>
                        </a:lnTo>
                        <a:lnTo>
                          <a:pt x="779" y="794"/>
                        </a:lnTo>
                        <a:lnTo>
                          <a:pt x="788" y="789"/>
                        </a:lnTo>
                        <a:lnTo>
                          <a:pt x="799" y="794"/>
                        </a:lnTo>
                        <a:lnTo>
                          <a:pt x="801" y="801"/>
                        </a:lnTo>
                        <a:lnTo>
                          <a:pt x="799" y="811"/>
                        </a:lnTo>
                        <a:lnTo>
                          <a:pt x="813" y="823"/>
                        </a:lnTo>
                        <a:lnTo>
                          <a:pt x="806" y="828"/>
                        </a:lnTo>
                        <a:lnTo>
                          <a:pt x="809" y="838"/>
                        </a:lnTo>
                        <a:lnTo>
                          <a:pt x="804" y="839"/>
                        </a:lnTo>
                        <a:lnTo>
                          <a:pt x="798" y="833"/>
                        </a:lnTo>
                        <a:lnTo>
                          <a:pt x="789" y="838"/>
                        </a:lnTo>
                        <a:lnTo>
                          <a:pt x="784" y="844"/>
                        </a:lnTo>
                        <a:lnTo>
                          <a:pt x="786" y="851"/>
                        </a:lnTo>
                        <a:lnTo>
                          <a:pt x="791" y="856"/>
                        </a:lnTo>
                        <a:lnTo>
                          <a:pt x="798" y="866"/>
                        </a:lnTo>
                        <a:lnTo>
                          <a:pt x="786" y="873"/>
                        </a:lnTo>
                        <a:lnTo>
                          <a:pt x="786" y="883"/>
                        </a:lnTo>
                        <a:lnTo>
                          <a:pt x="801" y="889"/>
                        </a:lnTo>
                        <a:lnTo>
                          <a:pt x="788" y="896"/>
                        </a:lnTo>
                        <a:lnTo>
                          <a:pt x="779" y="902"/>
                        </a:lnTo>
                        <a:lnTo>
                          <a:pt x="771" y="901"/>
                        </a:lnTo>
                        <a:lnTo>
                          <a:pt x="763" y="894"/>
                        </a:lnTo>
                        <a:lnTo>
                          <a:pt x="753" y="902"/>
                        </a:lnTo>
                        <a:lnTo>
                          <a:pt x="750" y="911"/>
                        </a:lnTo>
                        <a:lnTo>
                          <a:pt x="751" y="917"/>
                        </a:lnTo>
                        <a:lnTo>
                          <a:pt x="760" y="917"/>
                        </a:lnTo>
                        <a:lnTo>
                          <a:pt x="763" y="924"/>
                        </a:lnTo>
                        <a:lnTo>
                          <a:pt x="764" y="931"/>
                        </a:lnTo>
                        <a:lnTo>
                          <a:pt x="776" y="931"/>
                        </a:lnTo>
                        <a:lnTo>
                          <a:pt x="783" y="929"/>
                        </a:lnTo>
                        <a:lnTo>
                          <a:pt x="783" y="921"/>
                        </a:lnTo>
                        <a:lnTo>
                          <a:pt x="788" y="917"/>
                        </a:lnTo>
                        <a:lnTo>
                          <a:pt x="791" y="922"/>
                        </a:lnTo>
                        <a:lnTo>
                          <a:pt x="799" y="917"/>
                        </a:lnTo>
                        <a:lnTo>
                          <a:pt x="813" y="917"/>
                        </a:lnTo>
                        <a:lnTo>
                          <a:pt x="819" y="907"/>
                        </a:lnTo>
                        <a:lnTo>
                          <a:pt x="813" y="904"/>
                        </a:lnTo>
                        <a:lnTo>
                          <a:pt x="819" y="894"/>
                        </a:lnTo>
                        <a:lnTo>
                          <a:pt x="831" y="889"/>
                        </a:lnTo>
                        <a:lnTo>
                          <a:pt x="838" y="886"/>
                        </a:lnTo>
                        <a:lnTo>
                          <a:pt x="838" y="876"/>
                        </a:lnTo>
                        <a:lnTo>
                          <a:pt x="838" y="866"/>
                        </a:lnTo>
                        <a:lnTo>
                          <a:pt x="838" y="861"/>
                        </a:lnTo>
                        <a:lnTo>
                          <a:pt x="843" y="854"/>
                        </a:lnTo>
                        <a:lnTo>
                          <a:pt x="848" y="859"/>
                        </a:lnTo>
                        <a:lnTo>
                          <a:pt x="846" y="868"/>
                        </a:lnTo>
                        <a:lnTo>
                          <a:pt x="846" y="873"/>
                        </a:lnTo>
                        <a:lnTo>
                          <a:pt x="856" y="869"/>
                        </a:lnTo>
                        <a:lnTo>
                          <a:pt x="863" y="868"/>
                        </a:lnTo>
                        <a:lnTo>
                          <a:pt x="873" y="874"/>
                        </a:lnTo>
                        <a:lnTo>
                          <a:pt x="881" y="873"/>
                        </a:lnTo>
                        <a:lnTo>
                          <a:pt x="891" y="881"/>
                        </a:lnTo>
                        <a:lnTo>
                          <a:pt x="894" y="876"/>
                        </a:lnTo>
                        <a:lnTo>
                          <a:pt x="894" y="871"/>
                        </a:lnTo>
                        <a:lnTo>
                          <a:pt x="899" y="866"/>
                        </a:lnTo>
                        <a:lnTo>
                          <a:pt x="907" y="863"/>
                        </a:lnTo>
                        <a:lnTo>
                          <a:pt x="909" y="871"/>
                        </a:lnTo>
                        <a:lnTo>
                          <a:pt x="904" y="876"/>
                        </a:lnTo>
                        <a:lnTo>
                          <a:pt x="907" y="881"/>
                        </a:lnTo>
                        <a:lnTo>
                          <a:pt x="916" y="883"/>
                        </a:lnTo>
                        <a:lnTo>
                          <a:pt x="924" y="886"/>
                        </a:lnTo>
                        <a:lnTo>
                          <a:pt x="936" y="886"/>
                        </a:lnTo>
                        <a:lnTo>
                          <a:pt x="942" y="878"/>
                        </a:lnTo>
                        <a:lnTo>
                          <a:pt x="942" y="873"/>
                        </a:lnTo>
                        <a:lnTo>
                          <a:pt x="934" y="869"/>
                        </a:lnTo>
                        <a:lnTo>
                          <a:pt x="931" y="864"/>
                        </a:lnTo>
                        <a:lnTo>
                          <a:pt x="929" y="854"/>
                        </a:lnTo>
                        <a:lnTo>
                          <a:pt x="931" y="848"/>
                        </a:lnTo>
                        <a:lnTo>
                          <a:pt x="929" y="838"/>
                        </a:lnTo>
                        <a:lnTo>
                          <a:pt x="927" y="829"/>
                        </a:lnTo>
                        <a:lnTo>
                          <a:pt x="931" y="824"/>
                        </a:lnTo>
                        <a:lnTo>
                          <a:pt x="942" y="833"/>
                        </a:lnTo>
                        <a:lnTo>
                          <a:pt x="944" y="839"/>
                        </a:lnTo>
                        <a:lnTo>
                          <a:pt x="952" y="836"/>
                        </a:lnTo>
                        <a:lnTo>
                          <a:pt x="959" y="831"/>
                        </a:lnTo>
                        <a:lnTo>
                          <a:pt x="962" y="824"/>
                        </a:lnTo>
                        <a:lnTo>
                          <a:pt x="961" y="816"/>
                        </a:lnTo>
                        <a:lnTo>
                          <a:pt x="954" y="809"/>
                        </a:lnTo>
                        <a:lnTo>
                          <a:pt x="956" y="804"/>
                        </a:lnTo>
                        <a:lnTo>
                          <a:pt x="956" y="796"/>
                        </a:lnTo>
                        <a:lnTo>
                          <a:pt x="949" y="793"/>
                        </a:lnTo>
                        <a:lnTo>
                          <a:pt x="941" y="798"/>
                        </a:lnTo>
                        <a:lnTo>
                          <a:pt x="934" y="796"/>
                        </a:lnTo>
                        <a:lnTo>
                          <a:pt x="926" y="791"/>
                        </a:lnTo>
                        <a:lnTo>
                          <a:pt x="926" y="784"/>
                        </a:lnTo>
                        <a:lnTo>
                          <a:pt x="936" y="784"/>
                        </a:lnTo>
                        <a:lnTo>
                          <a:pt x="942" y="784"/>
                        </a:lnTo>
                        <a:lnTo>
                          <a:pt x="937" y="773"/>
                        </a:lnTo>
                        <a:lnTo>
                          <a:pt x="934" y="768"/>
                        </a:lnTo>
                        <a:lnTo>
                          <a:pt x="931" y="765"/>
                        </a:lnTo>
                        <a:lnTo>
                          <a:pt x="934" y="760"/>
                        </a:lnTo>
                        <a:lnTo>
                          <a:pt x="941" y="753"/>
                        </a:lnTo>
                        <a:lnTo>
                          <a:pt x="949" y="751"/>
                        </a:lnTo>
                        <a:lnTo>
                          <a:pt x="959" y="751"/>
                        </a:lnTo>
                        <a:lnTo>
                          <a:pt x="967" y="751"/>
                        </a:lnTo>
                        <a:lnTo>
                          <a:pt x="977" y="746"/>
                        </a:lnTo>
                        <a:lnTo>
                          <a:pt x="982" y="745"/>
                        </a:lnTo>
                        <a:lnTo>
                          <a:pt x="992" y="748"/>
                        </a:lnTo>
                        <a:lnTo>
                          <a:pt x="999" y="748"/>
                        </a:lnTo>
                        <a:lnTo>
                          <a:pt x="1002" y="741"/>
                        </a:lnTo>
                        <a:lnTo>
                          <a:pt x="1007" y="736"/>
                        </a:lnTo>
                        <a:lnTo>
                          <a:pt x="1007" y="731"/>
                        </a:lnTo>
                        <a:lnTo>
                          <a:pt x="1000" y="726"/>
                        </a:lnTo>
                        <a:lnTo>
                          <a:pt x="1002" y="713"/>
                        </a:lnTo>
                        <a:lnTo>
                          <a:pt x="1000" y="700"/>
                        </a:lnTo>
                        <a:lnTo>
                          <a:pt x="994" y="698"/>
                        </a:lnTo>
                        <a:lnTo>
                          <a:pt x="987" y="700"/>
                        </a:lnTo>
                        <a:lnTo>
                          <a:pt x="982" y="708"/>
                        </a:lnTo>
                        <a:lnTo>
                          <a:pt x="981" y="718"/>
                        </a:lnTo>
                        <a:lnTo>
                          <a:pt x="969" y="711"/>
                        </a:lnTo>
                        <a:lnTo>
                          <a:pt x="959" y="716"/>
                        </a:lnTo>
                        <a:lnTo>
                          <a:pt x="942" y="716"/>
                        </a:lnTo>
                        <a:lnTo>
                          <a:pt x="931" y="718"/>
                        </a:lnTo>
                        <a:lnTo>
                          <a:pt x="911" y="708"/>
                        </a:lnTo>
                        <a:lnTo>
                          <a:pt x="904" y="708"/>
                        </a:lnTo>
                        <a:lnTo>
                          <a:pt x="897" y="691"/>
                        </a:lnTo>
                        <a:lnTo>
                          <a:pt x="894" y="680"/>
                        </a:lnTo>
                        <a:lnTo>
                          <a:pt x="894" y="671"/>
                        </a:lnTo>
                        <a:lnTo>
                          <a:pt x="889" y="655"/>
                        </a:lnTo>
                        <a:lnTo>
                          <a:pt x="894" y="638"/>
                        </a:lnTo>
                        <a:lnTo>
                          <a:pt x="907" y="630"/>
                        </a:lnTo>
                        <a:lnTo>
                          <a:pt x="924" y="627"/>
                        </a:lnTo>
                        <a:lnTo>
                          <a:pt x="942" y="608"/>
                        </a:lnTo>
                        <a:lnTo>
                          <a:pt x="951" y="600"/>
                        </a:lnTo>
                        <a:lnTo>
                          <a:pt x="999" y="568"/>
                        </a:lnTo>
                        <a:lnTo>
                          <a:pt x="1019" y="562"/>
                        </a:lnTo>
                        <a:lnTo>
                          <a:pt x="1064" y="537"/>
                        </a:lnTo>
                        <a:lnTo>
                          <a:pt x="1087" y="520"/>
                        </a:lnTo>
                        <a:lnTo>
                          <a:pt x="1099" y="522"/>
                        </a:lnTo>
                        <a:lnTo>
                          <a:pt x="1105" y="515"/>
                        </a:lnTo>
                        <a:lnTo>
                          <a:pt x="1105" y="509"/>
                        </a:lnTo>
                        <a:lnTo>
                          <a:pt x="1113" y="505"/>
                        </a:lnTo>
                        <a:lnTo>
                          <a:pt x="1115" y="499"/>
                        </a:lnTo>
                        <a:lnTo>
                          <a:pt x="1123" y="494"/>
                        </a:lnTo>
                        <a:lnTo>
                          <a:pt x="1125" y="485"/>
                        </a:lnTo>
                        <a:lnTo>
                          <a:pt x="1117" y="484"/>
                        </a:lnTo>
                        <a:lnTo>
                          <a:pt x="1100" y="484"/>
                        </a:lnTo>
                        <a:lnTo>
                          <a:pt x="1107" y="489"/>
                        </a:lnTo>
                        <a:lnTo>
                          <a:pt x="1100" y="492"/>
                        </a:lnTo>
                        <a:lnTo>
                          <a:pt x="1099" y="502"/>
                        </a:lnTo>
                        <a:lnTo>
                          <a:pt x="1090" y="499"/>
                        </a:lnTo>
                        <a:lnTo>
                          <a:pt x="1092" y="489"/>
                        </a:lnTo>
                        <a:lnTo>
                          <a:pt x="1077" y="495"/>
                        </a:lnTo>
                        <a:lnTo>
                          <a:pt x="1059" y="485"/>
                        </a:lnTo>
                        <a:lnTo>
                          <a:pt x="1050" y="495"/>
                        </a:lnTo>
                        <a:lnTo>
                          <a:pt x="1035" y="500"/>
                        </a:lnTo>
                        <a:lnTo>
                          <a:pt x="1024" y="500"/>
                        </a:lnTo>
                        <a:lnTo>
                          <a:pt x="1025" y="510"/>
                        </a:lnTo>
                        <a:lnTo>
                          <a:pt x="1019" y="509"/>
                        </a:lnTo>
                        <a:lnTo>
                          <a:pt x="1017" y="504"/>
                        </a:lnTo>
                        <a:lnTo>
                          <a:pt x="1022" y="489"/>
                        </a:lnTo>
                        <a:lnTo>
                          <a:pt x="1045" y="484"/>
                        </a:lnTo>
                        <a:lnTo>
                          <a:pt x="1057" y="482"/>
                        </a:lnTo>
                        <a:lnTo>
                          <a:pt x="1057" y="474"/>
                        </a:lnTo>
                        <a:lnTo>
                          <a:pt x="1054" y="470"/>
                        </a:lnTo>
                        <a:lnTo>
                          <a:pt x="1047" y="470"/>
                        </a:lnTo>
                        <a:lnTo>
                          <a:pt x="1044" y="475"/>
                        </a:lnTo>
                        <a:lnTo>
                          <a:pt x="1030" y="469"/>
                        </a:lnTo>
                        <a:lnTo>
                          <a:pt x="1027" y="457"/>
                        </a:lnTo>
                        <a:lnTo>
                          <a:pt x="1039" y="460"/>
                        </a:lnTo>
                        <a:lnTo>
                          <a:pt x="1049" y="447"/>
                        </a:lnTo>
                        <a:lnTo>
                          <a:pt x="1037" y="441"/>
                        </a:lnTo>
                        <a:lnTo>
                          <a:pt x="1044" y="429"/>
                        </a:lnTo>
                        <a:lnTo>
                          <a:pt x="1035" y="429"/>
                        </a:lnTo>
                        <a:lnTo>
                          <a:pt x="1024" y="419"/>
                        </a:lnTo>
                        <a:lnTo>
                          <a:pt x="1004" y="391"/>
                        </a:lnTo>
                        <a:lnTo>
                          <a:pt x="1007" y="376"/>
                        </a:lnTo>
                        <a:lnTo>
                          <a:pt x="1000" y="356"/>
                        </a:lnTo>
                        <a:lnTo>
                          <a:pt x="989" y="359"/>
                        </a:lnTo>
                        <a:lnTo>
                          <a:pt x="984" y="357"/>
                        </a:lnTo>
                        <a:lnTo>
                          <a:pt x="977" y="359"/>
                        </a:lnTo>
                        <a:lnTo>
                          <a:pt x="969" y="354"/>
                        </a:lnTo>
                        <a:lnTo>
                          <a:pt x="961" y="359"/>
                        </a:lnTo>
                        <a:lnTo>
                          <a:pt x="969" y="369"/>
                        </a:lnTo>
                        <a:lnTo>
                          <a:pt x="961" y="367"/>
                        </a:lnTo>
                        <a:lnTo>
                          <a:pt x="951" y="379"/>
                        </a:lnTo>
                        <a:lnTo>
                          <a:pt x="944" y="376"/>
                        </a:lnTo>
                        <a:lnTo>
                          <a:pt x="949" y="369"/>
                        </a:lnTo>
                        <a:lnTo>
                          <a:pt x="951" y="361"/>
                        </a:lnTo>
                        <a:lnTo>
                          <a:pt x="956" y="347"/>
                        </a:lnTo>
                        <a:lnTo>
                          <a:pt x="951" y="319"/>
                        </a:lnTo>
                        <a:lnTo>
                          <a:pt x="957" y="313"/>
                        </a:lnTo>
                        <a:lnTo>
                          <a:pt x="949" y="303"/>
                        </a:lnTo>
                        <a:lnTo>
                          <a:pt x="941" y="296"/>
                        </a:lnTo>
                        <a:lnTo>
                          <a:pt x="932" y="306"/>
                        </a:lnTo>
                        <a:lnTo>
                          <a:pt x="916" y="318"/>
                        </a:lnTo>
                        <a:lnTo>
                          <a:pt x="919" y="328"/>
                        </a:lnTo>
                        <a:lnTo>
                          <a:pt x="911" y="328"/>
                        </a:lnTo>
                        <a:lnTo>
                          <a:pt x="907" y="331"/>
                        </a:lnTo>
                        <a:lnTo>
                          <a:pt x="902" y="324"/>
                        </a:lnTo>
                        <a:lnTo>
                          <a:pt x="892" y="318"/>
                        </a:lnTo>
                        <a:lnTo>
                          <a:pt x="896" y="308"/>
                        </a:lnTo>
                        <a:lnTo>
                          <a:pt x="879" y="301"/>
                        </a:lnTo>
                        <a:lnTo>
                          <a:pt x="874" y="301"/>
                        </a:lnTo>
                        <a:lnTo>
                          <a:pt x="876" y="309"/>
                        </a:lnTo>
                        <a:lnTo>
                          <a:pt x="871" y="314"/>
                        </a:lnTo>
                        <a:lnTo>
                          <a:pt x="879" y="318"/>
                        </a:lnTo>
                        <a:lnTo>
                          <a:pt x="879" y="324"/>
                        </a:lnTo>
                        <a:lnTo>
                          <a:pt x="866" y="319"/>
                        </a:lnTo>
                        <a:lnTo>
                          <a:pt x="853" y="318"/>
                        </a:lnTo>
                        <a:lnTo>
                          <a:pt x="856" y="334"/>
                        </a:lnTo>
                        <a:lnTo>
                          <a:pt x="856" y="339"/>
                        </a:lnTo>
                        <a:lnTo>
                          <a:pt x="858" y="347"/>
                        </a:lnTo>
                        <a:lnTo>
                          <a:pt x="858" y="354"/>
                        </a:lnTo>
                        <a:lnTo>
                          <a:pt x="851" y="346"/>
                        </a:lnTo>
                        <a:lnTo>
                          <a:pt x="846" y="349"/>
                        </a:lnTo>
                        <a:lnTo>
                          <a:pt x="836" y="346"/>
                        </a:lnTo>
                        <a:lnTo>
                          <a:pt x="829" y="338"/>
                        </a:lnTo>
                        <a:lnTo>
                          <a:pt x="836" y="329"/>
                        </a:lnTo>
                        <a:lnTo>
                          <a:pt x="836" y="323"/>
                        </a:lnTo>
                        <a:lnTo>
                          <a:pt x="838" y="316"/>
                        </a:lnTo>
                        <a:lnTo>
                          <a:pt x="834" y="313"/>
                        </a:lnTo>
                        <a:lnTo>
                          <a:pt x="839" y="303"/>
                        </a:lnTo>
                        <a:lnTo>
                          <a:pt x="844" y="303"/>
                        </a:lnTo>
                        <a:lnTo>
                          <a:pt x="839" y="289"/>
                        </a:lnTo>
                        <a:lnTo>
                          <a:pt x="831" y="274"/>
                        </a:lnTo>
                        <a:lnTo>
                          <a:pt x="808" y="263"/>
                        </a:lnTo>
                        <a:lnTo>
                          <a:pt x="791" y="243"/>
                        </a:lnTo>
                        <a:lnTo>
                          <a:pt x="791" y="233"/>
                        </a:lnTo>
                        <a:lnTo>
                          <a:pt x="779" y="231"/>
                        </a:lnTo>
                        <a:lnTo>
                          <a:pt x="781" y="203"/>
                        </a:lnTo>
                        <a:lnTo>
                          <a:pt x="774" y="191"/>
                        </a:lnTo>
                        <a:lnTo>
                          <a:pt x="783" y="185"/>
                        </a:lnTo>
                        <a:lnTo>
                          <a:pt x="783" y="176"/>
                        </a:lnTo>
                        <a:lnTo>
                          <a:pt x="771" y="176"/>
                        </a:lnTo>
                        <a:lnTo>
                          <a:pt x="769" y="171"/>
                        </a:lnTo>
                        <a:lnTo>
                          <a:pt x="764" y="168"/>
                        </a:lnTo>
                        <a:lnTo>
                          <a:pt x="764" y="155"/>
                        </a:lnTo>
                        <a:lnTo>
                          <a:pt x="769" y="148"/>
                        </a:lnTo>
                        <a:lnTo>
                          <a:pt x="768" y="136"/>
                        </a:lnTo>
                        <a:lnTo>
                          <a:pt x="760" y="141"/>
                        </a:lnTo>
                        <a:lnTo>
                          <a:pt x="758" y="135"/>
                        </a:lnTo>
                        <a:lnTo>
                          <a:pt x="750" y="141"/>
                        </a:lnTo>
                        <a:lnTo>
                          <a:pt x="743" y="141"/>
                        </a:lnTo>
                        <a:lnTo>
                          <a:pt x="740" y="136"/>
                        </a:lnTo>
                        <a:lnTo>
                          <a:pt x="736" y="143"/>
                        </a:lnTo>
                        <a:lnTo>
                          <a:pt x="725" y="141"/>
                        </a:lnTo>
                        <a:lnTo>
                          <a:pt x="720" y="133"/>
                        </a:lnTo>
                        <a:lnTo>
                          <a:pt x="708" y="131"/>
                        </a:lnTo>
                        <a:lnTo>
                          <a:pt x="710" y="125"/>
                        </a:lnTo>
                        <a:lnTo>
                          <a:pt x="695" y="118"/>
                        </a:lnTo>
                        <a:lnTo>
                          <a:pt x="688" y="127"/>
                        </a:lnTo>
                        <a:lnTo>
                          <a:pt x="673" y="125"/>
                        </a:lnTo>
                        <a:lnTo>
                          <a:pt x="668" y="133"/>
                        </a:lnTo>
                        <a:lnTo>
                          <a:pt x="663" y="131"/>
                        </a:lnTo>
                        <a:lnTo>
                          <a:pt x="663" y="122"/>
                        </a:lnTo>
                        <a:lnTo>
                          <a:pt x="658" y="110"/>
                        </a:lnTo>
                        <a:lnTo>
                          <a:pt x="665" y="107"/>
                        </a:lnTo>
                        <a:lnTo>
                          <a:pt x="668" y="100"/>
                        </a:lnTo>
                        <a:lnTo>
                          <a:pt x="665" y="82"/>
                        </a:lnTo>
                        <a:lnTo>
                          <a:pt x="670" y="67"/>
                        </a:lnTo>
                        <a:lnTo>
                          <a:pt x="655" y="72"/>
                        </a:lnTo>
                        <a:lnTo>
                          <a:pt x="655" y="65"/>
                        </a:lnTo>
                        <a:lnTo>
                          <a:pt x="651" y="60"/>
                        </a:lnTo>
                        <a:lnTo>
                          <a:pt x="656" y="52"/>
                        </a:lnTo>
                        <a:lnTo>
                          <a:pt x="661" y="53"/>
                        </a:lnTo>
                        <a:lnTo>
                          <a:pt x="663" y="42"/>
                        </a:lnTo>
                        <a:lnTo>
                          <a:pt x="655" y="35"/>
                        </a:lnTo>
                        <a:lnTo>
                          <a:pt x="610" y="33"/>
                        </a:lnTo>
                        <a:lnTo>
                          <a:pt x="588" y="30"/>
                        </a:lnTo>
                        <a:lnTo>
                          <a:pt x="582" y="20"/>
                        </a:lnTo>
                        <a:lnTo>
                          <a:pt x="593" y="12"/>
                        </a:lnTo>
                        <a:lnTo>
                          <a:pt x="593" y="0"/>
                        </a:lnTo>
                        <a:lnTo>
                          <a:pt x="578" y="7"/>
                        </a:lnTo>
                        <a:lnTo>
                          <a:pt x="573" y="15"/>
                        </a:lnTo>
                        <a:lnTo>
                          <a:pt x="537" y="25"/>
                        </a:lnTo>
                        <a:lnTo>
                          <a:pt x="522" y="30"/>
                        </a:lnTo>
                        <a:lnTo>
                          <a:pt x="514" y="67"/>
                        </a:lnTo>
                        <a:lnTo>
                          <a:pt x="497" y="105"/>
                        </a:lnTo>
                        <a:lnTo>
                          <a:pt x="474" y="138"/>
                        </a:lnTo>
                        <a:lnTo>
                          <a:pt x="464" y="145"/>
                        </a:lnTo>
                        <a:lnTo>
                          <a:pt x="459" y="158"/>
                        </a:lnTo>
                        <a:lnTo>
                          <a:pt x="444" y="166"/>
                        </a:lnTo>
                        <a:lnTo>
                          <a:pt x="401" y="188"/>
                        </a:lnTo>
                        <a:lnTo>
                          <a:pt x="381" y="203"/>
                        </a:lnTo>
                        <a:lnTo>
                          <a:pt x="369" y="231"/>
                        </a:lnTo>
                        <a:lnTo>
                          <a:pt x="361" y="249"/>
                        </a:lnTo>
                        <a:lnTo>
                          <a:pt x="331" y="274"/>
                        </a:lnTo>
                        <a:lnTo>
                          <a:pt x="321" y="298"/>
                        </a:lnTo>
                        <a:lnTo>
                          <a:pt x="316" y="311"/>
                        </a:lnTo>
                        <a:lnTo>
                          <a:pt x="286" y="318"/>
                        </a:lnTo>
                        <a:lnTo>
                          <a:pt x="238" y="318"/>
                        </a:lnTo>
                        <a:lnTo>
                          <a:pt x="198" y="331"/>
                        </a:lnTo>
                        <a:lnTo>
                          <a:pt x="178" y="336"/>
                        </a:lnTo>
                        <a:lnTo>
                          <a:pt x="170" y="333"/>
                        </a:lnTo>
                        <a:lnTo>
                          <a:pt x="165" y="319"/>
                        </a:lnTo>
                        <a:lnTo>
                          <a:pt x="160" y="301"/>
                        </a:lnTo>
                        <a:lnTo>
                          <a:pt x="153" y="288"/>
                        </a:lnTo>
                        <a:lnTo>
                          <a:pt x="138" y="284"/>
                        </a:lnTo>
                        <a:lnTo>
                          <a:pt x="126" y="284"/>
                        </a:lnTo>
                        <a:lnTo>
                          <a:pt x="111" y="299"/>
                        </a:lnTo>
                        <a:lnTo>
                          <a:pt x="91" y="316"/>
                        </a:lnTo>
                        <a:lnTo>
                          <a:pt x="81" y="339"/>
                        </a:lnTo>
                        <a:lnTo>
                          <a:pt x="65" y="357"/>
                        </a:lnTo>
                        <a:lnTo>
                          <a:pt x="45" y="377"/>
                        </a:lnTo>
                        <a:lnTo>
                          <a:pt x="20" y="394"/>
                        </a:lnTo>
                        <a:lnTo>
                          <a:pt x="5" y="424"/>
                        </a:lnTo>
                        <a:lnTo>
                          <a:pt x="0" y="451"/>
                        </a:lnTo>
                        <a:lnTo>
                          <a:pt x="2" y="460"/>
                        </a:lnTo>
                        <a:lnTo>
                          <a:pt x="18" y="472"/>
                        </a:lnTo>
                        <a:lnTo>
                          <a:pt x="37" y="480"/>
                        </a:lnTo>
                        <a:lnTo>
                          <a:pt x="43" y="489"/>
                        </a:lnTo>
                        <a:lnTo>
                          <a:pt x="62" y="487"/>
                        </a:lnTo>
                        <a:lnTo>
                          <a:pt x="76" y="489"/>
                        </a:lnTo>
                        <a:lnTo>
                          <a:pt x="86" y="497"/>
                        </a:lnTo>
                        <a:lnTo>
                          <a:pt x="86" y="514"/>
                        </a:lnTo>
                        <a:lnTo>
                          <a:pt x="80" y="540"/>
                        </a:lnTo>
                        <a:lnTo>
                          <a:pt x="76" y="555"/>
                        </a:lnTo>
                        <a:lnTo>
                          <a:pt x="68" y="567"/>
                        </a:lnTo>
                        <a:lnTo>
                          <a:pt x="73" y="588"/>
                        </a:lnTo>
                        <a:lnTo>
                          <a:pt x="90" y="612"/>
                        </a:lnTo>
                        <a:lnTo>
                          <a:pt x="98" y="623"/>
                        </a:lnTo>
                        <a:lnTo>
                          <a:pt x="121" y="622"/>
                        </a:lnTo>
                        <a:lnTo>
                          <a:pt x="133" y="617"/>
                        </a:lnTo>
                        <a:lnTo>
                          <a:pt x="140" y="625"/>
                        </a:lnTo>
                        <a:lnTo>
                          <a:pt x="141" y="645"/>
                        </a:lnTo>
                        <a:lnTo>
                          <a:pt x="141" y="663"/>
                        </a:lnTo>
                        <a:lnTo>
                          <a:pt x="146" y="676"/>
                        </a:lnTo>
                        <a:lnTo>
                          <a:pt x="166" y="706"/>
                        </a:lnTo>
                        <a:lnTo>
                          <a:pt x="168" y="725"/>
                        </a:lnTo>
                        <a:lnTo>
                          <a:pt x="175" y="745"/>
                        </a:lnTo>
                        <a:lnTo>
                          <a:pt x="185" y="760"/>
                        </a:lnTo>
                        <a:lnTo>
                          <a:pt x="188" y="776"/>
                        </a:lnTo>
                        <a:lnTo>
                          <a:pt x="193" y="776"/>
                        </a:lnTo>
                        <a:lnTo>
                          <a:pt x="193" y="776"/>
                        </a:lnTo>
                        <a:lnTo>
                          <a:pt x="193" y="776"/>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29" name="Freeform 1116">
                    <a:extLst>
                      <a:ext uri="{FF2B5EF4-FFF2-40B4-BE49-F238E27FC236}">
                        <a16:creationId xmlns:a16="http://schemas.microsoft.com/office/drawing/2014/main" id="{B9E3A4D5-8BC9-4961-91F0-9BAA28031BEA}"/>
                      </a:ext>
                    </a:extLst>
                  </p:cNvPr>
                  <p:cNvSpPr>
                    <a:spLocks/>
                  </p:cNvSpPr>
                  <p:nvPr/>
                </p:nvSpPr>
                <p:spPr bwMode="auto">
                  <a:xfrm>
                    <a:off x="2223983" y="3423676"/>
                    <a:ext cx="1031666" cy="831306"/>
                  </a:xfrm>
                  <a:custGeom>
                    <a:avLst/>
                    <a:gdLst>
                      <a:gd name="T0" fmla="*/ 786 w 829"/>
                      <a:gd name="T1" fmla="*/ 473 h 668"/>
                      <a:gd name="T2" fmla="*/ 736 w 829"/>
                      <a:gd name="T3" fmla="*/ 452 h 668"/>
                      <a:gd name="T4" fmla="*/ 771 w 829"/>
                      <a:gd name="T5" fmla="*/ 407 h 668"/>
                      <a:gd name="T6" fmla="*/ 793 w 829"/>
                      <a:gd name="T7" fmla="*/ 350 h 668"/>
                      <a:gd name="T8" fmla="*/ 781 w 829"/>
                      <a:gd name="T9" fmla="*/ 327 h 668"/>
                      <a:gd name="T10" fmla="*/ 806 w 829"/>
                      <a:gd name="T11" fmla="*/ 257 h 668"/>
                      <a:gd name="T12" fmla="*/ 768 w 829"/>
                      <a:gd name="T13" fmla="*/ 209 h 668"/>
                      <a:gd name="T14" fmla="*/ 706 w 829"/>
                      <a:gd name="T15" fmla="*/ 173 h 668"/>
                      <a:gd name="T16" fmla="*/ 693 w 829"/>
                      <a:gd name="T17" fmla="*/ 116 h 668"/>
                      <a:gd name="T18" fmla="*/ 653 w 829"/>
                      <a:gd name="T19" fmla="*/ 90 h 668"/>
                      <a:gd name="T20" fmla="*/ 641 w 829"/>
                      <a:gd name="T21" fmla="*/ 38 h 668"/>
                      <a:gd name="T22" fmla="*/ 580 w 829"/>
                      <a:gd name="T23" fmla="*/ 43 h 668"/>
                      <a:gd name="T24" fmla="*/ 530 w 829"/>
                      <a:gd name="T25" fmla="*/ 11 h 668"/>
                      <a:gd name="T26" fmla="*/ 455 w 829"/>
                      <a:gd name="T27" fmla="*/ 2 h 668"/>
                      <a:gd name="T28" fmla="*/ 389 w 829"/>
                      <a:gd name="T29" fmla="*/ 33 h 668"/>
                      <a:gd name="T30" fmla="*/ 344 w 829"/>
                      <a:gd name="T31" fmla="*/ 61 h 668"/>
                      <a:gd name="T32" fmla="*/ 263 w 829"/>
                      <a:gd name="T33" fmla="*/ 45 h 668"/>
                      <a:gd name="T34" fmla="*/ 160 w 829"/>
                      <a:gd name="T35" fmla="*/ 38 h 668"/>
                      <a:gd name="T36" fmla="*/ 90 w 829"/>
                      <a:gd name="T37" fmla="*/ 30 h 668"/>
                      <a:gd name="T38" fmla="*/ 13 w 829"/>
                      <a:gd name="T39" fmla="*/ 80 h 668"/>
                      <a:gd name="T40" fmla="*/ 22 w 829"/>
                      <a:gd name="T41" fmla="*/ 131 h 668"/>
                      <a:gd name="T42" fmla="*/ 76 w 829"/>
                      <a:gd name="T43" fmla="*/ 100 h 668"/>
                      <a:gd name="T44" fmla="*/ 30 w 829"/>
                      <a:gd name="T45" fmla="*/ 138 h 668"/>
                      <a:gd name="T46" fmla="*/ 45 w 829"/>
                      <a:gd name="T47" fmla="*/ 176 h 668"/>
                      <a:gd name="T48" fmla="*/ 165 w 829"/>
                      <a:gd name="T49" fmla="*/ 257 h 668"/>
                      <a:gd name="T50" fmla="*/ 248 w 829"/>
                      <a:gd name="T51" fmla="*/ 231 h 668"/>
                      <a:gd name="T52" fmla="*/ 314 w 829"/>
                      <a:gd name="T53" fmla="*/ 213 h 668"/>
                      <a:gd name="T54" fmla="*/ 302 w 829"/>
                      <a:gd name="T55" fmla="*/ 239 h 668"/>
                      <a:gd name="T56" fmla="*/ 276 w 829"/>
                      <a:gd name="T57" fmla="*/ 259 h 668"/>
                      <a:gd name="T58" fmla="*/ 213 w 829"/>
                      <a:gd name="T59" fmla="*/ 311 h 668"/>
                      <a:gd name="T60" fmla="*/ 178 w 829"/>
                      <a:gd name="T61" fmla="*/ 316 h 668"/>
                      <a:gd name="T62" fmla="*/ 146 w 829"/>
                      <a:gd name="T63" fmla="*/ 327 h 668"/>
                      <a:gd name="T64" fmla="*/ 116 w 829"/>
                      <a:gd name="T65" fmla="*/ 306 h 668"/>
                      <a:gd name="T66" fmla="*/ 85 w 829"/>
                      <a:gd name="T67" fmla="*/ 316 h 668"/>
                      <a:gd name="T68" fmla="*/ 248 w 829"/>
                      <a:gd name="T69" fmla="*/ 523 h 668"/>
                      <a:gd name="T70" fmla="*/ 346 w 829"/>
                      <a:gd name="T71" fmla="*/ 561 h 668"/>
                      <a:gd name="T72" fmla="*/ 435 w 829"/>
                      <a:gd name="T73" fmla="*/ 530 h 668"/>
                      <a:gd name="T74" fmla="*/ 518 w 829"/>
                      <a:gd name="T75" fmla="*/ 470 h 668"/>
                      <a:gd name="T76" fmla="*/ 518 w 829"/>
                      <a:gd name="T77" fmla="*/ 425 h 668"/>
                      <a:gd name="T78" fmla="*/ 507 w 829"/>
                      <a:gd name="T79" fmla="*/ 399 h 668"/>
                      <a:gd name="T80" fmla="*/ 537 w 829"/>
                      <a:gd name="T81" fmla="*/ 357 h 668"/>
                      <a:gd name="T82" fmla="*/ 573 w 829"/>
                      <a:gd name="T83" fmla="*/ 355 h 668"/>
                      <a:gd name="T84" fmla="*/ 588 w 829"/>
                      <a:gd name="T85" fmla="*/ 369 h 668"/>
                      <a:gd name="T86" fmla="*/ 593 w 829"/>
                      <a:gd name="T87" fmla="*/ 399 h 668"/>
                      <a:gd name="T88" fmla="*/ 565 w 829"/>
                      <a:gd name="T89" fmla="*/ 443 h 668"/>
                      <a:gd name="T90" fmla="*/ 585 w 829"/>
                      <a:gd name="T91" fmla="*/ 472 h 668"/>
                      <a:gd name="T92" fmla="*/ 570 w 829"/>
                      <a:gd name="T93" fmla="*/ 495 h 668"/>
                      <a:gd name="T94" fmla="*/ 575 w 829"/>
                      <a:gd name="T95" fmla="*/ 517 h 668"/>
                      <a:gd name="T96" fmla="*/ 588 w 829"/>
                      <a:gd name="T97" fmla="*/ 535 h 668"/>
                      <a:gd name="T98" fmla="*/ 607 w 829"/>
                      <a:gd name="T99" fmla="*/ 566 h 668"/>
                      <a:gd name="T100" fmla="*/ 598 w 829"/>
                      <a:gd name="T101" fmla="*/ 636 h 668"/>
                      <a:gd name="T102" fmla="*/ 615 w 829"/>
                      <a:gd name="T103" fmla="*/ 640 h 668"/>
                      <a:gd name="T104" fmla="*/ 648 w 829"/>
                      <a:gd name="T105" fmla="*/ 659 h 668"/>
                      <a:gd name="T106" fmla="*/ 666 w 829"/>
                      <a:gd name="T107" fmla="*/ 598 h 668"/>
                      <a:gd name="T108" fmla="*/ 725 w 829"/>
                      <a:gd name="T109" fmla="*/ 595 h 668"/>
                      <a:gd name="T110" fmla="*/ 706 w 829"/>
                      <a:gd name="T111" fmla="*/ 527 h 668"/>
                      <a:gd name="T112" fmla="*/ 749 w 829"/>
                      <a:gd name="T113" fmla="*/ 48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9" h="668">
                        <a:moveTo>
                          <a:pt x="749" y="488"/>
                        </a:moveTo>
                        <a:lnTo>
                          <a:pt x="769" y="483"/>
                        </a:lnTo>
                        <a:lnTo>
                          <a:pt x="776" y="483"/>
                        </a:lnTo>
                        <a:lnTo>
                          <a:pt x="783" y="478"/>
                        </a:lnTo>
                        <a:lnTo>
                          <a:pt x="794" y="480"/>
                        </a:lnTo>
                        <a:lnTo>
                          <a:pt x="803" y="477"/>
                        </a:lnTo>
                        <a:lnTo>
                          <a:pt x="803" y="468"/>
                        </a:lnTo>
                        <a:lnTo>
                          <a:pt x="794" y="468"/>
                        </a:lnTo>
                        <a:lnTo>
                          <a:pt x="786" y="473"/>
                        </a:lnTo>
                        <a:lnTo>
                          <a:pt x="779" y="468"/>
                        </a:lnTo>
                        <a:lnTo>
                          <a:pt x="768" y="465"/>
                        </a:lnTo>
                        <a:lnTo>
                          <a:pt x="756" y="468"/>
                        </a:lnTo>
                        <a:lnTo>
                          <a:pt x="744" y="473"/>
                        </a:lnTo>
                        <a:lnTo>
                          <a:pt x="735" y="472"/>
                        </a:lnTo>
                        <a:lnTo>
                          <a:pt x="730" y="465"/>
                        </a:lnTo>
                        <a:lnTo>
                          <a:pt x="730" y="460"/>
                        </a:lnTo>
                        <a:lnTo>
                          <a:pt x="726" y="457"/>
                        </a:lnTo>
                        <a:lnTo>
                          <a:pt x="736" y="452"/>
                        </a:lnTo>
                        <a:lnTo>
                          <a:pt x="741" y="450"/>
                        </a:lnTo>
                        <a:lnTo>
                          <a:pt x="741" y="445"/>
                        </a:lnTo>
                        <a:lnTo>
                          <a:pt x="733" y="435"/>
                        </a:lnTo>
                        <a:lnTo>
                          <a:pt x="733" y="430"/>
                        </a:lnTo>
                        <a:lnTo>
                          <a:pt x="738" y="425"/>
                        </a:lnTo>
                        <a:lnTo>
                          <a:pt x="751" y="424"/>
                        </a:lnTo>
                        <a:lnTo>
                          <a:pt x="763" y="417"/>
                        </a:lnTo>
                        <a:lnTo>
                          <a:pt x="763" y="409"/>
                        </a:lnTo>
                        <a:lnTo>
                          <a:pt x="771" y="407"/>
                        </a:lnTo>
                        <a:lnTo>
                          <a:pt x="776" y="399"/>
                        </a:lnTo>
                        <a:lnTo>
                          <a:pt x="776" y="387"/>
                        </a:lnTo>
                        <a:lnTo>
                          <a:pt x="778" y="379"/>
                        </a:lnTo>
                        <a:lnTo>
                          <a:pt x="768" y="365"/>
                        </a:lnTo>
                        <a:lnTo>
                          <a:pt x="768" y="359"/>
                        </a:lnTo>
                        <a:lnTo>
                          <a:pt x="771" y="350"/>
                        </a:lnTo>
                        <a:lnTo>
                          <a:pt x="779" y="352"/>
                        </a:lnTo>
                        <a:lnTo>
                          <a:pt x="784" y="357"/>
                        </a:lnTo>
                        <a:lnTo>
                          <a:pt x="793" y="350"/>
                        </a:lnTo>
                        <a:lnTo>
                          <a:pt x="798" y="342"/>
                        </a:lnTo>
                        <a:lnTo>
                          <a:pt x="791" y="340"/>
                        </a:lnTo>
                        <a:lnTo>
                          <a:pt x="786" y="335"/>
                        </a:lnTo>
                        <a:lnTo>
                          <a:pt x="781" y="337"/>
                        </a:lnTo>
                        <a:lnTo>
                          <a:pt x="774" y="342"/>
                        </a:lnTo>
                        <a:lnTo>
                          <a:pt x="769" y="334"/>
                        </a:lnTo>
                        <a:lnTo>
                          <a:pt x="764" y="332"/>
                        </a:lnTo>
                        <a:lnTo>
                          <a:pt x="769" y="324"/>
                        </a:lnTo>
                        <a:lnTo>
                          <a:pt x="781" y="327"/>
                        </a:lnTo>
                        <a:lnTo>
                          <a:pt x="798" y="317"/>
                        </a:lnTo>
                        <a:lnTo>
                          <a:pt x="811" y="317"/>
                        </a:lnTo>
                        <a:lnTo>
                          <a:pt x="819" y="297"/>
                        </a:lnTo>
                        <a:lnTo>
                          <a:pt x="829" y="286"/>
                        </a:lnTo>
                        <a:lnTo>
                          <a:pt x="829" y="277"/>
                        </a:lnTo>
                        <a:lnTo>
                          <a:pt x="821" y="277"/>
                        </a:lnTo>
                        <a:lnTo>
                          <a:pt x="814" y="276"/>
                        </a:lnTo>
                        <a:lnTo>
                          <a:pt x="809" y="266"/>
                        </a:lnTo>
                        <a:lnTo>
                          <a:pt x="806" y="257"/>
                        </a:lnTo>
                        <a:lnTo>
                          <a:pt x="803" y="247"/>
                        </a:lnTo>
                        <a:lnTo>
                          <a:pt x="803" y="237"/>
                        </a:lnTo>
                        <a:lnTo>
                          <a:pt x="796" y="234"/>
                        </a:lnTo>
                        <a:lnTo>
                          <a:pt x="789" y="237"/>
                        </a:lnTo>
                        <a:lnTo>
                          <a:pt x="781" y="239"/>
                        </a:lnTo>
                        <a:lnTo>
                          <a:pt x="781" y="232"/>
                        </a:lnTo>
                        <a:lnTo>
                          <a:pt x="783" y="221"/>
                        </a:lnTo>
                        <a:lnTo>
                          <a:pt x="774" y="219"/>
                        </a:lnTo>
                        <a:lnTo>
                          <a:pt x="768" y="209"/>
                        </a:lnTo>
                        <a:lnTo>
                          <a:pt x="749" y="209"/>
                        </a:lnTo>
                        <a:lnTo>
                          <a:pt x="743" y="194"/>
                        </a:lnTo>
                        <a:lnTo>
                          <a:pt x="738" y="199"/>
                        </a:lnTo>
                        <a:lnTo>
                          <a:pt x="725" y="198"/>
                        </a:lnTo>
                        <a:lnTo>
                          <a:pt x="720" y="189"/>
                        </a:lnTo>
                        <a:lnTo>
                          <a:pt x="725" y="174"/>
                        </a:lnTo>
                        <a:lnTo>
                          <a:pt x="723" y="166"/>
                        </a:lnTo>
                        <a:lnTo>
                          <a:pt x="716" y="164"/>
                        </a:lnTo>
                        <a:lnTo>
                          <a:pt x="706" y="173"/>
                        </a:lnTo>
                        <a:lnTo>
                          <a:pt x="700" y="166"/>
                        </a:lnTo>
                        <a:lnTo>
                          <a:pt x="706" y="156"/>
                        </a:lnTo>
                        <a:lnTo>
                          <a:pt x="701" y="156"/>
                        </a:lnTo>
                        <a:lnTo>
                          <a:pt x="693" y="151"/>
                        </a:lnTo>
                        <a:lnTo>
                          <a:pt x="691" y="146"/>
                        </a:lnTo>
                        <a:lnTo>
                          <a:pt x="683" y="143"/>
                        </a:lnTo>
                        <a:lnTo>
                          <a:pt x="686" y="133"/>
                        </a:lnTo>
                        <a:lnTo>
                          <a:pt x="695" y="123"/>
                        </a:lnTo>
                        <a:lnTo>
                          <a:pt x="693" y="116"/>
                        </a:lnTo>
                        <a:lnTo>
                          <a:pt x="696" y="110"/>
                        </a:lnTo>
                        <a:lnTo>
                          <a:pt x="690" y="100"/>
                        </a:lnTo>
                        <a:lnTo>
                          <a:pt x="686" y="95"/>
                        </a:lnTo>
                        <a:lnTo>
                          <a:pt x="683" y="100"/>
                        </a:lnTo>
                        <a:lnTo>
                          <a:pt x="683" y="106"/>
                        </a:lnTo>
                        <a:lnTo>
                          <a:pt x="675" y="111"/>
                        </a:lnTo>
                        <a:lnTo>
                          <a:pt x="670" y="106"/>
                        </a:lnTo>
                        <a:lnTo>
                          <a:pt x="666" y="100"/>
                        </a:lnTo>
                        <a:lnTo>
                          <a:pt x="653" y="90"/>
                        </a:lnTo>
                        <a:lnTo>
                          <a:pt x="653" y="83"/>
                        </a:lnTo>
                        <a:lnTo>
                          <a:pt x="660" y="66"/>
                        </a:lnTo>
                        <a:lnTo>
                          <a:pt x="666" y="63"/>
                        </a:lnTo>
                        <a:lnTo>
                          <a:pt x="671" y="58"/>
                        </a:lnTo>
                        <a:lnTo>
                          <a:pt x="655" y="55"/>
                        </a:lnTo>
                        <a:lnTo>
                          <a:pt x="655" y="51"/>
                        </a:lnTo>
                        <a:lnTo>
                          <a:pt x="661" y="43"/>
                        </a:lnTo>
                        <a:lnTo>
                          <a:pt x="656" y="38"/>
                        </a:lnTo>
                        <a:lnTo>
                          <a:pt x="641" y="38"/>
                        </a:lnTo>
                        <a:lnTo>
                          <a:pt x="635" y="46"/>
                        </a:lnTo>
                        <a:lnTo>
                          <a:pt x="636" y="58"/>
                        </a:lnTo>
                        <a:lnTo>
                          <a:pt x="633" y="63"/>
                        </a:lnTo>
                        <a:lnTo>
                          <a:pt x="627" y="55"/>
                        </a:lnTo>
                        <a:lnTo>
                          <a:pt x="607" y="55"/>
                        </a:lnTo>
                        <a:lnTo>
                          <a:pt x="598" y="46"/>
                        </a:lnTo>
                        <a:lnTo>
                          <a:pt x="597" y="41"/>
                        </a:lnTo>
                        <a:lnTo>
                          <a:pt x="580" y="36"/>
                        </a:lnTo>
                        <a:lnTo>
                          <a:pt x="580" y="43"/>
                        </a:lnTo>
                        <a:lnTo>
                          <a:pt x="575" y="46"/>
                        </a:lnTo>
                        <a:lnTo>
                          <a:pt x="570" y="45"/>
                        </a:lnTo>
                        <a:lnTo>
                          <a:pt x="570" y="35"/>
                        </a:lnTo>
                        <a:lnTo>
                          <a:pt x="553" y="26"/>
                        </a:lnTo>
                        <a:lnTo>
                          <a:pt x="547" y="25"/>
                        </a:lnTo>
                        <a:lnTo>
                          <a:pt x="555" y="18"/>
                        </a:lnTo>
                        <a:lnTo>
                          <a:pt x="548" y="15"/>
                        </a:lnTo>
                        <a:lnTo>
                          <a:pt x="538" y="16"/>
                        </a:lnTo>
                        <a:lnTo>
                          <a:pt x="530" y="11"/>
                        </a:lnTo>
                        <a:lnTo>
                          <a:pt x="518" y="5"/>
                        </a:lnTo>
                        <a:lnTo>
                          <a:pt x="510" y="8"/>
                        </a:lnTo>
                        <a:lnTo>
                          <a:pt x="505" y="13"/>
                        </a:lnTo>
                        <a:lnTo>
                          <a:pt x="492" y="5"/>
                        </a:lnTo>
                        <a:lnTo>
                          <a:pt x="495" y="18"/>
                        </a:lnTo>
                        <a:lnTo>
                          <a:pt x="484" y="10"/>
                        </a:lnTo>
                        <a:lnTo>
                          <a:pt x="477" y="6"/>
                        </a:lnTo>
                        <a:lnTo>
                          <a:pt x="472" y="13"/>
                        </a:lnTo>
                        <a:lnTo>
                          <a:pt x="455" y="2"/>
                        </a:lnTo>
                        <a:lnTo>
                          <a:pt x="445" y="3"/>
                        </a:lnTo>
                        <a:lnTo>
                          <a:pt x="437" y="5"/>
                        </a:lnTo>
                        <a:lnTo>
                          <a:pt x="422" y="6"/>
                        </a:lnTo>
                        <a:lnTo>
                          <a:pt x="417" y="8"/>
                        </a:lnTo>
                        <a:lnTo>
                          <a:pt x="399" y="0"/>
                        </a:lnTo>
                        <a:lnTo>
                          <a:pt x="386" y="5"/>
                        </a:lnTo>
                        <a:lnTo>
                          <a:pt x="386" y="16"/>
                        </a:lnTo>
                        <a:lnTo>
                          <a:pt x="384" y="26"/>
                        </a:lnTo>
                        <a:lnTo>
                          <a:pt x="389" y="33"/>
                        </a:lnTo>
                        <a:lnTo>
                          <a:pt x="396" y="33"/>
                        </a:lnTo>
                        <a:lnTo>
                          <a:pt x="399" y="38"/>
                        </a:lnTo>
                        <a:lnTo>
                          <a:pt x="394" y="41"/>
                        </a:lnTo>
                        <a:lnTo>
                          <a:pt x="384" y="46"/>
                        </a:lnTo>
                        <a:lnTo>
                          <a:pt x="376" y="45"/>
                        </a:lnTo>
                        <a:lnTo>
                          <a:pt x="366" y="48"/>
                        </a:lnTo>
                        <a:lnTo>
                          <a:pt x="366" y="56"/>
                        </a:lnTo>
                        <a:lnTo>
                          <a:pt x="359" y="63"/>
                        </a:lnTo>
                        <a:lnTo>
                          <a:pt x="344" y="61"/>
                        </a:lnTo>
                        <a:lnTo>
                          <a:pt x="329" y="56"/>
                        </a:lnTo>
                        <a:lnTo>
                          <a:pt x="327" y="48"/>
                        </a:lnTo>
                        <a:lnTo>
                          <a:pt x="327" y="40"/>
                        </a:lnTo>
                        <a:lnTo>
                          <a:pt x="331" y="35"/>
                        </a:lnTo>
                        <a:lnTo>
                          <a:pt x="326" y="28"/>
                        </a:lnTo>
                        <a:lnTo>
                          <a:pt x="314" y="33"/>
                        </a:lnTo>
                        <a:lnTo>
                          <a:pt x="297" y="40"/>
                        </a:lnTo>
                        <a:lnTo>
                          <a:pt x="278" y="41"/>
                        </a:lnTo>
                        <a:lnTo>
                          <a:pt x="263" y="45"/>
                        </a:lnTo>
                        <a:lnTo>
                          <a:pt x="259" y="55"/>
                        </a:lnTo>
                        <a:lnTo>
                          <a:pt x="258" y="60"/>
                        </a:lnTo>
                        <a:lnTo>
                          <a:pt x="239" y="61"/>
                        </a:lnTo>
                        <a:lnTo>
                          <a:pt x="224" y="60"/>
                        </a:lnTo>
                        <a:lnTo>
                          <a:pt x="213" y="60"/>
                        </a:lnTo>
                        <a:lnTo>
                          <a:pt x="203" y="48"/>
                        </a:lnTo>
                        <a:lnTo>
                          <a:pt x="194" y="41"/>
                        </a:lnTo>
                        <a:lnTo>
                          <a:pt x="178" y="43"/>
                        </a:lnTo>
                        <a:lnTo>
                          <a:pt x="160" y="38"/>
                        </a:lnTo>
                        <a:lnTo>
                          <a:pt x="150" y="48"/>
                        </a:lnTo>
                        <a:lnTo>
                          <a:pt x="141" y="43"/>
                        </a:lnTo>
                        <a:lnTo>
                          <a:pt x="130" y="38"/>
                        </a:lnTo>
                        <a:lnTo>
                          <a:pt x="118" y="46"/>
                        </a:lnTo>
                        <a:lnTo>
                          <a:pt x="113" y="38"/>
                        </a:lnTo>
                        <a:lnTo>
                          <a:pt x="105" y="38"/>
                        </a:lnTo>
                        <a:lnTo>
                          <a:pt x="100" y="43"/>
                        </a:lnTo>
                        <a:lnTo>
                          <a:pt x="98" y="35"/>
                        </a:lnTo>
                        <a:lnTo>
                          <a:pt x="90" y="30"/>
                        </a:lnTo>
                        <a:lnTo>
                          <a:pt x="85" y="40"/>
                        </a:lnTo>
                        <a:lnTo>
                          <a:pt x="85" y="56"/>
                        </a:lnTo>
                        <a:lnTo>
                          <a:pt x="85" y="73"/>
                        </a:lnTo>
                        <a:lnTo>
                          <a:pt x="83" y="80"/>
                        </a:lnTo>
                        <a:lnTo>
                          <a:pt x="71" y="81"/>
                        </a:lnTo>
                        <a:lnTo>
                          <a:pt x="52" y="78"/>
                        </a:lnTo>
                        <a:lnTo>
                          <a:pt x="35" y="75"/>
                        </a:lnTo>
                        <a:lnTo>
                          <a:pt x="25" y="75"/>
                        </a:lnTo>
                        <a:lnTo>
                          <a:pt x="13" y="80"/>
                        </a:lnTo>
                        <a:lnTo>
                          <a:pt x="5" y="93"/>
                        </a:lnTo>
                        <a:lnTo>
                          <a:pt x="7" y="105"/>
                        </a:lnTo>
                        <a:lnTo>
                          <a:pt x="2" y="118"/>
                        </a:lnTo>
                        <a:lnTo>
                          <a:pt x="10" y="105"/>
                        </a:lnTo>
                        <a:lnTo>
                          <a:pt x="15" y="114"/>
                        </a:lnTo>
                        <a:lnTo>
                          <a:pt x="5" y="119"/>
                        </a:lnTo>
                        <a:lnTo>
                          <a:pt x="0" y="124"/>
                        </a:lnTo>
                        <a:lnTo>
                          <a:pt x="0" y="129"/>
                        </a:lnTo>
                        <a:lnTo>
                          <a:pt x="22" y="131"/>
                        </a:lnTo>
                        <a:lnTo>
                          <a:pt x="25" y="124"/>
                        </a:lnTo>
                        <a:lnTo>
                          <a:pt x="32" y="113"/>
                        </a:lnTo>
                        <a:lnTo>
                          <a:pt x="47" y="110"/>
                        </a:lnTo>
                        <a:lnTo>
                          <a:pt x="52" y="106"/>
                        </a:lnTo>
                        <a:lnTo>
                          <a:pt x="61" y="96"/>
                        </a:lnTo>
                        <a:lnTo>
                          <a:pt x="71" y="98"/>
                        </a:lnTo>
                        <a:lnTo>
                          <a:pt x="80" y="88"/>
                        </a:lnTo>
                        <a:lnTo>
                          <a:pt x="88" y="91"/>
                        </a:lnTo>
                        <a:lnTo>
                          <a:pt x="76" y="100"/>
                        </a:lnTo>
                        <a:lnTo>
                          <a:pt x="65" y="105"/>
                        </a:lnTo>
                        <a:lnTo>
                          <a:pt x="52" y="118"/>
                        </a:lnTo>
                        <a:lnTo>
                          <a:pt x="40" y="119"/>
                        </a:lnTo>
                        <a:lnTo>
                          <a:pt x="37" y="124"/>
                        </a:lnTo>
                        <a:lnTo>
                          <a:pt x="27" y="126"/>
                        </a:lnTo>
                        <a:lnTo>
                          <a:pt x="30" y="131"/>
                        </a:lnTo>
                        <a:lnTo>
                          <a:pt x="25" y="139"/>
                        </a:lnTo>
                        <a:lnTo>
                          <a:pt x="28" y="146"/>
                        </a:lnTo>
                        <a:lnTo>
                          <a:pt x="30" y="138"/>
                        </a:lnTo>
                        <a:lnTo>
                          <a:pt x="38" y="146"/>
                        </a:lnTo>
                        <a:lnTo>
                          <a:pt x="32" y="149"/>
                        </a:lnTo>
                        <a:lnTo>
                          <a:pt x="35" y="156"/>
                        </a:lnTo>
                        <a:lnTo>
                          <a:pt x="35" y="163"/>
                        </a:lnTo>
                        <a:lnTo>
                          <a:pt x="40" y="159"/>
                        </a:lnTo>
                        <a:lnTo>
                          <a:pt x="45" y="164"/>
                        </a:lnTo>
                        <a:lnTo>
                          <a:pt x="53" y="169"/>
                        </a:lnTo>
                        <a:lnTo>
                          <a:pt x="45" y="169"/>
                        </a:lnTo>
                        <a:lnTo>
                          <a:pt x="45" y="176"/>
                        </a:lnTo>
                        <a:lnTo>
                          <a:pt x="42" y="179"/>
                        </a:lnTo>
                        <a:lnTo>
                          <a:pt x="50" y="179"/>
                        </a:lnTo>
                        <a:lnTo>
                          <a:pt x="50" y="188"/>
                        </a:lnTo>
                        <a:lnTo>
                          <a:pt x="55" y="194"/>
                        </a:lnTo>
                        <a:lnTo>
                          <a:pt x="60" y="199"/>
                        </a:lnTo>
                        <a:lnTo>
                          <a:pt x="98" y="229"/>
                        </a:lnTo>
                        <a:lnTo>
                          <a:pt x="128" y="249"/>
                        </a:lnTo>
                        <a:lnTo>
                          <a:pt x="151" y="251"/>
                        </a:lnTo>
                        <a:lnTo>
                          <a:pt x="165" y="257"/>
                        </a:lnTo>
                        <a:lnTo>
                          <a:pt x="179" y="254"/>
                        </a:lnTo>
                        <a:lnTo>
                          <a:pt x="189" y="259"/>
                        </a:lnTo>
                        <a:lnTo>
                          <a:pt x="206" y="249"/>
                        </a:lnTo>
                        <a:lnTo>
                          <a:pt x="218" y="246"/>
                        </a:lnTo>
                        <a:lnTo>
                          <a:pt x="223" y="244"/>
                        </a:lnTo>
                        <a:lnTo>
                          <a:pt x="234" y="244"/>
                        </a:lnTo>
                        <a:lnTo>
                          <a:pt x="244" y="244"/>
                        </a:lnTo>
                        <a:lnTo>
                          <a:pt x="238" y="236"/>
                        </a:lnTo>
                        <a:lnTo>
                          <a:pt x="248" y="231"/>
                        </a:lnTo>
                        <a:lnTo>
                          <a:pt x="259" y="229"/>
                        </a:lnTo>
                        <a:lnTo>
                          <a:pt x="259" y="218"/>
                        </a:lnTo>
                        <a:lnTo>
                          <a:pt x="263" y="211"/>
                        </a:lnTo>
                        <a:lnTo>
                          <a:pt x="268" y="208"/>
                        </a:lnTo>
                        <a:lnTo>
                          <a:pt x="278" y="206"/>
                        </a:lnTo>
                        <a:lnTo>
                          <a:pt x="278" y="201"/>
                        </a:lnTo>
                        <a:lnTo>
                          <a:pt x="286" y="203"/>
                        </a:lnTo>
                        <a:lnTo>
                          <a:pt x="297" y="208"/>
                        </a:lnTo>
                        <a:lnTo>
                          <a:pt x="314" y="213"/>
                        </a:lnTo>
                        <a:lnTo>
                          <a:pt x="319" y="209"/>
                        </a:lnTo>
                        <a:lnTo>
                          <a:pt x="324" y="204"/>
                        </a:lnTo>
                        <a:lnTo>
                          <a:pt x="331" y="204"/>
                        </a:lnTo>
                        <a:lnTo>
                          <a:pt x="337" y="206"/>
                        </a:lnTo>
                        <a:lnTo>
                          <a:pt x="332" y="211"/>
                        </a:lnTo>
                        <a:lnTo>
                          <a:pt x="332" y="216"/>
                        </a:lnTo>
                        <a:lnTo>
                          <a:pt x="316" y="226"/>
                        </a:lnTo>
                        <a:lnTo>
                          <a:pt x="306" y="236"/>
                        </a:lnTo>
                        <a:lnTo>
                          <a:pt x="302" y="239"/>
                        </a:lnTo>
                        <a:lnTo>
                          <a:pt x="294" y="239"/>
                        </a:lnTo>
                        <a:lnTo>
                          <a:pt x="294" y="244"/>
                        </a:lnTo>
                        <a:lnTo>
                          <a:pt x="307" y="244"/>
                        </a:lnTo>
                        <a:lnTo>
                          <a:pt x="296" y="252"/>
                        </a:lnTo>
                        <a:lnTo>
                          <a:pt x="289" y="262"/>
                        </a:lnTo>
                        <a:lnTo>
                          <a:pt x="283" y="261"/>
                        </a:lnTo>
                        <a:lnTo>
                          <a:pt x="283" y="256"/>
                        </a:lnTo>
                        <a:lnTo>
                          <a:pt x="283" y="244"/>
                        </a:lnTo>
                        <a:lnTo>
                          <a:pt x="276" y="259"/>
                        </a:lnTo>
                        <a:lnTo>
                          <a:pt x="258" y="287"/>
                        </a:lnTo>
                        <a:lnTo>
                          <a:pt x="244" y="304"/>
                        </a:lnTo>
                        <a:lnTo>
                          <a:pt x="239" y="304"/>
                        </a:lnTo>
                        <a:lnTo>
                          <a:pt x="239" y="299"/>
                        </a:lnTo>
                        <a:lnTo>
                          <a:pt x="239" y="294"/>
                        </a:lnTo>
                        <a:lnTo>
                          <a:pt x="233" y="297"/>
                        </a:lnTo>
                        <a:lnTo>
                          <a:pt x="223" y="297"/>
                        </a:lnTo>
                        <a:lnTo>
                          <a:pt x="218" y="306"/>
                        </a:lnTo>
                        <a:lnTo>
                          <a:pt x="213" y="311"/>
                        </a:lnTo>
                        <a:lnTo>
                          <a:pt x="206" y="309"/>
                        </a:lnTo>
                        <a:lnTo>
                          <a:pt x="201" y="314"/>
                        </a:lnTo>
                        <a:lnTo>
                          <a:pt x="196" y="321"/>
                        </a:lnTo>
                        <a:lnTo>
                          <a:pt x="194" y="316"/>
                        </a:lnTo>
                        <a:lnTo>
                          <a:pt x="196" y="311"/>
                        </a:lnTo>
                        <a:lnTo>
                          <a:pt x="191" y="307"/>
                        </a:lnTo>
                        <a:lnTo>
                          <a:pt x="188" y="312"/>
                        </a:lnTo>
                        <a:lnTo>
                          <a:pt x="183" y="316"/>
                        </a:lnTo>
                        <a:lnTo>
                          <a:pt x="178" y="316"/>
                        </a:lnTo>
                        <a:lnTo>
                          <a:pt x="183" y="322"/>
                        </a:lnTo>
                        <a:lnTo>
                          <a:pt x="176" y="319"/>
                        </a:lnTo>
                        <a:lnTo>
                          <a:pt x="173" y="326"/>
                        </a:lnTo>
                        <a:lnTo>
                          <a:pt x="168" y="322"/>
                        </a:lnTo>
                        <a:lnTo>
                          <a:pt x="163" y="317"/>
                        </a:lnTo>
                        <a:lnTo>
                          <a:pt x="158" y="319"/>
                        </a:lnTo>
                        <a:lnTo>
                          <a:pt x="158" y="324"/>
                        </a:lnTo>
                        <a:lnTo>
                          <a:pt x="156" y="330"/>
                        </a:lnTo>
                        <a:lnTo>
                          <a:pt x="146" y="327"/>
                        </a:lnTo>
                        <a:lnTo>
                          <a:pt x="141" y="324"/>
                        </a:lnTo>
                        <a:lnTo>
                          <a:pt x="130" y="329"/>
                        </a:lnTo>
                        <a:lnTo>
                          <a:pt x="116" y="332"/>
                        </a:lnTo>
                        <a:lnTo>
                          <a:pt x="111" y="339"/>
                        </a:lnTo>
                        <a:lnTo>
                          <a:pt x="108" y="332"/>
                        </a:lnTo>
                        <a:lnTo>
                          <a:pt x="113" y="322"/>
                        </a:lnTo>
                        <a:lnTo>
                          <a:pt x="118" y="314"/>
                        </a:lnTo>
                        <a:lnTo>
                          <a:pt x="123" y="304"/>
                        </a:lnTo>
                        <a:lnTo>
                          <a:pt x="116" y="306"/>
                        </a:lnTo>
                        <a:lnTo>
                          <a:pt x="113" y="307"/>
                        </a:lnTo>
                        <a:lnTo>
                          <a:pt x="103" y="309"/>
                        </a:lnTo>
                        <a:lnTo>
                          <a:pt x="103" y="302"/>
                        </a:lnTo>
                        <a:lnTo>
                          <a:pt x="106" y="299"/>
                        </a:lnTo>
                        <a:lnTo>
                          <a:pt x="105" y="294"/>
                        </a:lnTo>
                        <a:lnTo>
                          <a:pt x="100" y="294"/>
                        </a:lnTo>
                        <a:lnTo>
                          <a:pt x="90" y="306"/>
                        </a:lnTo>
                        <a:lnTo>
                          <a:pt x="91" y="311"/>
                        </a:lnTo>
                        <a:lnTo>
                          <a:pt x="85" y="316"/>
                        </a:lnTo>
                        <a:lnTo>
                          <a:pt x="86" y="322"/>
                        </a:lnTo>
                        <a:lnTo>
                          <a:pt x="90" y="334"/>
                        </a:lnTo>
                        <a:lnTo>
                          <a:pt x="98" y="345"/>
                        </a:lnTo>
                        <a:lnTo>
                          <a:pt x="135" y="392"/>
                        </a:lnTo>
                        <a:lnTo>
                          <a:pt x="151" y="405"/>
                        </a:lnTo>
                        <a:lnTo>
                          <a:pt x="188" y="447"/>
                        </a:lnTo>
                        <a:lnTo>
                          <a:pt x="206" y="473"/>
                        </a:lnTo>
                        <a:lnTo>
                          <a:pt x="216" y="488"/>
                        </a:lnTo>
                        <a:lnTo>
                          <a:pt x="248" y="523"/>
                        </a:lnTo>
                        <a:lnTo>
                          <a:pt x="278" y="546"/>
                        </a:lnTo>
                        <a:lnTo>
                          <a:pt x="296" y="555"/>
                        </a:lnTo>
                        <a:lnTo>
                          <a:pt x="309" y="560"/>
                        </a:lnTo>
                        <a:lnTo>
                          <a:pt x="317" y="566"/>
                        </a:lnTo>
                        <a:lnTo>
                          <a:pt x="329" y="565"/>
                        </a:lnTo>
                        <a:lnTo>
                          <a:pt x="324" y="558"/>
                        </a:lnTo>
                        <a:lnTo>
                          <a:pt x="329" y="556"/>
                        </a:lnTo>
                        <a:lnTo>
                          <a:pt x="334" y="560"/>
                        </a:lnTo>
                        <a:lnTo>
                          <a:pt x="346" y="561"/>
                        </a:lnTo>
                        <a:lnTo>
                          <a:pt x="354" y="561"/>
                        </a:lnTo>
                        <a:lnTo>
                          <a:pt x="369" y="555"/>
                        </a:lnTo>
                        <a:lnTo>
                          <a:pt x="396" y="546"/>
                        </a:lnTo>
                        <a:lnTo>
                          <a:pt x="410" y="545"/>
                        </a:lnTo>
                        <a:lnTo>
                          <a:pt x="417" y="540"/>
                        </a:lnTo>
                        <a:lnTo>
                          <a:pt x="419" y="533"/>
                        </a:lnTo>
                        <a:lnTo>
                          <a:pt x="415" y="530"/>
                        </a:lnTo>
                        <a:lnTo>
                          <a:pt x="420" y="527"/>
                        </a:lnTo>
                        <a:lnTo>
                          <a:pt x="435" y="530"/>
                        </a:lnTo>
                        <a:lnTo>
                          <a:pt x="444" y="528"/>
                        </a:lnTo>
                        <a:lnTo>
                          <a:pt x="459" y="520"/>
                        </a:lnTo>
                        <a:lnTo>
                          <a:pt x="465" y="520"/>
                        </a:lnTo>
                        <a:lnTo>
                          <a:pt x="487" y="510"/>
                        </a:lnTo>
                        <a:lnTo>
                          <a:pt x="504" y="503"/>
                        </a:lnTo>
                        <a:lnTo>
                          <a:pt x="497" y="498"/>
                        </a:lnTo>
                        <a:lnTo>
                          <a:pt x="500" y="490"/>
                        </a:lnTo>
                        <a:lnTo>
                          <a:pt x="509" y="483"/>
                        </a:lnTo>
                        <a:lnTo>
                          <a:pt x="518" y="470"/>
                        </a:lnTo>
                        <a:lnTo>
                          <a:pt x="523" y="462"/>
                        </a:lnTo>
                        <a:lnTo>
                          <a:pt x="525" y="455"/>
                        </a:lnTo>
                        <a:lnTo>
                          <a:pt x="528" y="448"/>
                        </a:lnTo>
                        <a:lnTo>
                          <a:pt x="532" y="442"/>
                        </a:lnTo>
                        <a:lnTo>
                          <a:pt x="525" y="442"/>
                        </a:lnTo>
                        <a:lnTo>
                          <a:pt x="527" y="438"/>
                        </a:lnTo>
                        <a:lnTo>
                          <a:pt x="522" y="437"/>
                        </a:lnTo>
                        <a:lnTo>
                          <a:pt x="520" y="432"/>
                        </a:lnTo>
                        <a:lnTo>
                          <a:pt x="518" y="425"/>
                        </a:lnTo>
                        <a:lnTo>
                          <a:pt x="514" y="419"/>
                        </a:lnTo>
                        <a:lnTo>
                          <a:pt x="500" y="420"/>
                        </a:lnTo>
                        <a:lnTo>
                          <a:pt x="487" y="415"/>
                        </a:lnTo>
                        <a:lnTo>
                          <a:pt x="490" y="409"/>
                        </a:lnTo>
                        <a:lnTo>
                          <a:pt x="500" y="410"/>
                        </a:lnTo>
                        <a:lnTo>
                          <a:pt x="505" y="409"/>
                        </a:lnTo>
                        <a:lnTo>
                          <a:pt x="514" y="410"/>
                        </a:lnTo>
                        <a:lnTo>
                          <a:pt x="514" y="404"/>
                        </a:lnTo>
                        <a:lnTo>
                          <a:pt x="507" y="399"/>
                        </a:lnTo>
                        <a:lnTo>
                          <a:pt x="510" y="390"/>
                        </a:lnTo>
                        <a:lnTo>
                          <a:pt x="515" y="392"/>
                        </a:lnTo>
                        <a:lnTo>
                          <a:pt x="515" y="384"/>
                        </a:lnTo>
                        <a:lnTo>
                          <a:pt x="520" y="385"/>
                        </a:lnTo>
                        <a:lnTo>
                          <a:pt x="523" y="375"/>
                        </a:lnTo>
                        <a:lnTo>
                          <a:pt x="530" y="370"/>
                        </a:lnTo>
                        <a:lnTo>
                          <a:pt x="528" y="365"/>
                        </a:lnTo>
                        <a:lnTo>
                          <a:pt x="532" y="359"/>
                        </a:lnTo>
                        <a:lnTo>
                          <a:pt x="537" y="357"/>
                        </a:lnTo>
                        <a:lnTo>
                          <a:pt x="538" y="349"/>
                        </a:lnTo>
                        <a:lnTo>
                          <a:pt x="547" y="342"/>
                        </a:lnTo>
                        <a:lnTo>
                          <a:pt x="553" y="345"/>
                        </a:lnTo>
                        <a:lnTo>
                          <a:pt x="548" y="350"/>
                        </a:lnTo>
                        <a:lnTo>
                          <a:pt x="545" y="355"/>
                        </a:lnTo>
                        <a:lnTo>
                          <a:pt x="548" y="360"/>
                        </a:lnTo>
                        <a:lnTo>
                          <a:pt x="557" y="364"/>
                        </a:lnTo>
                        <a:lnTo>
                          <a:pt x="560" y="355"/>
                        </a:lnTo>
                        <a:lnTo>
                          <a:pt x="573" y="355"/>
                        </a:lnTo>
                        <a:lnTo>
                          <a:pt x="585" y="354"/>
                        </a:lnTo>
                        <a:lnTo>
                          <a:pt x="593" y="360"/>
                        </a:lnTo>
                        <a:lnTo>
                          <a:pt x="605" y="355"/>
                        </a:lnTo>
                        <a:lnTo>
                          <a:pt x="613" y="355"/>
                        </a:lnTo>
                        <a:lnTo>
                          <a:pt x="618" y="360"/>
                        </a:lnTo>
                        <a:lnTo>
                          <a:pt x="610" y="367"/>
                        </a:lnTo>
                        <a:lnTo>
                          <a:pt x="607" y="372"/>
                        </a:lnTo>
                        <a:lnTo>
                          <a:pt x="598" y="372"/>
                        </a:lnTo>
                        <a:lnTo>
                          <a:pt x="588" y="369"/>
                        </a:lnTo>
                        <a:lnTo>
                          <a:pt x="578" y="365"/>
                        </a:lnTo>
                        <a:lnTo>
                          <a:pt x="570" y="370"/>
                        </a:lnTo>
                        <a:lnTo>
                          <a:pt x="570" y="379"/>
                        </a:lnTo>
                        <a:lnTo>
                          <a:pt x="565" y="385"/>
                        </a:lnTo>
                        <a:lnTo>
                          <a:pt x="568" y="390"/>
                        </a:lnTo>
                        <a:lnTo>
                          <a:pt x="568" y="397"/>
                        </a:lnTo>
                        <a:lnTo>
                          <a:pt x="580" y="399"/>
                        </a:lnTo>
                        <a:lnTo>
                          <a:pt x="587" y="399"/>
                        </a:lnTo>
                        <a:lnTo>
                          <a:pt x="593" y="399"/>
                        </a:lnTo>
                        <a:lnTo>
                          <a:pt x="592" y="404"/>
                        </a:lnTo>
                        <a:lnTo>
                          <a:pt x="583" y="409"/>
                        </a:lnTo>
                        <a:lnTo>
                          <a:pt x="575" y="414"/>
                        </a:lnTo>
                        <a:lnTo>
                          <a:pt x="575" y="419"/>
                        </a:lnTo>
                        <a:lnTo>
                          <a:pt x="570" y="422"/>
                        </a:lnTo>
                        <a:lnTo>
                          <a:pt x="572" y="432"/>
                        </a:lnTo>
                        <a:lnTo>
                          <a:pt x="565" y="435"/>
                        </a:lnTo>
                        <a:lnTo>
                          <a:pt x="560" y="438"/>
                        </a:lnTo>
                        <a:lnTo>
                          <a:pt x="565" y="443"/>
                        </a:lnTo>
                        <a:lnTo>
                          <a:pt x="573" y="440"/>
                        </a:lnTo>
                        <a:lnTo>
                          <a:pt x="582" y="438"/>
                        </a:lnTo>
                        <a:lnTo>
                          <a:pt x="592" y="442"/>
                        </a:lnTo>
                        <a:lnTo>
                          <a:pt x="605" y="442"/>
                        </a:lnTo>
                        <a:lnTo>
                          <a:pt x="602" y="450"/>
                        </a:lnTo>
                        <a:lnTo>
                          <a:pt x="593" y="458"/>
                        </a:lnTo>
                        <a:lnTo>
                          <a:pt x="582" y="463"/>
                        </a:lnTo>
                        <a:lnTo>
                          <a:pt x="575" y="473"/>
                        </a:lnTo>
                        <a:lnTo>
                          <a:pt x="585" y="472"/>
                        </a:lnTo>
                        <a:lnTo>
                          <a:pt x="592" y="475"/>
                        </a:lnTo>
                        <a:lnTo>
                          <a:pt x="588" y="478"/>
                        </a:lnTo>
                        <a:lnTo>
                          <a:pt x="582" y="477"/>
                        </a:lnTo>
                        <a:lnTo>
                          <a:pt x="575" y="480"/>
                        </a:lnTo>
                        <a:lnTo>
                          <a:pt x="575" y="485"/>
                        </a:lnTo>
                        <a:lnTo>
                          <a:pt x="582" y="487"/>
                        </a:lnTo>
                        <a:lnTo>
                          <a:pt x="583" y="490"/>
                        </a:lnTo>
                        <a:lnTo>
                          <a:pt x="575" y="492"/>
                        </a:lnTo>
                        <a:lnTo>
                          <a:pt x="570" y="495"/>
                        </a:lnTo>
                        <a:lnTo>
                          <a:pt x="573" y="500"/>
                        </a:lnTo>
                        <a:lnTo>
                          <a:pt x="567" y="505"/>
                        </a:lnTo>
                        <a:lnTo>
                          <a:pt x="570" y="513"/>
                        </a:lnTo>
                        <a:lnTo>
                          <a:pt x="573" y="515"/>
                        </a:lnTo>
                        <a:lnTo>
                          <a:pt x="577" y="507"/>
                        </a:lnTo>
                        <a:lnTo>
                          <a:pt x="580" y="503"/>
                        </a:lnTo>
                        <a:lnTo>
                          <a:pt x="582" y="507"/>
                        </a:lnTo>
                        <a:lnTo>
                          <a:pt x="580" y="510"/>
                        </a:lnTo>
                        <a:lnTo>
                          <a:pt x="575" y="517"/>
                        </a:lnTo>
                        <a:lnTo>
                          <a:pt x="580" y="517"/>
                        </a:lnTo>
                        <a:lnTo>
                          <a:pt x="587" y="513"/>
                        </a:lnTo>
                        <a:lnTo>
                          <a:pt x="588" y="515"/>
                        </a:lnTo>
                        <a:lnTo>
                          <a:pt x="580" y="522"/>
                        </a:lnTo>
                        <a:lnTo>
                          <a:pt x="582" y="527"/>
                        </a:lnTo>
                        <a:lnTo>
                          <a:pt x="592" y="522"/>
                        </a:lnTo>
                        <a:lnTo>
                          <a:pt x="595" y="527"/>
                        </a:lnTo>
                        <a:lnTo>
                          <a:pt x="597" y="533"/>
                        </a:lnTo>
                        <a:lnTo>
                          <a:pt x="588" y="535"/>
                        </a:lnTo>
                        <a:lnTo>
                          <a:pt x="582" y="537"/>
                        </a:lnTo>
                        <a:lnTo>
                          <a:pt x="587" y="542"/>
                        </a:lnTo>
                        <a:lnTo>
                          <a:pt x="595" y="542"/>
                        </a:lnTo>
                        <a:lnTo>
                          <a:pt x="602" y="545"/>
                        </a:lnTo>
                        <a:lnTo>
                          <a:pt x="593" y="551"/>
                        </a:lnTo>
                        <a:lnTo>
                          <a:pt x="592" y="558"/>
                        </a:lnTo>
                        <a:lnTo>
                          <a:pt x="593" y="563"/>
                        </a:lnTo>
                        <a:lnTo>
                          <a:pt x="603" y="563"/>
                        </a:lnTo>
                        <a:lnTo>
                          <a:pt x="607" y="566"/>
                        </a:lnTo>
                        <a:lnTo>
                          <a:pt x="612" y="571"/>
                        </a:lnTo>
                        <a:lnTo>
                          <a:pt x="602" y="578"/>
                        </a:lnTo>
                        <a:lnTo>
                          <a:pt x="598" y="583"/>
                        </a:lnTo>
                        <a:lnTo>
                          <a:pt x="602" y="593"/>
                        </a:lnTo>
                        <a:lnTo>
                          <a:pt x="597" y="605"/>
                        </a:lnTo>
                        <a:lnTo>
                          <a:pt x="590" y="621"/>
                        </a:lnTo>
                        <a:lnTo>
                          <a:pt x="598" y="623"/>
                        </a:lnTo>
                        <a:lnTo>
                          <a:pt x="605" y="626"/>
                        </a:lnTo>
                        <a:lnTo>
                          <a:pt x="598" y="636"/>
                        </a:lnTo>
                        <a:lnTo>
                          <a:pt x="592" y="640"/>
                        </a:lnTo>
                        <a:lnTo>
                          <a:pt x="587" y="638"/>
                        </a:lnTo>
                        <a:lnTo>
                          <a:pt x="580" y="650"/>
                        </a:lnTo>
                        <a:lnTo>
                          <a:pt x="588" y="653"/>
                        </a:lnTo>
                        <a:lnTo>
                          <a:pt x="597" y="653"/>
                        </a:lnTo>
                        <a:lnTo>
                          <a:pt x="600" y="646"/>
                        </a:lnTo>
                        <a:lnTo>
                          <a:pt x="603" y="640"/>
                        </a:lnTo>
                        <a:lnTo>
                          <a:pt x="608" y="638"/>
                        </a:lnTo>
                        <a:lnTo>
                          <a:pt x="615" y="640"/>
                        </a:lnTo>
                        <a:lnTo>
                          <a:pt x="622" y="641"/>
                        </a:lnTo>
                        <a:lnTo>
                          <a:pt x="628" y="641"/>
                        </a:lnTo>
                        <a:lnTo>
                          <a:pt x="630" y="638"/>
                        </a:lnTo>
                        <a:lnTo>
                          <a:pt x="630" y="648"/>
                        </a:lnTo>
                        <a:lnTo>
                          <a:pt x="631" y="653"/>
                        </a:lnTo>
                        <a:lnTo>
                          <a:pt x="640" y="654"/>
                        </a:lnTo>
                        <a:lnTo>
                          <a:pt x="636" y="663"/>
                        </a:lnTo>
                        <a:lnTo>
                          <a:pt x="641" y="668"/>
                        </a:lnTo>
                        <a:lnTo>
                          <a:pt x="648" y="659"/>
                        </a:lnTo>
                        <a:lnTo>
                          <a:pt x="658" y="656"/>
                        </a:lnTo>
                        <a:lnTo>
                          <a:pt x="666" y="659"/>
                        </a:lnTo>
                        <a:lnTo>
                          <a:pt x="671" y="654"/>
                        </a:lnTo>
                        <a:lnTo>
                          <a:pt x="670" y="636"/>
                        </a:lnTo>
                        <a:lnTo>
                          <a:pt x="670" y="626"/>
                        </a:lnTo>
                        <a:lnTo>
                          <a:pt x="675" y="621"/>
                        </a:lnTo>
                        <a:lnTo>
                          <a:pt x="681" y="611"/>
                        </a:lnTo>
                        <a:lnTo>
                          <a:pt x="676" y="603"/>
                        </a:lnTo>
                        <a:lnTo>
                          <a:pt x="666" y="598"/>
                        </a:lnTo>
                        <a:lnTo>
                          <a:pt x="670" y="588"/>
                        </a:lnTo>
                        <a:lnTo>
                          <a:pt x="675" y="580"/>
                        </a:lnTo>
                        <a:lnTo>
                          <a:pt x="683" y="580"/>
                        </a:lnTo>
                        <a:lnTo>
                          <a:pt x="681" y="588"/>
                        </a:lnTo>
                        <a:lnTo>
                          <a:pt x="698" y="595"/>
                        </a:lnTo>
                        <a:lnTo>
                          <a:pt x="701" y="603"/>
                        </a:lnTo>
                        <a:lnTo>
                          <a:pt x="711" y="603"/>
                        </a:lnTo>
                        <a:lnTo>
                          <a:pt x="720" y="601"/>
                        </a:lnTo>
                        <a:lnTo>
                          <a:pt x="725" y="595"/>
                        </a:lnTo>
                        <a:lnTo>
                          <a:pt x="725" y="588"/>
                        </a:lnTo>
                        <a:lnTo>
                          <a:pt x="735" y="585"/>
                        </a:lnTo>
                        <a:lnTo>
                          <a:pt x="741" y="580"/>
                        </a:lnTo>
                        <a:lnTo>
                          <a:pt x="740" y="565"/>
                        </a:lnTo>
                        <a:lnTo>
                          <a:pt x="738" y="546"/>
                        </a:lnTo>
                        <a:lnTo>
                          <a:pt x="730" y="546"/>
                        </a:lnTo>
                        <a:lnTo>
                          <a:pt x="728" y="538"/>
                        </a:lnTo>
                        <a:lnTo>
                          <a:pt x="725" y="532"/>
                        </a:lnTo>
                        <a:lnTo>
                          <a:pt x="706" y="527"/>
                        </a:lnTo>
                        <a:lnTo>
                          <a:pt x="700" y="523"/>
                        </a:lnTo>
                        <a:lnTo>
                          <a:pt x="700" y="518"/>
                        </a:lnTo>
                        <a:lnTo>
                          <a:pt x="713" y="517"/>
                        </a:lnTo>
                        <a:lnTo>
                          <a:pt x="721" y="522"/>
                        </a:lnTo>
                        <a:lnTo>
                          <a:pt x="730" y="513"/>
                        </a:lnTo>
                        <a:lnTo>
                          <a:pt x="735" y="505"/>
                        </a:lnTo>
                        <a:lnTo>
                          <a:pt x="746" y="505"/>
                        </a:lnTo>
                        <a:lnTo>
                          <a:pt x="744" y="495"/>
                        </a:lnTo>
                        <a:lnTo>
                          <a:pt x="749" y="488"/>
                        </a:lnTo>
                        <a:lnTo>
                          <a:pt x="749" y="488"/>
                        </a:lnTo>
                        <a:lnTo>
                          <a:pt x="749" y="488"/>
                        </a:lnTo>
                        <a:close/>
                      </a:path>
                    </a:pathLst>
                  </a:custGeom>
                  <a:solidFill>
                    <a:schemeClr val="accent1">
                      <a:lumMod val="20000"/>
                      <a:lumOff val="80000"/>
                    </a:schemeClr>
                  </a:solid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30" name="Freeform 1118">
                    <a:extLst>
                      <a:ext uri="{FF2B5EF4-FFF2-40B4-BE49-F238E27FC236}">
                        <a16:creationId xmlns:a16="http://schemas.microsoft.com/office/drawing/2014/main" id="{D115C37C-D80C-4393-8E59-9ECA430E3C74}"/>
                      </a:ext>
                    </a:extLst>
                  </p:cNvPr>
                  <p:cNvSpPr>
                    <a:spLocks/>
                  </p:cNvSpPr>
                  <p:nvPr/>
                </p:nvSpPr>
                <p:spPr bwMode="auto">
                  <a:xfrm>
                    <a:off x="3173513" y="3070247"/>
                    <a:ext cx="1453541" cy="1031666"/>
                  </a:xfrm>
                  <a:custGeom>
                    <a:avLst/>
                    <a:gdLst>
                      <a:gd name="T0" fmla="*/ 1010 w 1168"/>
                      <a:gd name="T1" fmla="*/ 487 h 829"/>
                      <a:gd name="T2" fmla="*/ 1015 w 1168"/>
                      <a:gd name="T3" fmla="*/ 430 h 829"/>
                      <a:gd name="T4" fmla="*/ 1078 w 1168"/>
                      <a:gd name="T5" fmla="*/ 442 h 829"/>
                      <a:gd name="T6" fmla="*/ 1150 w 1168"/>
                      <a:gd name="T7" fmla="*/ 425 h 829"/>
                      <a:gd name="T8" fmla="*/ 1151 w 1168"/>
                      <a:gd name="T9" fmla="*/ 352 h 829"/>
                      <a:gd name="T10" fmla="*/ 1113 w 1168"/>
                      <a:gd name="T11" fmla="*/ 314 h 829"/>
                      <a:gd name="T12" fmla="*/ 1070 w 1168"/>
                      <a:gd name="T13" fmla="*/ 297 h 829"/>
                      <a:gd name="T14" fmla="*/ 1007 w 1168"/>
                      <a:gd name="T15" fmla="*/ 256 h 829"/>
                      <a:gd name="T16" fmla="*/ 965 w 1168"/>
                      <a:gd name="T17" fmla="*/ 251 h 829"/>
                      <a:gd name="T18" fmla="*/ 922 w 1168"/>
                      <a:gd name="T19" fmla="*/ 284 h 829"/>
                      <a:gd name="T20" fmla="*/ 889 w 1168"/>
                      <a:gd name="T21" fmla="*/ 259 h 829"/>
                      <a:gd name="T22" fmla="*/ 831 w 1168"/>
                      <a:gd name="T23" fmla="*/ 266 h 829"/>
                      <a:gd name="T24" fmla="*/ 819 w 1168"/>
                      <a:gd name="T25" fmla="*/ 222 h 829"/>
                      <a:gd name="T26" fmla="*/ 739 w 1168"/>
                      <a:gd name="T27" fmla="*/ 251 h 829"/>
                      <a:gd name="T28" fmla="*/ 726 w 1168"/>
                      <a:gd name="T29" fmla="*/ 231 h 829"/>
                      <a:gd name="T30" fmla="*/ 673 w 1168"/>
                      <a:gd name="T31" fmla="*/ 249 h 829"/>
                      <a:gd name="T32" fmla="*/ 643 w 1168"/>
                      <a:gd name="T33" fmla="*/ 232 h 829"/>
                      <a:gd name="T34" fmla="*/ 641 w 1168"/>
                      <a:gd name="T35" fmla="*/ 202 h 829"/>
                      <a:gd name="T36" fmla="*/ 606 w 1168"/>
                      <a:gd name="T37" fmla="*/ 227 h 829"/>
                      <a:gd name="T38" fmla="*/ 636 w 1168"/>
                      <a:gd name="T39" fmla="*/ 300 h 829"/>
                      <a:gd name="T40" fmla="*/ 663 w 1168"/>
                      <a:gd name="T41" fmla="*/ 364 h 829"/>
                      <a:gd name="T42" fmla="*/ 580 w 1168"/>
                      <a:gd name="T43" fmla="*/ 360 h 829"/>
                      <a:gd name="T44" fmla="*/ 593 w 1168"/>
                      <a:gd name="T45" fmla="*/ 249 h 829"/>
                      <a:gd name="T46" fmla="*/ 645 w 1168"/>
                      <a:gd name="T47" fmla="*/ 178 h 829"/>
                      <a:gd name="T48" fmla="*/ 673 w 1168"/>
                      <a:gd name="T49" fmla="*/ 108 h 829"/>
                      <a:gd name="T50" fmla="*/ 611 w 1168"/>
                      <a:gd name="T51" fmla="*/ 18 h 829"/>
                      <a:gd name="T52" fmla="*/ 547 w 1168"/>
                      <a:gd name="T53" fmla="*/ 31 h 829"/>
                      <a:gd name="T54" fmla="*/ 344 w 1168"/>
                      <a:gd name="T55" fmla="*/ 182 h 829"/>
                      <a:gd name="T56" fmla="*/ 452 w 1168"/>
                      <a:gd name="T57" fmla="*/ 209 h 829"/>
                      <a:gd name="T58" fmla="*/ 392 w 1168"/>
                      <a:gd name="T59" fmla="*/ 294 h 829"/>
                      <a:gd name="T60" fmla="*/ 394 w 1168"/>
                      <a:gd name="T61" fmla="*/ 350 h 829"/>
                      <a:gd name="T62" fmla="*/ 375 w 1168"/>
                      <a:gd name="T63" fmla="*/ 394 h 829"/>
                      <a:gd name="T64" fmla="*/ 312 w 1168"/>
                      <a:gd name="T65" fmla="*/ 377 h 829"/>
                      <a:gd name="T66" fmla="*/ 249 w 1168"/>
                      <a:gd name="T67" fmla="*/ 427 h 829"/>
                      <a:gd name="T68" fmla="*/ 201 w 1168"/>
                      <a:gd name="T69" fmla="*/ 410 h 829"/>
                      <a:gd name="T70" fmla="*/ 239 w 1168"/>
                      <a:gd name="T71" fmla="*/ 345 h 829"/>
                      <a:gd name="T72" fmla="*/ 222 w 1168"/>
                      <a:gd name="T73" fmla="*/ 312 h 829"/>
                      <a:gd name="T74" fmla="*/ 198 w 1168"/>
                      <a:gd name="T75" fmla="*/ 279 h 829"/>
                      <a:gd name="T76" fmla="*/ 139 w 1168"/>
                      <a:gd name="T77" fmla="*/ 286 h 829"/>
                      <a:gd name="T78" fmla="*/ 116 w 1168"/>
                      <a:gd name="T79" fmla="*/ 295 h 829"/>
                      <a:gd name="T80" fmla="*/ 124 w 1168"/>
                      <a:gd name="T81" fmla="*/ 385 h 829"/>
                      <a:gd name="T82" fmla="*/ 118 w 1168"/>
                      <a:gd name="T83" fmla="*/ 470 h 829"/>
                      <a:gd name="T84" fmla="*/ 98 w 1168"/>
                      <a:gd name="T85" fmla="*/ 523 h 829"/>
                      <a:gd name="T86" fmla="*/ 50 w 1168"/>
                      <a:gd name="T87" fmla="*/ 600 h 829"/>
                      <a:gd name="T88" fmla="*/ 21 w 1168"/>
                      <a:gd name="T89" fmla="*/ 641 h 829"/>
                      <a:gd name="T90" fmla="*/ 8 w 1168"/>
                      <a:gd name="T91" fmla="*/ 696 h 829"/>
                      <a:gd name="T92" fmla="*/ 65 w 1168"/>
                      <a:gd name="T93" fmla="*/ 719 h 829"/>
                      <a:gd name="T94" fmla="*/ 191 w 1168"/>
                      <a:gd name="T95" fmla="*/ 777 h 829"/>
                      <a:gd name="T96" fmla="*/ 324 w 1168"/>
                      <a:gd name="T97" fmla="*/ 811 h 829"/>
                      <a:gd name="T98" fmla="*/ 370 w 1168"/>
                      <a:gd name="T99" fmla="*/ 752 h 829"/>
                      <a:gd name="T100" fmla="*/ 470 w 1168"/>
                      <a:gd name="T101" fmla="*/ 751 h 829"/>
                      <a:gd name="T102" fmla="*/ 485 w 1168"/>
                      <a:gd name="T103" fmla="*/ 791 h 829"/>
                      <a:gd name="T104" fmla="*/ 590 w 1168"/>
                      <a:gd name="T105" fmla="*/ 771 h 829"/>
                      <a:gd name="T106" fmla="*/ 691 w 1168"/>
                      <a:gd name="T107" fmla="*/ 742 h 829"/>
                      <a:gd name="T108" fmla="*/ 773 w 1168"/>
                      <a:gd name="T109" fmla="*/ 771 h 829"/>
                      <a:gd name="T110" fmla="*/ 871 w 1168"/>
                      <a:gd name="T111" fmla="*/ 794 h 829"/>
                      <a:gd name="T112" fmla="*/ 919 w 1168"/>
                      <a:gd name="T113" fmla="*/ 686 h 829"/>
                      <a:gd name="T114" fmla="*/ 984 w 1168"/>
                      <a:gd name="T115" fmla="*/ 638 h 829"/>
                      <a:gd name="T116" fmla="*/ 1060 w 1168"/>
                      <a:gd name="T117" fmla="*/ 548 h 829"/>
                      <a:gd name="T118" fmla="*/ 1073 w 1168"/>
                      <a:gd name="T119" fmla="*/ 503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8" h="829">
                        <a:moveTo>
                          <a:pt x="1073" y="503"/>
                        </a:moveTo>
                        <a:lnTo>
                          <a:pt x="1065" y="505"/>
                        </a:lnTo>
                        <a:lnTo>
                          <a:pt x="1057" y="495"/>
                        </a:lnTo>
                        <a:lnTo>
                          <a:pt x="1053" y="487"/>
                        </a:lnTo>
                        <a:lnTo>
                          <a:pt x="1052" y="483"/>
                        </a:lnTo>
                        <a:lnTo>
                          <a:pt x="1047" y="488"/>
                        </a:lnTo>
                        <a:lnTo>
                          <a:pt x="1037" y="487"/>
                        </a:lnTo>
                        <a:lnTo>
                          <a:pt x="1030" y="480"/>
                        </a:lnTo>
                        <a:lnTo>
                          <a:pt x="1023" y="483"/>
                        </a:lnTo>
                        <a:lnTo>
                          <a:pt x="1020" y="488"/>
                        </a:lnTo>
                        <a:lnTo>
                          <a:pt x="1010" y="487"/>
                        </a:lnTo>
                        <a:lnTo>
                          <a:pt x="1009" y="482"/>
                        </a:lnTo>
                        <a:lnTo>
                          <a:pt x="1009" y="475"/>
                        </a:lnTo>
                        <a:lnTo>
                          <a:pt x="1013" y="467"/>
                        </a:lnTo>
                        <a:lnTo>
                          <a:pt x="1018" y="462"/>
                        </a:lnTo>
                        <a:lnTo>
                          <a:pt x="1022" y="455"/>
                        </a:lnTo>
                        <a:lnTo>
                          <a:pt x="1018" y="452"/>
                        </a:lnTo>
                        <a:lnTo>
                          <a:pt x="1015" y="447"/>
                        </a:lnTo>
                        <a:lnTo>
                          <a:pt x="1015" y="442"/>
                        </a:lnTo>
                        <a:lnTo>
                          <a:pt x="1007" y="433"/>
                        </a:lnTo>
                        <a:lnTo>
                          <a:pt x="1009" y="430"/>
                        </a:lnTo>
                        <a:lnTo>
                          <a:pt x="1015" y="430"/>
                        </a:lnTo>
                        <a:lnTo>
                          <a:pt x="1020" y="430"/>
                        </a:lnTo>
                        <a:lnTo>
                          <a:pt x="1025" y="433"/>
                        </a:lnTo>
                        <a:lnTo>
                          <a:pt x="1030" y="442"/>
                        </a:lnTo>
                        <a:lnTo>
                          <a:pt x="1040" y="443"/>
                        </a:lnTo>
                        <a:lnTo>
                          <a:pt x="1045" y="443"/>
                        </a:lnTo>
                        <a:lnTo>
                          <a:pt x="1047" y="437"/>
                        </a:lnTo>
                        <a:lnTo>
                          <a:pt x="1050" y="432"/>
                        </a:lnTo>
                        <a:lnTo>
                          <a:pt x="1057" y="435"/>
                        </a:lnTo>
                        <a:lnTo>
                          <a:pt x="1065" y="435"/>
                        </a:lnTo>
                        <a:lnTo>
                          <a:pt x="1072" y="440"/>
                        </a:lnTo>
                        <a:lnTo>
                          <a:pt x="1078" y="442"/>
                        </a:lnTo>
                        <a:lnTo>
                          <a:pt x="1085" y="442"/>
                        </a:lnTo>
                        <a:lnTo>
                          <a:pt x="1088" y="437"/>
                        </a:lnTo>
                        <a:lnTo>
                          <a:pt x="1097" y="440"/>
                        </a:lnTo>
                        <a:lnTo>
                          <a:pt x="1102" y="442"/>
                        </a:lnTo>
                        <a:lnTo>
                          <a:pt x="1108" y="440"/>
                        </a:lnTo>
                        <a:lnTo>
                          <a:pt x="1113" y="442"/>
                        </a:lnTo>
                        <a:lnTo>
                          <a:pt x="1123" y="442"/>
                        </a:lnTo>
                        <a:lnTo>
                          <a:pt x="1135" y="443"/>
                        </a:lnTo>
                        <a:lnTo>
                          <a:pt x="1140" y="437"/>
                        </a:lnTo>
                        <a:lnTo>
                          <a:pt x="1145" y="432"/>
                        </a:lnTo>
                        <a:lnTo>
                          <a:pt x="1150" y="425"/>
                        </a:lnTo>
                        <a:lnTo>
                          <a:pt x="1163" y="420"/>
                        </a:lnTo>
                        <a:lnTo>
                          <a:pt x="1168" y="418"/>
                        </a:lnTo>
                        <a:lnTo>
                          <a:pt x="1156" y="403"/>
                        </a:lnTo>
                        <a:lnTo>
                          <a:pt x="1145" y="398"/>
                        </a:lnTo>
                        <a:lnTo>
                          <a:pt x="1145" y="390"/>
                        </a:lnTo>
                        <a:lnTo>
                          <a:pt x="1156" y="392"/>
                        </a:lnTo>
                        <a:lnTo>
                          <a:pt x="1155" y="382"/>
                        </a:lnTo>
                        <a:lnTo>
                          <a:pt x="1163" y="370"/>
                        </a:lnTo>
                        <a:lnTo>
                          <a:pt x="1160" y="360"/>
                        </a:lnTo>
                        <a:lnTo>
                          <a:pt x="1153" y="360"/>
                        </a:lnTo>
                        <a:lnTo>
                          <a:pt x="1151" y="352"/>
                        </a:lnTo>
                        <a:lnTo>
                          <a:pt x="1150" y="347"/>
                        </a:lnTo>
                        <a:lnTo>
                          <a:pt x="1153" y="335"/>
                        </a:lnTo>
                        <a:lnTo>
                          <a:pt x="1160" y="339"/>
                        </a:lnTo>
                        <a:lnTo>
                          <a:pt x="1168" y="332"/>
                        </a:lnTo>
                        <a:lnTo>
                          <a:pt x="1160" y="324"/>
                        </a:lnTo>
                        <a:lnTo>
                          <a:pt x="1151" y="322"/>
                        </a:lnTo>
                        <a:lnTo>
                          <a:pt x="1148" y="314"/>
                        </a:lnTo>
                        <a:lnTo>
                          <a:pt x="1138" y="319"/>
                        </a:lnTo>
                        <a:lnTo>
                          <a:pt x="1130" y="319"/>
                        </a:lnTo>
                        <a:lnTo>
                          <a:pt x="1122" y="319"/>
                        </a:lnTo>
                        <a:lnTo>
                          <a:pt x="1113" y="314"/>
                        </a:lnTo>
                        <a:lnTo>
                          <a:pt x="1110" y="320"/>
                        </a:lnTo>
                        <a:lnTo>
                          <a:pt x="1113" y="327"/>
                        </a:lnTo>
                        <a:lnTo>
                          <a:pt x="1107" y="332"/>
                        </a:lnTo>
                        <a:lnTo>
                          <a:pt x="1102" y="324"/>
                        </a:lnTo>
                        <a:lnTo>
                          <a:pt x="1100" y="317"/>
                        </a:lnTo>
                        <a:lnTo>
                          <a:pt x="1088" y="322"/>
                        </a:lnTo>
                        <a:lnTo>
                          <a:pt x="1088" y="315"/>
                        </a:lnTo>
                        <a:lnTo>
                          <a:pt x="1097" y="307"/>
                        </a:lnTo>
                        <a:lnTo>
                          <a:pt x="1087" y="309"/>
                        </a:lnTo>
                        <a:lnTo>
                          <a:pt x="1083" y="304"/>
                        </a:lnTo>
                        <a:lnTo>
                          <a:pt x="1070" y="297"/>
                        </a:lnTo>
                        <a:lnTo>
                          <a:pt x="1058" y="294"/>
                        </a:lnTo>
                        <a:lnTo>
                          <a:pt x="1050" y="294"/>
                        </a:lnTo>
                        <a:lnTo>
                          <a:pt x="1048" y="286"/>
                        </a:lnTo>
                        <a:lnTo>
                          <a:pt x="1045" y="281"/>
                        </a:lnTo>
                        <a:lnTo>
                          <a:pt x="1047" y="274"/>
                        </a:lnTo>
                        <a:lnTo>
                          <a:pt x="1035" y="267"/>
                        </a:lnTo>
                        <a:lnTo>
                          <a:pt x="1030" y="266"/>
                        </a:lnTo>
                        <a:lnTo>
                          <a:pt x="1017" y="267"/>
                        </a:lnTo>
                        <a:lnTo>
                          <a:pt x="1012" y="261"/>
                        </a:lnTo>
                        <a:lnTo>
                          <a:pt x="1004" y="264"/>
                        </a:lnTo>
                        <a:lnTo>
                          <a:pt x="1007" y="256"/>
                        </a:lnTo>
                        <a:lnTo>
                          <a:pt x="1010" y="247"/>
                        </a:lnTo>
                        <a:lnTo>
                          <a:pt x="1004" y="246"/>
                        </a:lnTo>
                        <a:lnTo>
                          <a:pt x="997" y="244"/>
                        </a:lnTo>
                        <a:lnTo>
                          <a:pt x="990" y="247"/>
                        </a:lnTo>
                        <a:lnTo>
                          <a:pt x="989" y="254"/>
                        </a:lnTo>
                        <a:lnTo>
                          <a:pt x="995" y="256"/>
                        </a:lnTo>
                        <a:lnTo>
                          <a:pt x="989" y="264"/>
                        </a:lnTo>
                        <a:lnTo>
                          <a:pt x="979" y="262"/>
                        </a:lnTo>
                        <a:lnTo>
                          <a:pt x="984" y="256"/>
                        </a:lnTo>
                        <a:lnTo>
                          <a:pt x="975" y="249"/>
                        </a:lnTo>
                        <a:lnTo>
                          <a:pt x="965" y="251"/>
                        </a:lnTo>
                        <a:lnTo>
                          <a:pt x="960" y="256"/>
                        </a:lnTo>
                        <a:lnTo>
                          <a:pt x="962" y="264"/>
                        </a:lnTo>
                        <a:lnTo>
                          <a:pt x="957" y="274"/>
                        </a:lnTo>
                        <a:lnTo>
                          <a:pt x="957" y="286"/>
                        </a:lnTo>
                        <a:lnTo>
                          <a:pt x="954" y="284"/>
                        </a:lnTo>
                        <a:lnTo>
                          <a:pt x="945" y="284"/>
                        </a:lnTo>
                        <a:lnTo>
                          <a:pt x="947" y="289"/>
                        </a:lnTo>
                        <a:lnTo>
                          <a:pt x="940" y="289"/>
                        </a:lnTo>
                        <a:lnTo>
                          <a:pt x="934" y="281"/>
                        </a:lnTo>
                        <a:lnTo>
                          <a:pt x="930" y="286"/>
                        </a:lnTo>
                        <a:lnTo>
                          <a:pt x="922" y="284"/>
                        </a:lnTo>
                        <a:lnTo>
                          <a:pt x="909" y="286"/>
                        </a:lnTo>
                        <a:lnTo>
                          <a:pt x="899" y="289"/>
                        </a:lnTo>
                        <a:lnTo>
                          <a:pt x="905" y="277"/>
                        </a:lnTo>
                        <a:lnTo>
                          <a:pt x="912" y="271"/>
                        </a:lnTo>
                        <a:lnTo>
                          <a:pt x="914" y="261"/>
                        </a:lnTo>
                        <a:lnTo>
                          <a:pt x="915" y="256"/>
                        </a:lnTo>
                        <a:lnTo>
                          <a:pt x="917" y="249"/>
                        </a:lnTo>
                        <a:lnTo>
                          <a:pt x="912" y="246"/>
                        </a:lnTo>
                        <a:lnTo>
                          <a:pt x="905" y="256"/>
                        </a:lnTo>
                        <a:lnTo>
                          <a:pt x="899" y="256"/>
                        </a:lnTo>
                        <a:lnTo>
                          <a:pt x="889" y="259"/>
                        </a:lnTo>
                        <a:lnTo>
                          <a:pt x="879" y="259"/>
                        </a:lnTo>
                        <a:lnTo>
                          <a:pt x="871" y="267"/>
                        </a:lnTo>
                        <a:lnTo>
                          <a:pt x="862" y="276"/>
                        </a:lnTo>
                        <a:lnTo>
                          <a:pt x="856" y="279"/>
                        </a:lnTo>
                        <a:lnTo>
                          <a:pt x="862" y="267"/>
                        </a:lnTo>
                        <a:lnTo>
                          <a:pt x="856" y="264"/>
                        </a:lnTo>
                        <a:lnTo>
                          <a:pt x="851" y="269"/>
                        </a:lnTo>
                        <a:lnTo>
                          <a:pt x="852" y="274"/>
                        </a:lnTo>
                        <a:lnTo>
                          <a:pt x="846" y="274"/>
                        </a:lnTo>
                        <a:lnTo>
                          <a:pt x="837" y="274"/>
                        </a:lnTo>
                        <a:lnTo>
                          <a:pt x="831" y="266"/>
                        </a:lnTo>
                        <a:lnTo>
                          <a:pt x="847" y="266"/>
                        </a:lnTo>
                        <a:lnTo>
                          <a:pt x="842" y="256"/>
                        </a:lnTo>
                        <a:lnTo>
                          <a:pt x="851" y="249"/>
                        </a:lnTo>
                        <a:lnTo>
                          <a:pt x="854" y="246"/>
                        </a:lnTo>
                        <a:lnTo>
                          <a:pt x="854" y="241"/>
                        </a:lnTo>
                        <a:lnTo>
                          <a:pt x="846" y="241"/>
                        </a:lnTo>
                        <a:lnTo>
                          <a:pt x="839" y="227"/>
                        </a:lnTo>
                        <a:lnTo>
                          <a:pt x="837" y="222"/>
                        </a:lnTo>
                        <a:lnTo>
                          <a:pt x="842" y="212"/>
                        </a:lnTo>
                        <a:lnTo>
                          <a:pt x="829" y="216"/>
                        </a:lnTo>
                        <a:lnTo>
                          <a:pt x="819" y="222"/>
                        </a:lnTo>
                        <a:lnTo>
                          <a:pt x="814" y="226"/>
                        </a:lnTo>
                        <a:lnTo>
                          <a:pt x="802" y="226"/>
                        </a:lnTo>
                        <a:lnTo>
                          <a:pt x="799" y="234"/>
                        </a:lnTo>
                        <a:lnTo>
                          <a:pt x="791" y="234"/>
                        </a:lnTo>
                        <a:lnTo>
                          <a:pt x="786" y="244"/>
                        </a:lnTo>
                        <a:lnTo>
                          <a:pt x="776" y="241"/>
                        </a:lnTo>
                        <a:lnTo>
                          <a:pt x="781" y="254"/>
                        </a:lnTo>
                        <a:lnTo>
                          <a:pt x="778" y="261"/>
                        </a:lnTo>
                        <a:lnTo>
                          <a:pt x="771" y="254"/>
                        </a:lnTo>
                        <a:lnTo>
                          <a:pt x="758" y="254"/>
                        </a:lnTo>
                        <a:lnTo>
                          <a:pt x="739" y="251"/>
                        </a:lnTo>
                        <a:lnTo>
                          <a:pt x="738" y="257"/>
                        </a:lnTo>
                        <a:lnTo>
                          <a:pt x="733" y="262"/>
                        </a:lnTo>
                        <a:lnTo>
                          <a:pt x="726" y="256"/>
                        </a:lnTo>
                        <a:lnTo>
                          <a:pt x="721" y="261"/>
                        </a:lnTo>
                        <a:lnTo>
                          <a:pt x="716" y="266"/>
                        </a:lnTo>
                        <a:lnTo>
                          <a:pt x="714" y="262"/>
                        </a:lnTo>
                        <a:lnTo>
                          <a:pt x="716" y="256"/>
                        </a:lnTo>
                        <a:lnTo>
                          <a:pt x="716" y="249"/>
                        </a:lnTo>
                        <a:lnTo>
                          <a:pt x="724" y="246"/>
                        </a:lnTo>
                        <a:lnTo>
                          <a:pt x="731" y="237"/>
                        </a:lnTo>
                        <a:lnTo>
                          <a:pt x="726" y="231"/>
                        </a:lnTo>
                        <a:lnTo>
                          <a:pt x="724" y="237"/>
                        </a:lnTo>
                        <a:lnTo>
                          <a:pt x="718" y="234"/>
                        </a:lnTo>
                        <a:lnTo>
                          <a:pt x="711" y="227"/>
                        </a:lnTo>
                        <a:lnTo>
                          <a:pt x="708" y="229"/>
                        </a:lnTo>
                        <a:lnTo>
                          <a:pt x="709" y="241"/>
                        </a:lnTo>
                        <a:lnTo>
                          <a:pt x="704" y="244"/>
                        </a:lnTo>
                        <a:lnTo>
                          <a:pt x="708" y="247"/>
                        </a:lnTo>
                        <a:lnTo>
                          <a:pt x="703" y="256"/>
                        </a:lnTo>
                        <a:lnTo>
                          <a:pt x="686" y="257"/>
                        </a:lnTo>
                        <a:lnTo>
                          <a:pt x="681" y="247"/>
                        </a:lnTo>
                        <a:lnTo>
                          <a:pt x="673" y="249"/>
                        </a:lnTo>
                        <a:lnTo>
                          <a:pt x="671" y="246"/>
                        </a:lnTo>
                        <a:lnTo>
                          <a:pt x="676" y="241"/>
                        </a:lnTo>
                        <a:lnTo>
                          <a:pt x="671" y="237"/>
                        </a:lnTo>
                        <a:lnTo>
                          <a:pt x="666" y="241"/>
                        </a:lnTo>
                        <a:lnTo>
                          <a:pt x="663" y="236"/>
                        </a:lnTo>
                        <a:lnTo>
                          <a:pt x="653" y="246"/>
                        </a:lnTo>
                        <a:lnTo>
                          <a:pt x="648" y="241"/>
                        </a:lnTo>
                        <a:lnTo>
                          <a:pt x="660" y="231"/>
                        </a:lnTo>
                        <a:lnTo>
                          <a:pt x="653" y="222"/>
                        </a:lnTo>
                        <a:lnTo>
                          <a:pt x="646" y="234"/>
                        </a:lnTo>
                        <a:lnTo>
                          <a:pt x="643" y="232"/>
                        </a:lnTo>
                        <a:lnTo>
                          <a:pt x="640" y="229"/>
                        </a:lnTo>
                        <a:lnTo>
                          <a:pt x="646" y="222"/>
                        </a:lnTo>
                        <a:lnTo>
                          <a:pt x="656" y="216"/>
                        </a:lnTo>
                        <a:lnTo>
                          <a:pt x="663" y="219"/>
                        </a:lnTo>
                        <a:lnTo>
                          <a:pt x="663" y="211"/>
                        </a:lnTo>
                        <a:lnTo>
                          <a:pt x="655" y="206"/>
                        </a:lnTo>
                        <a:lnTo>
                          <a:pt x="660" y="197"/>
                        </a:lnTo>
                        <a:lnTo>
                          <a:pt x="650" y="191"/>
                        </a:lnTo>
                        <a:lnTo>
                          <a:pt x="648" y="202"/>
                        </a:lnTo>
                        <a:lnTo>
                          <a:pt x="646" y="207"/>
                        </a:lnTo>
                        <a:lnTo>
                          <a:pt x="641" y="202"/>
                        </a:lnTo>
                        <a:lnTo>
                          <a:pt x="636" y="202"/>
                        </a:lnTo>
                        <a:lnTo>
                          <a:pt x="636" y="207"/>
                        </a:lnTo>
                        <a:lnTo>
                          <a:pt x="640" y="211"/>
                        </a:lnTo>
                        <a:lnTo>
                          <a:pt x="631" y="217"/>
                        </a:lnTo>
                        <a:lnTo>
                          <a:pt x="628" y="222"/>
                        </a:lnTo>
                        <a:lnTo>
                          <a:pt x="621" y="217"/>
                        </a:lnTo>
                        <a:lnTo>
                          <a:pt x="628" y="212"/>
                        </a:lnTo>
                        <a:lnTo>
                          <a:pt x="626" y="206"/>
                        </a:lnTo>
                        <a:lnTo>
                          <a:pt x="611" y="214"/>
                        </a:lnTo>
                        <a:lnTo>
                          <a:pt x="611" y="222"/>
                        </a:lnTo>
                        <a:lnTo>
                          <a:pt x="606" y="227"/>
                        </a:lnTo>
                        <a:lnTo>
                          <a:pt x="598" y="224"/>
                        </a:lnTo>
                        <a:lnTo>
                          <a:pt x="595" y="231"/>
                        </a:lnTo>
                        <a:lnTo>
                          <a:pt x="601" y="232"/>
                        </a:lnTo>
                        <a:lnTo>
                          <a:pt x="611" y="232"/>
                        </a:lnTo>
                        <a:lnTo>
                          <a:pt x="615" y="246"/>
                        </a:lnTo>
                        <a:lnTo>
                          <a:pt x="613" y="251"/>
                        </a:lnTo>
                        <a:lnTo>
                          <a:pt x="620" y="261"/>
                        </a:lnTo>
                        <a:lnTo>
                          <a:pt x="621" y="267"/>
                        </a:lnTo>
                        <a:lnTo>
                          <a:pt x="621" y="281"/>
                        </a:lnTo>
                        <a:lnTo>
                          <a:pt x="635" y="292"/>
                        </a:lnTo>
                        <a:lnTo>
                          <a:pt x="636" y="300"/>
                        </a:lnTo>
                        <a:lnTo>
                          <a:pt x="635" y="310"/>
                        </a:lnTo>
                        <a:lnTo>
                          <a:pt x="643" y="315"/>
                        </a:lnTo>
                        <a:lnTo>
                          <a:pt x="631" y="324"/>
                        </a:lnTo>
                        <a:lnTo>
                          <a:pt x="640" y="330"/>
                        </a:lnTo>
                        <a:lnTo>
                          <a:pt x="650" y="324"/>
                        </a:lnTo>
                        <a:lnTo>
                          <a:pt x="658" y="332"/>
                        </a:lnTo>
                        <a:lnTo>
                          <a:pt x="661" y="342"/>
                        </a:lnTo>
                        <a:lnTo>
                          <a:pt x="653" y="347"/>
                        </a:lnTo>
                        <a:lnTo>
                          <a:pt x="658" y="352"/>
                        </a:lnTo>
                        <a:lnTo>
                          <a:pt x="666" y="352"/>
                        </a:lnTo>
                        <a:lnTo>
                          <a:pt x="663" y="364"/>
                        </a:lnTo>
                        <a:lnTo>
                          <a:pt x="663" y="367"/>
                        </a:lnTo>
                        <a:lnTo>
                          <a:pt x="658" y="377"/>
                        </a:lnTo>
                        <a:lnTo>
                          <a:pt x="640" y="387"/>
                        </a:lnTo>
                        <a:lnTo>
                          <a:pt x="635" y="382"/>
                        </a:lnTo>
                        <a:lnTo>
                          <a:pt x="628" y="385"/>
                        </a:lnTo>
                        <a:lnTo>
                          <a:pt x="620" y="374"/>
                        </a:lnTo>
                        <a:lnTo>
                          <a:pt x="605" y="357"/>
                        </a:lnTo>
                        <a:lnTo>
                          <a:pt x="593" y="370"/>
                        </a:lnTo>
                        <a:lnTo>
                          <a:pt x="586" y="375"/>
                        </a:lnTo>
                        <a:lnTo>
                          <a:pt x="578" y="369"/>
                        </a:lnTo>
                        <a:lnTo>
                          <a:pt x="580" y="360"/>
                        </a:lnTo>
                        <a:lnTo>
                          <a:pt x="578" y="347"/>
                        </a:lnTo>
                        <a:lnTo>
                          <a:pt x="573" y="350"/>
                        </a:lnTo>
                        <a:lnTo>
                          <a:pt x="565" y="337"/>
                        </a:lnTo>
                        <a:lnTo>
                          <a:pt x="573" y="320"/>
                        </a:lnTo>
                        <a:lnTo>
                          <a:pt x="570" y="314"/>
                        </a:lnTo>
                        <a:lnTo>
                          <a:pt x="565" y="299"/>
                        </a:lnTo>
                        <a:lnTo>
                          <a:pt x="556" y="290"/>
                        </a:lnTo>
                        <a:lnTo>
                          <a:pt x="578" y="271"/>
                        </a:lnTo>
                        <a:lnTo>
                          <a:pt x="578" y="262"/>
                        </a:lnTo>
                        <a:lnTo>
                          <a:pt x="585" y="252"/>
                        </a:lnTo>
                        <a:lnTo>
                          <a:pt x="593" y="249"/>
                        </a:lnTo>
                        <a:lnTo>
                          <a:pt x="585" y="244"/>
                        </a:lnTo>
                        <a:lnTo>
                          <a:pt x="586" y="234"/>
                        </a:lnTo>
                        <a:lnTo>
                          <a:pt x="576" y="227"/>
                        </a:lnTo>
                        <a:lnTo>
                          <a:pt x="580" y="222"/>
                        </a:lnTo>
                        <a:lnTo>
                          <a:pt x="575" y="217"/>
                        </a:lnTo>
                        <a:lnTo>
                          <a:pt x="580" y="211"/>
                        </a:lnTo>
                        <a:lnTo>
                          <a:pt x="590" y="199"/>
                        </a:lnTo>
                        <a:lnTo>
                          <a:pt x="586" y="196"/>
                        </a:lnTo>
                        <a:lnTo>
                          <a:pt x="600" y="189"/>
                        </a:lnTo>
                        <a:lnTo>
                          <a:pt x="610" y="194"/>
                        </a:lnTo>
                        <a:lnTo>
                          <a:pt x="645" y="178"/>
                        </a:lnTo>
                        <a:lnTo>
                          <a:pt x="640" y="159"/>
                        </a:lnTo>
                        <a:lnTo>
                          <a:pt x="650" y="163"/>
                        </a:lnTo>
                        <a:lnTo>
                          <a:pt x="655" y="159"/>
                        </a:lnTo>
                        <a:lnTo>
                          <a:pt x="650" y="156"/>
                        </a:lnTo>
                        <a:lnTo>
                          <a:pt x="658" y="141"/>
                        </a:lnTo>
                        <a:lnTo>
                          <a:pt x="665" y="131"/>
                        </a:lnTo>
                        <a:lnTo>
                          <a:pt x="666" y="126"/>
                        </a:lnTo>
                        <a:lnTo>
                          <a:pt x="673" y="121"/>
                        </a:lnTo>
                        <a:lnTo>
                          <a:pt x="668" y="119"/>
                        </a:lnTo>
                        <a:lnTo>
                          <a:pt x="660" y="113"/>
                        </a:lnTo>
                        <a:lnTo>
                          <a:pt x="673" y="108"/>
                        </a:lnTo>
                        <a:lnTo>
                          <a:pt x="668" y="103"/>
                        </a:lnTo>
                        <a:lnTo>
                          <a:pt x="684" y="89"/>
                        </a:lnTo>
                        <a:lnTo>
                          <a:pt x="669" y="41"/>
                        </a:lnTo>
                        <a:lnTo>
                          <a:pt x="665" y="31"/>
                        </a:lnTo>
                        <a:lnTo>
                          <a:pt x="661" y="28"/>
                        </a:lnTo>
                        <a:lnTo>
                          <a:pt x="653" y="28"/>
                        </a:lnTo>
                        <a:lnTo>
                          <a:pt x="645" y="18"/>
                        </a:lnTo>
                        <a:lnTo>
                          <a:pt x="638" y="13"/>
                        </a:lnTo>
                        <a:lnTo>
                          <a:pt x="628" y="13"/>
                        </a:lnTo>
                        <a:lnTo>
                          <a:pt x="616" y="15"/>
                        </a:lnTo>
                        <a:lnTo>
                          <a:pt x="611" y="18"/>
                        </a:lnTo>
                        <a:lnTo>
                          <a:pt x="601" y="16"/>
                        </a:lnTo>
                        <a:lnTo>
                          <a:pt x="591" y="10"/>
                        </a:lnTo>
                        <a:lnTo>
                          <a:pt x="591" y="5"/>
                        </a:lnTo>
                        <a:lnTo>
                          <a:pt x="586" y="0"/>
                        </a:lnTo>
                        <a:lnTo>
                          <a:pt x="581" y="6"/>
                        </a:lnTo>
                        <a:lnTo>
                          <a:pt x="575" y="13"/>
                        </a:lnTo>
                        <a:lnTo>
                          <a:pt x="563" y="13"/>
                        </a:lnTo>
                        <a:lnTo>
                          <a:pt x="560" y="18"/>
                        </a:lnTo>
                        <a:lnTo>
                          <a:pt x="553" y="20"/>
                        </a:lnTo>
                        <a:lnTo>
                          <a:pt x="555" y="26"/>
                        </a:lnTo>
                        <a:lnTo>
                          <a:pt x="547" y="31"/>
                        </a:lnTo>
                        <a:lnTo>
                          <a:pt x="537" y="31"/>
                        </a:lnTo>
                        <a:lnTo>
                          <a:pt x="503" y="51"/>
                        </a:lnTo>
                        <a:lnTo>
                          <a:pt x="465" y="74"/>
                        </a:lnTo>
                        <a:lnTo>
                          <a:pt x="447" y="79"/>
                        </a:lnTo>
                        <a:lnTo>
                          <a:pt x="395" y="113"/>
                        </a:lnTo>
                        <a:lnTo>
                          <a:pt x="375" y="138"/>
                        </a:lnTo>
                        <a:lnTo>
                          <a:pt x="357" y="139"/>
                        </a:lnTo>
                        <a:lnTo>
                          <a:pt x="345" y="148"/>
                        </a:lnTo>
                        <a:lnTo>
                          <a:pt x="337" y="163"/>
                        </a:lnTo>
                        <a:lnTo>
                          <a:pt x="340" y="173"/>
                        </a:lnTo>
                        <a:lnTo>
                          <a:pt x="344" y="182"/>
                        </a:lnTo>
                        <a:lnTo>
                          <a:pt x="344" y="199"/>
                        </a:lnTo>
                        <a:lnTo>
                          <a:pt x="354" y="217"/>
                        </a:lnTo>
                        <a:lnTo>
                          <a:pt x="360" y="219"/>
                        </a:lnTo>
                        <a:lnTo>
                          <a:pt x="380" y="227"/>
                        </a:lnTo>
                        <a:lnTo>
                          <a:pt x="390" y="226"/>
                        </a:lnTo>
                        <a:lnTo>
                          <a:pt x="410" y="226"/>
                        </a:lnTo>
                        <a:lnTo>
                          <a:pt x="419" y="219"/>
                        </a:lnTo>
                        <a:lnTo>
                          <a:pt x="430" y="227"/>
                        </a:lnTo>
                        <a:lnTo>
                          <a:pt x="434" y="212"/>
                        </a:lnTo>
                        <a:lnTo>
                          <a:pt x="437" y="209"/>
                        </a:lnTo>
                        <a:lnTo>
                          <a:pt x="452" y="209"/>
                        </a:lnTo>
                        <a:lnTo>
                          <a:pt x="450" y="227"/>
                        </a:lnTo>
                        <a:lnTo>
                          <a:pt x="450" y="237"/>
                        </a:lnTo>
                        <a:lnTo>
                          <a:pt x="458" y="241"/>
                        </a:lnTo>
                        <a:lnTo>
                          <a:pt x="452" y="251"/>
                        </a:lnTo>
                        <a:lnTo>
                          <a:pt x="450" y="257"/>
                        </a:lnTo>
                        <a:lnTo>
                          <a:pt x="432" y="256"/>
                        </a:lnTo>
                        <a:lnTo>
                          <a:pt x="415" y="261"/>
                        </a:lnTo>
                        <a:lnTo>
                          <a:pt x="397" y="261"/>
                        </a:lnTo>
                        <a:lnTo>
                          <a:pt x="390" y="262"/>
                        </a:lnTo>
                        <a:lnTo>
                          <a:pt x="380" y="274"/>
                        </a:lnTo>
                        <a:lnTo>
                          <a:pt x="392" y="294"/>
                        </a:lnTo>
                        <a:lnTo>
                          <a:pt x="374" y="294"/>
                        </a:lnTo>
                        <a:lnTo>
                          <a:pt x="375" y="300"/>
                        </a:lnTo>
                        <a:lnTo>
                          <a:pt x="390" y="309"/>
                        </a:lnTo>
                        <a:lnTo>
                          <a:pt x="397" y="302"/>
                        </a:lnTo>
                        <a:lnTo>
                          <a:pt x="405" y="305"/>
                        </a:lnTo>
                        <a:lnTo>
                          <a:pt x="405" y="317"/>
                        </a:lnTo>
                        <a:lnTo>
                          <a:pt x="404" y="322"/>
                        </a:lnTo>
                        <a:lnTo>
                          <a:pt x="410" y="325"/>
                        </a:lnTo>
                        <a:lnTo>
                          <a:pt x="412" y="334"/>
                        </a:lnTo>
                        <a:lnTo>
                          <a:pt x="407" y="345"/>
                        </a:lnTo>
                        <a:lnTo>
                          <a:pt x="394" y="350"/>
                        </a:lnTo>
                        <a:lnTo>
                          <a:pt x="390" y="340"/>
                        </a:lnTo>
                        <a:lnTo>
                          <a:pt x="380" y="335"/>
                        </a:lnTo>
                        <a:lnTo>
                          <a:pt x="377" y="339"/>
                        </a:lnTo>
                        <a:lnTo>
                          <a:pt x="379" y="349"/>
                        </a:lnTo>
                        <a:lnTo>
                          <a:pt x="380" y="362"/>
                        </a:lnTo>
                        <a:lnTo>
                          <a:pt x="379" y="370"/>
                        </a:lnTo>
                        <a:lnTo>
                          <a:pt x="384" y="379"/>
                        </a:lnTo>
                        <a:lnTo>
                          <a:pt x="390" y="380"/>
                        </a:lnTo>
                        <a:lnTo>
                          <a:pt x="390" y="389"/>
                        </a:lnTo>
                        <a:lnTo>
                          <a:pt x="384" y="397"/>
                        </a:lnTo>
                        <a:lnTo>
                          <a:pt x="375" y="394"/>
                        </a:lnTo>
                        <a:lnTo>
                          <a:pt x="365" y="390"/>
                        </a:lnTo>
                        <a:lnTo>
                          <a:pt x="359" y="392"/>
                        </a:lnTo>
                        <a:lnTo>
                          <a:pt x="352" y="384"/>
                        </a:lnTo>
                        <a:lnTo>
                          <a:pt x="359" y="380"/>
                        </a:lnTo>
                        <a:lnTo>
                          <a:pt x="355" y="370"/>
                        </a:lnTo>
                        <a:lnTo>
                          <a:pt x="347" y="375"/>
                        </a:lnTo>
                        <a:lnTo>
                          <a:pt x="344" y="379"/>
                        </a:lnTo>
                        <a:lnTo>
                          <a:pt x="340" y="392"/>
                        </a:lnTo>
                        <a:lnTo>
                          <a:pt x="329" y="382"/>
                        </a:lnTo>
                        <a:lnTo>
                          <a:pt x="321" y="384"/>
                        </a:lnTo>
                        <a:lnTo>
                          <a:pt x="312" y="377"/>
                        </a:lnTo>
                        <a:lnTo>
                          <a:pt x="297" y="382"/>
                        </a:lnTo>
                        <a:lnTo>
                          <a:pt x="296" y="379"/>
                        </a:lnTo>
                        <a:lnTo>
                          <a:pt x="297" y="367"/>
                        </a:lnTo>
                        <a:lnTo>
                          <a:pt x="289" y="364"/>
                        </a:lnTo>
                        <a:lnTo>
                          <a:pt x="287" y="369"/>
                        </a:lnTo>
                        <a:lnTo>
                          <a:pt x="287" y="395"/>
                        </a:lnTo>
                        <a:lnTo>
                          <a:pt x="269" y="403"/>
                        </a:lnTo>
                        <a:lnTo>
                          <a:pt x="262" y="412"/>
                        </a:lnTo>
                        <a:lnTo>
                          <a:pt x="269" y="418"/>
                        </a:lnTo>
                        <a:lnTo>
                          <a:pt x="262" y="425"/>
                        </a:lnTo>
                        <a:lnTo>
                          <a:pt x="249" y="427"/>
                        </a:lnTo>
                        <a:lnTo>
                          <a:pt x="241" y="430"/>
                        </a:lnTo>
                        <a:lnTo>
                          <a:pt x="237" y="427"/>
                        </a:lnTo>
                        <a:lnTo>
                          <a:pt x="231" y="430"/>
                        </a:lnTo>
                        <a:lnTo>
                          <a:pt x="232" y="440"/>
                        </a:lnTo>
                        <a:lnTo>
                          <a:pt x="226" y="440"/>
                        </a:lnTo>
                        <a:lnTo>
                          <a:pt x="219" y="442"/>
                        </a:lnTo>
                        <a:lnTo>
                          <a:pt x="212" y="438"/>
                        </a:lnTo>
                        <a:lnTo>
                          <a:pt x="208" y="425"/>
                        </a:lnTo>
                        <a:lnTo>
                          <a:pt x="201" y="425"/>
                        </a:lnTo>
                        <a:lnTo>
                          <a:pt x="198" y="420"/>
                        </a:lnTo>
                        <a:lnTo>
                          <a:pt x="201" y="410"/>
                        </a:lnTo>
                        <a:lnTo>
                          <a:pt x="211" y="403"/>
                        </a:lnTo>
                        <a:lnTo>
                          <a:pt x="217" y="410"/>
                        </a:lnTo>
                        <a:lnTo>
                          <a:pt x="229" y="412"/>
                        </a:lnTo>
                        <a:lnTo>
                          <a:pt x="239" y="403"/>
                        </a:lnTo>
                        <a:lnTo>
                          <a:pt x="251" y="398"/>
                        </a:lnTo>
                        <a:lnTo>
                          <a:pt x="234" y="392"/>
                        </a:lnTo>
                        <a:lnTo>
                          <a:pt x="236" y="380"/>
                        </a:lnTo>
                        <a:lnTo>
                          <a:pt x="247" y="375"/>
                        </a:lnTo>
                        <a:lnTo>
                          <a:pt x="237" y="364"/>
                        </a:lnTo>
                        <a:lnTo>
                          <a:pt x="234" y="355"/>
                        </a:lnTo>
                        <a:lnTo>
                          <a:pt x="239" y="345"/>
                        </a:lnTo>
                        <a:lnTo>
                          <a:pt x="247" y="342"/>
                        </a:lnTo>
                        <a:lnTo>
                          <a:pt x="252" y="349"/>
                        </a:lnTo>
                        <a:lnTo>
                          <a:pt x="259" y="347"/>
                        </a:lnTo>
                        <a:lnTo>
                          <a:pt x="254" y="335"/>
                        </a:lnTo>
                        <a:lnTo>
                          <a:pt x="261" y="332"/>
                        </a:lnTo>
                        <a:lnTo>
                          <a:pt x="247" y="319"/>
                        </a:lnTo>
                        <a:lnTo>
                          <a:pt x="249" y="312"/>
                        </a:lnTo>
                        <a:lnTo>
                          <a:pt x="249" y="302"/>
                        </a:lnTo>
                        <a:lnTo>
                          <a:pt x="237" y="299"/>
                        </a:lnTo>
                        <a:lnTo>
                          <a:pt x="229" y="304"/>
                        </a:lnTo>
                        <a:lnTo>
                          <a:pt x="222" y="312"/>
                        </a:lnTo>
                        <a:lnTo>
                          <a:pt x="208" y="307"/>
                        </a:lnTo>
                        <a:lnTo>
                          <a:pt x="203" y="314"/>
                        </a:lnTo>
                        <a:lnTo>
                          <a:pt x="181" y="304"/>
                        </a:lnTo>
                        <a:lnTo>
                          <a:pt x="173" y="305"/>
                        </a:lnTo>
                        <a:lnTo>
                          <a:pt x="168" y="304"/>
                        </a:lnTo>
                        <a:lnTo>
                          <a:pt x="168" y="295"/>
                        </a:lnTo>
                        <a:lnTo>
                          <a:pt x="176" y="290"/>
                        </a:lnTo>
                        <a:lnTo>
                          <a:pt x="176" y="286"/>
                        </a:lnTo>
                        <a:lnTo>
                          <a:pt x="186" y="294"/>
                        </a:lnTo>
                        <a:lnTo>
                          <a:pt x="201" y="289"/>
                        </a:lnTo>
                        <a:lnTo>
                          <a:pt x="198" y="279"/>
                        </a:lnTo>
                        <a:lnTo>
                          <a:pt x="189" y="284"/>
                        </a:lnTo>
                        <a:lnTo>
                          <a:pt x="183" y="286"/>
                        </a:lnTo>
                        <a:lnTo>
                          <a:pt x="178" y="282"/>
                        </a:lnTo>
                        <a:lnTo>
                          <a:pt x="179" y="272"/>
                        </a:lnTo>
                        <a:lnTo>
                          <a:pt x="188" y="279"/>
                        </a:lnTo>
                        <a:lnTo>
                          <a:pt x="188" y="261"/>
                        </a:lnTo>
                        <a:lnTo>
                          <a:pt x="179" y="257"/>
                        </a:lnTo>
                        <a:lnTo>
                          <a:pt x="163" y="256"/>
                        </a:lnTo>
                        <a:lnTo>
                          <a:pt x="159" y="279"/>
                        </a:lnTo>
                        <a:lnTo>
                          <a:pt x="153" y="286"/>
                        </a:lnTo>
                        <a:lnTo>
                          <a:pt x="139" y="286"/>
                        </a:lnTo>
                        <a:lnTo>
                          <a:pt x="131" y="274"/>
                        </a:lnTo>
                        <a:lnTo>
                          <a:pt x="126" y="271"/>
                        </a:lnTo>
                        <a:lnTo>
                          <a:pt x="123" y="266"/>
                        </a:lnTo>
                        <a:lnTo>
                          <a:pt x="119" y="276"/>
                        </a:lnTo>
                        <a:lnTo>
                          <a:pt x="121" y="284"/>
                        </a:lnTo>
                        <a:lnTo>
                          <a:pt x="124" y="295"/>
                        </a:lnTo>
                        <a:lnTo>
                          <a:pt x="141" y="295"/>
                        </a:lnTo>
                        <a:lnTo>
                          <a:pt x="144" y="299"/>
                        </a:lnTo>
                        <a:lnTo>
                          <a:pt x="133" y="315"/>
                        </a:lnTo>
                        <a:lnTo>
                          <a:pt x="126" y="315"/>
                        </a:lnTo>
                        <a:lnTo>
                          <a:pt x="116" y="295"/>
                        </a:lnTo>
                        <a:lnTo>
                          <a:pt x="116" y="307"/>
                        </a:lnTo>
                        <a:lnTo>
                          <a:pt x="116" y="319"/>
                        </a:lnTo>
                        <a:lnTo>
                          <a:pt x="106" y="325"/>
                        </a:lnTo>
                        <a:lnTo>
                          <a:pt x="108" y="335"/>
                        </a:lnTo>
                        <a:lnTo>
                          <a:pt x="123" y="342"/>
                        </a:lnTo>
                        <a:lnTo>
                          <a:pt x="113" y="355"/>
                        </a:lnTo>
                        <a:lnTo>
                          <a:pt x="108" y="364"/>
                        </a:lnTo>
                        <a:lnTo>
                          <a:pt x="104" y="370"/>
                        </a:lnTo>
                        <a:lnTo>
                          <a:pt x="128" y="369"/>
                        </a:lnTo>
                        <a:lnTo>
                          <a:pt x="128" y="379"/>
                        </a:lnTo>
                        <a:lnTo>
                          <a:pt x="124" y="385"/>
                        </a:lnTo>
                        <a:lnTo>
                          <a:pt x="133" y="397"/>
                        </a:lnTo>
                        <a:lnTo>
                          <a:pt x="136" y="397"/>
                        </a:lnTo>
                        <a:lnTo>
                          <a:pt x="138" y="403"/>
                        </a:lnTo>
                        <a:lnTo>
                          <a:pt x="128" y="410"/>
                        </a:lnTo>
                        <a:lnTo>
                          <a:pt x="126" y="423"/>
                        </a:lnTo>
                        <a:lnTo>
                          <a:pt x="126" y="433"/>
                        </a:lnTo>
                        <a:lnTo>
                          <a:pt x="128" y="442"/>
                        </a:lnTo>
                        <a:lnTo>
                          <a:pt x="124" y="452"/>
                        </a:lnTo>
                        <a:lnTo>
                          <a:pt x="131" y="458"/>
                        </a:lnTo>
                        <a:lnTo>
                          <a:pt x="123" y="458"/>
                        </a:lnTo>
                        <a:lnTo>
                          <a:pt x="118" y="470"/>
                        </a:lnTo>
                        <a:lnTo>
                          <a:pt x="103" y="470"/>
                        </a:lnTo>
                        <a:lnTo>
                          <a:pt x="101" y="478"/>
                        </a:lnTo>
                        <a:lnTo>
                          <a:pt x="91" y="475"/>
                        </a:lnTo>
                        <a:lnTo>
                          <a:pt x="80" y="485"/>
                        </a:lnTo>
                        <a:lnTo>
                          <a:pt x="80" y="495"/>
                        </a:lnTo>
                        <a:lnTo>
                          <a:pt x="73" y="498"/>
                        </a:lnTo>
                        <a:lnTo>
                          <a:pt x="75" y="506"/>
                        </a:lnTo>
                        <a:lnTo>
                          <a:pt x="86" y="510"/>
                        </a:lnTo>
                        <a:lnTo>
                          <a:pt x="95" y="508"/>
                        </a:lnTo>
                        <a:lnTo>
                          <a:pt x="99" y="518"/>
                        </a:lnTo>
                        <a:lnTo>
                          <a:pt x="98" y="523"/>
                        </a:lnTo>
                        <a:lnTo>
                          <a:pt x="93" y="518"/>
                        </a:lnTo>
                        <a:lnTo>
                          <a:pt x="83" y="523"/>
                        </a:lnTo>
                        <a:lnTo>
                          <a:pt x="71" y="533"/>
                        </a:lnTo>
                        <a:lnTo>
                          <a:pt x="55" y="535"/>
                        </a:lnTo>
                        <a:lnTo>
                          <a:pt x="50" y="531"/>
                        </a:lnTo>
                        <a:lnTo>
                          <a:pt x="43" y="540"/>
                        </a:lnTo>
                        <a:lnTo>
                          <a:pt x="53" y="558"/>
                        </a:lnTo>
                        <a:lnTo>
                          <a:pt x="66" y="560"/>
                        </a:lnTo>
                        <a:lnTo>
                          <a:pt x="65" y="571"/>
                        </a:lnTo>
                        <a:lnTo>
                          <a:pt x="55" y="580"/>
                        </a:lnTo>
                        <a:lnTo>
                          <a:pt x="50" y="600"/>
                        </a:lnTo>
                        <a:lnTo>
                          <a:pt x="33" y="600"/>
                        </a:lnTo>
                        <a:lnTo>
                          <a:pt x="21" y="610"/>
                        </a:lnTo>
                        <a:lnTo>
                          <a:pt x="5" y="606"/>
                        </a:lnTo>
                        <a:lnTo>
                          <a:pt x="1" y="616"/>
                        </a:lnTo>
                        <a:lnTo>
                          <a:pt x="6" y="618"/>
                        </a:lnTo>
                        <a:lnTo>
                          <a:pt x="10" y="623"/>
                        </a:lnTo>
                        <a:lnTo>
                          <a:pt x="23" y="618"/>
                        </a:lnTo>
                        <a:lnTo>
                          <a:pt x="26" y="624"/>
                        </a:lnTo>
                        <a:lnTo>
                          <a:pt x="35" y="624"/>
                        </a:lnTo>
                        <a:lnTo>
                          <a:pt x="30" y="636"/>
                        </a:lnTo>
                        <a:lnTo>
                          <a:pt x="21" y="641"/>
                        </a:lnTo>
                        <a:lnTo>
                          <a:pt x="15" y="634"/>
                        </a:lnTo>
                        <a:lnTo>
                          <a:pt x="8" y="633"/>
                        </a:lnTo>
                        <a:lnTo>
                          <a:pt x="5" y="643"/>
                        </a:lnTo>
                        <a:lnTo>
                          <a:pt x="5" y="648"/>
                        </a:lnTo>
                        <a:lnTo>
                          <a:pt x="15" y="661"/>
                        </a:lnTo>
                        <a:lnTo>
                          <a:pt x="13" y="673"/>
                        </a:lnTo>
                        <a:lnTo>
                          <a:pt x="13" y="686"/>
                        </a:lnTo>
                        <a:lnTo>
                          <a:pt x="6" y="689"/>
                        </a:lnTo>
                        <a:lnTo>
                          <a:pt x="0" y="691"/>
                        </a:lnTo>
                        <a:lnTo>
                          <a:pt x="0" y="701"/>
                        </a:lnTo>
                        <a:lnTo>
                          <a:pt x="8" y="696"/>
                        </a:lnTo>
                        <a:lnTo>
                          <a:pt x="16" y="699"/>
                        </a:lnTo>
                        <a:lnTo>
                          <a:pt x="23" y="704"/>
                        </a:lnTo>
                        <a:lnTo>
                          <a:pt x="31" y="698"/>
                        </a:lnTo>
                        <a:lnTo>
                          <a:pt x="33" y="694"/>
                        </a:lnTo>
                        <a:lnTo>
                          <a:pt x="41" y="688"/>
                        </a:lnTo>
                        <a:lnTo>
                          <a:pt x="48" y="684"/>
                        </a:lnTo>
                        <a:lnTo>
                          <a:pt x="58" y="684"/>
                        </a:lnTo>
                        <a:lnTo>
                          <a:pt x="56" y="693"/>
                        </a:lnTo>
                        <a:lnTo>
                          <a:pt x="61" y="698"/>
                        </a:lnTo>
                        <a:lnTo>
                          <a:pt x="68" y="699"/>
                        </a:lnTo>
                        <a:lnTo>
                          <a:pt x="65" y="719"/>
                        </a:lnTo>
                        <a:lnTo>
                          <a:pt x="60" y="729"/>
                        </a:lnTo>
                        <a:lnTo>
                          <a:pt x="68" y="737"/>
                        </a:lnTo>
                        <a:lnTo>
                          <a:pt x="91" y="746"/>
                        </a:lnTo>
                        <a:lnTo>
                          <a:pt x="104" y="747"/>
                        </a:lnTo>
                        <a:lnTo>
                          <a:pt x="109" y="744"/>
                        </a:lnTo>
                        <a:lnTo>
                          <a:pt x="124" y="751"/>
                        </a:lnTo>
                        <a:lnTo>
                          <a:pt x="136" y="761"/>
                        </a:lnTo>
                        <a:lnTo>
                          <a:pt x="143" y="774"/>
                        </a:lnTo>
                        <a:lnTo>
                          <a:pt x="171" y="784"/>
                        </a:lnTo>
                        <a:lnTo>
                          <a:pt x="186" y="782"/>
                        </a:lnTo>
                        <a:lnTo>
                          <a:pt x="191" y="777"/>
                        </a:lnTo>
                        <a:lnTo>
                          <a:pt x="201" y="777"/>
                        </a:lnTo>
                        <a:lnTo>
                          <a:pt x="214" y="782"/>
                        </a:lnTo>
                        <a:lnTo>
                          <a:pt x="251" y="782"/>
                        </a:lnTo>
                        <a:lnTo>
                          <a:pt x="262" y="787"/>
                        </a:lnTo>
                        <a:lnTo>
                          <a:pt x="274" y="786"/>
                        </a:lnTo>
                        <a:lnTo>
                          <a:pt x="277" y="801"/>
                        </a:lnTo>
                        <a:lnTo>
                          <a:pt x="272" y="816"/>
                        </a:lnTo>
                        <a:lnTo>
                          <a:pt x="279" y="822"/>
                        </a:lnTo>
                        <a:lnTo>
                          <a:pt x="297" y="829"/>
                        </a:lnTo>
                        <a:lnTo>
                          <a:pt x="316" y="826"/>
                        </a:lnTo>
                        <a:lnTo>
                          <a:pt x="324" y="811"/>
                        </a:lnTo>
                        <a:lnTo>
                          <a:pt x="344" y="814"/>
                        </a:lnTo>
                        <a:lnTo>
                          <a:pt x="349" y="801"/>
                        </a:lnTo>
                        <a:lnTo>
                          <a:pt x="344" y="796"/>
                        </a:lnTo>
                        <a:lnTo>
                          <a:pt x="347" y="789"/>
                        </a:lnTo>
                        <a:lnTo>
                          <a:pt x="352" y="782"/>
                        </a:lnTo>
                        <a:lnTo>
                          <a:pt x="360" y="782"/>
                        </a:lnTo>
                        <a:lnTo>
                          <a:pt x="367" y="771"/>
                        </a:lnTo>
                        <a:lnTo>
                          <a:pt x="367" y="769"/>
                        </a:lnTo>
                        <a:lnTo>
                          <a:pt x="359" y="766"/>
                        </a:lnTo>
                        <a:lnTo>
                          <a:pt x="360" y="759"/>
                        </a:lnTo>
                        <a:lnTo>
                          <a:pt x="370" y="752"/>
                        </a:lnTo>
                        <a:lnTo>
                          <a:pt x="382" y="751"/>
                        </a:lnTo>
                        <a:lnTo>
                          <a:pt x="387" y="754"/>
                        </a:lnTo>
                        <a:lnTo>
                          <a:pt x="399" y="747"/>
                        </a:lnTo>
                        <a:lnTo>
                          <a:pt x="409" y="736"/>
                        </a:lnTo>
                        <a:lnTo>
                          <a:pt x="417" y="737"/>
                        </a:lnTo>
                        <a:lnTo>
                          <a:pt x="420" y="744"/>
                        </a:lnTo>
                        <a:lnTo>
                          <a:pt x="434" y="736"/>
                        </a:lnTo>
                        <a:lnTo>
                          <a:pt x="445" y="736"/>
                        </a:lnTo>
                        <a:lnTo>
                          <a:pt x="457" y="731"/>
                        </a:lnTo>
                        <a:lnTo>
                          <a:pt x="462" y="741"/>
                        </a:lnTo>
                        <a:lnTo>
                          <a:pt x="470" y="751"/>
                        </a:lnTo>
                        <a:lnTo>
                          <a:pt x="470" y="761"/>
                        </a:lnTo>
                        <a:lnTo>
                          <a:pt x="473" y="764"/>
                        </a:lnTo>
                        <a:lnTo>
                          <a:pt x="470" y="769"/>
                        </a:lnTo>
                        <a:lnTo>
                          <a:pt x="462" y="764"/>
                        </a:lnTo>
                        <a:lnTo>
                          <a:pt x="452" y="769"/>
                        </a:lnTo>
                        <a:lnTo>
                          <a:pt x="450" y="779"/>
                        </a:lnTo>
                        <a:lnTo>
                          <a:pt x="458" y="786"/>
                        </a:lnTo>
                        <a:lnTo>
                          <a:pt x="468" y="787"/>
                        </a:lnTo>
                        <a:lnTo>
                          <a:pt x="472" y="789"/>
                        </a:lnTo>
                        <a:lnTo>
                          <a:pt x="480" y="787"/>
                        </a:lnTo>
                        <a:lnTo>
                          <a:pt x="485" y="791"/>
                        </a:lnTo>
                        <a:lnTo>
                          <a:pt x="487" y="794"/>
                        </a:lnTo>
                        <a:lnTo>
                          <a:pt x="497" y="789"/>
                        </a:lnTo>
                        <a:lnTo>
                          <a:pt x="508" y="786"/>
                        </a:lnTo>
                        <a:lnTo>
                          <a:pt x="515" y="789"/>
                        </a:lnTo>
                        <a:lnTo>
                          <a:pt x="523" y="787"/>
                        </a:lnTo>
                        <a:lnTo>
                          <a:pt x="535" y="781"/>
                        </a:lnTo>
                        <a:lnTo>
                          <a:pt x="550" y="774"/>
                        </a:lnTo>
                        <a:lnTo>
                          <a:pt x="563" y="761"/>
                        </a:lnTo>
                        <a:lnTo>
                          <a:pt x="585" y="761"/>
                        </a:lnTo>
                        <a:lnTo>
                          <a:pt x="585" y="769"/>
                        </a:lnTo>
                        <a:lnTo>
                          <a:pt x="590" y="771"/>
                        </a:lnTo>
                        <a:lnTo>
                          <a:pt x="598" y="771"/>
                        </a:lnTo>
                        <a:lnTo>
                          <a:pt x="610" y="777"/>
                        </a:lnTo>
                        <a:lnTo>
                          <a:pt x="635" y="779"/>
                        </a:lnTo>
                        <a:lnTo>
                          <a:pt x="655" y="776"/>
                        </a:lnTo>
                        <a:lnTo>
                          <a:pt x="650" y="769"/>
                        </a:lnTo>
                        <a:lnTo>
                          <a:pt x="653" y="762"/>
                        </a:lnTo>
                        <a:lnTo>
                          <a:pt x="658" y="759"/>
                        </a:lnTo>
                        <a:lnTo>
                          <a:pt x="676" y="759"/>
                        </a:lnTo>
                        <a:lnTo>
                          <a:pt x="683" y="754"/>
                        </a:lnTo>
                        <a:lnTo>
                          <a:pt x="691" y="751"/>
                        </a:lnTo>
                        <a:lnTo>
                          <a:pt x="691" y="742"/>
                        </a:lnTo>
                        <a:lnTo>
                          <a:pt x="704" y="744"/>
                        </a:lnTo>
                        <a:lnTo>
                          <a:pt x="713" y="751"/>
                        </a:lnTo>
                        <a:lnTo>
                          <a:pt x="728" y="751"/>
                        </a:lnTo>
                        <a:lnTo>
                          <a:pt x="734" y="761"/>
                        </a:lnTo>
                        <a:lnTo>
                          <a:pt x="733" y="769"/>
                        </a:lnTo>
                        <a:lnTo>
                          <a:pt x="741" y="772"/>
                        </a:lnTo>
                        <a:lnTo>
                          <a:pt x="751" y="771"/>
                        </a:lnTo>
                        <a:lnTo>
                          <a:pt x="751" y="766"/>
                        </a:lnTo>
                        <a:lnTo>
                          <a:pt x="759" y="762"/>
                        </a:lnTo>
                        <a:lnTo>
                          <a:pt x="768" y="762"/>
                        </a:lnTo>
                        <a:lnTo>
                          <a:pt x="773" y="771"/>
                        </a:lnTo>
                        <a:lnTo>
                          <a:pt x="781" y="774"/>
                        </a:lnTo>
                        <a:lnTo>
                          <a:pt x="789" y="767"/>
                        </a:lnTo>
                        <a:lnTo>
                          <a:pt x="801" y="769"/>
                        </a:lnTo>
                        <a:lnTo>
                          <a:pt x="814" y="761"/>
                        </a:lnTo>
                        <a:lnTo>
                          <a:pt x="826" y="756"/>
                        </a:lnTo>
                        <a:lnTo>
                          <a:pt x="837" y="764"/>
                        </a:lnTo>
                        <a:lnTo>
                          <a:pt x="847" y="777"/>
                        </a:lnTo>
                        <a:lnTo>
                          <a:pt x="854" y="786"/>
                        </a:lnTo>
                        <a:lnTo>
                          <a:pt x="856" y="792"/>
                        </a:lnTo>
                        <a:lnTo>
                          <a:pt x="862" y="789"/>
                        </a:lnTo>
                        <a:lnTo>
                          <a:pt x="871" y="794"/>
                        </a:lnTo>
                        <a:lnTo>
                          <a:pt x="879" y="799"/>
                        </a:lnTo>
                        <a:lnTo>
                          <a:pt x="889" y="799"/>
                        </a:lnTo>
                        <a:lnTo>
                          <a:pt x="895" y="782"/>
                        </a:lnTo>
                        <a:lnTo>
                          <a:pt x="894" y="756"/>
                        </a:lnTo>
                        <a:lnTo>
                          <a:pt x="895" y="741"/>
                        </a:lnTo>
                        <a:lnTo>
                          <a:pt x="907" y="736"/>
                        </a:lnTo>
                        <a:lnTo>
                          <a:pt x="912" y="724"/>
                        </a:lnTo>
                        <a:lnTo>
                          <a:pt x="909" y="709"/>
                        </a:lnTo>
                        <a:lnTo>
                          <a:pt x="915" y="699"/>
                        </a:lnTo>
                        <a:lnTo>
                          <a:pt x="915" y="693"/>
                        </a:lnTo>
                        <a:lnTo>
                          <a:pt x="919" y="686"/>
                        </a:lnTo>
                        <a:lnTo>
                          <a:pt x="925" y="693"/>
                        </a:lnTo>
                        <a:lnTo>
                          <a:pt x="929" y="686"/>
                        </a:lnTo>
                        <a:lnTo>
                          <a:pt x="932" y="673"/>
                        </a:lnTo>
                        <a:lnTo>
                          <a:pt x="939" y="664"/>
                        </a:lnTo>
                        <a:lnTo>
                          <a:pt x="944" y="658"/>
                        </a:lnTo>
                        <a:lnTo>
                          <a:pt x="944" y="644"/>
                        </a:lnTo>
                        <a:lnTo>
                          <a:pt x="950" y="634"/>
                        </a:lnTo>
                        <a:lnTo>
                          <a:pt x="960" y="634"/>
                        </a:lnTo>
                        <a:lnTo>
                          <a:pt x="972" y="631"/>
                        </a:lnTo>
                        <a:lnTo>
                          <a:pt x="975" y="628"/>
                        </a:lnTo>
                        <a:lnTo>
                          <a:pt x="984" y="638"/>
                        </a:lnTo>
                        <a:lnTo>
                          <a:pt x="995" y="631"/>
                        </a:lnTo>
                        <a:lnTo>
                          <a:pt x="1012" y="623"/>
                        </a:lnTo>
                        <a:lnTo>
                          <a:pt x="1018" y="621"/>
                        </a:lnTo>
                        <a:lnTo>
                          <a:pt x="1025" y="600"/>
                        </a:lnTo>
                        <a:lnTo>
                          <a:pt x="1035" y="590"/>
                        </a:lnTo>
                        <a:lnTo>
                          <a:pt x="1032" y="576"/>
                        </a:lnTo>
                        <a:lnTo>
                          <a:pt x="1040" y="575"/>
                        </a:lnTo>
                        <a:lnTo>
                          <a:pt x="1053" y="571"/>
                        </a:lnTo>
                        <a:lnTo>
                          <a:pt x="1055" y="560"/>
                        </a:lnTo>
                        <a:lnTo>
                          <a:pt x="1053" y="555"/>
                        </a:lnTo>
                        <a:lnTo>
                          <a:pt x="1060" y="548"/>
                        </a:lnTo>
                        <a:lnTo>
                          <a:pt x="1063" y="546"/>
                        </a:lnTo>
                        <a:lnTo>
                          <a:pt x="1067" y="550"/>
                        </a:lnTo>
                        <a:lnTo>
                          <a:pt x="1072" y="541"/>
                        </a:lnTo>
                        <a:lnTo>
                          <a:pt x="1077" y="543"/>
                        </a:lnTo>
                        <a:lnTo>
                          <a:pt x="1083" y="538"/>
                        </a:lnTo>
                        <a:lnTo>
                          <a:pt x="1080" y="530"/>
                        </a:lnTo>
                        <a:lnTo>
                          <a:pt x="1082" y="521"/>
                        </a:lnTo>
                        <a:lnTo>
                          <a:pt x="1090" y="515"/>
                        </a:lnTo>
                        <a:lnTo>
                          <a:pt x="1083" y="510"/>
                        </a:lnTo>
                        <a:lnTo>
                          <a:pt x="1073" y="503"/>
                        </a:lnTo>
                        <a:lnTo>
                          <a:pt x="1073" y="503"/>
                        </a:lnTo>
                        <a:lnTo>
                          <a:pt x="1073" y="503"/>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31" name="Freeform 1122">
                    <a:extLst>
                      <a:ext uri="{FF2B5EF4-FFF2-40B4-BE49-F238E27FC236}">
                        <a16:creationId xmlns:a16="http://schemas.microsoft.com/office/drawing/2014/main" id="{46B54643-68E1-4814-AD35-195791DAE622}"/>
                      </a:ext>
                    </a:extLst>
                  </p:cNvPr>
                  <p:cNvSpPr>
                    <a:spLocks/>
                  </p:cNvSpPr>
                  <p:nvPr/>
                </p:nvSpPr>
                <p:spPr bwMode="auto">
                  <a:xfrm>
                    <a:off x="2924620" y="3917731"/>
                    <a:ext cx="1390073" cy="1157357"/>
                  </a:xfrm>
                  <a:custGeom>
                    <a:avLst/>
                    <a:gdLst>
                      <a:gd name="T0" fmla="*/ 742 w 1117"/>
                      <a:gd name="T1" fmla="*/ 405 h 930"/>
                      <a:gd name="T2" fmla="*/ 703 w 1117"/>
                      <a:gd name="T3" fmla="*/ 414 h 930"/>
                      <a:gd name="T4" fmla="*/ 702 w 1117"/>
                      <a:gd name="T5" fmla="*/ 469 h 930"/>
                      <a:gd name="T6" fmla="*/ 665 w 1117"/>
                      <a:gd name="T7" fmla="*/ 525 h 930"/>
                      <a:gd name="T8" fmla="*/ 632 w 1117"/>
                      <a:gd name="T9" fmla="*/ 533 h 930"/>
                      <a:gd name="T10" fmla="*/ 599 w 1117"/>
                      <a:gd name="T11" fmla="*/ 575 h 930"/>
                      <a:gd name="T12" fmla="*/ 562 w 1117"/>
                      <a:gd name="T13" fmla="*/ 608 h 930"/>
                      <a:gd name="T14" fmla="*/ 524 w 1117"/>
                      <a:gd name="T15" fmla="*/ 636 h 930"/>
                      <a:gd name="T16" fmla="*/ 496 w 1117"/>
                      <a:gd name="T17" fmla="*/ 658 h 930"/>
                      <a:gd name="T18" fmla="*/ 472 w 1117"/>
                      <a:gd name="T19" fmla="*/ 681 h 930"/>
                      <a:gd name="T20" fmla="*/ 408 w 1117"/>
                      <a:gd name="T21" fmla="*/ 673 h 930"/>
                      <a:gd name="T22" fmla="*/ 398 w 1117"/>
                      <a:gd name="T23" fmla="*/ 721 h 930"/>
                      <a:gd name="T24" fmla="*/ 346 w 1117"/>
                      <a:gd name="T25" fmla="*/ 738 h 930"/>
                      <a:gd name="T26" fmla="*/ 314 w 1117"/>
                      <a:gd name="T27" fmla="*/ 736 h 930"/>
                      <a:gd name="T28" fmla="*/ 256 w 1117"/>
                      <a:gd name="T29" fmla="*/ 766 h 930"/>
                      <a:gd name="T30" fmla="*/ 220 w 1117"/>
                      <a:gd name="T31" fmla="*/ 786 h 930"/>
                      <a:gd name="T32" fmla="*/ 201 w 1117"/>
                      <a:gd name="T33" fmla="*/ 821 h 930"/>
                      <a:gd name="T34" fmla="*/ 213 w 1117"/>
                      <a:gd name="T35" fmla="*/ 866 h 930"/>
                      <a:gd name="T36" fmla="*/ 157 w 1117"/>
                      <a:gd name="T37" fmla="*/ 930 h 930"/>
                      <a:gd name="T38" fmla="*/ 112 w 1117"/>
                      <a:gd name="T39" fmla="*/ 914 h 930"/>
                      <a:gd name="T40" fmla="*/ 83 w 1117"/>
                      <a:gd name="T41" fmla="*/ 857 h 930"/>
                      <a:gd name="T42" fmla="*/ 67 w 1117"/>
                      <a:gd name="T43" fmla="*/ 778 h 930"/>
                      <a:gd name="T44" fmla="*/ 62 w 1117"/>
                      <a:gd name="T45" fmla="*/ 714 h 930"/>
                      <a:gd name="T46" fmla="*/ 55 w 1117"/>
                      <a:gd name="T47" fmla="*/ 668 h 930"/>
                      <a:gd name="T48" fmla="*/ 47 w 1117"/>
                      <a:gd name="T49" fmla="*/ 630 h 930"/>
                      <a:gd name="T50" fmla="*/ 32 w 1117"/>
                      <a:gd name="T51" fmla="*/ 548 h 930"/>
                      <a:gd name="T52" fmla="*/ 24 w 1117"/>
                      <a:gd name="T53" fmla="*/ 495 h 930"/>
                      <a:gd name="T54" fmla="*/ 25 w 1117"/>
                      <a:gd name="T55" fmla="*/ 445 h 930"/>
                      <a:gd name="T56" fmla="*/ 10 w 1117"/>
                      <a:gd name="T57" fmla="*/ 405 h 930"/>
                      <a:gd name="T58" fmla="*/ 12 w 1117"/>
                      <a:gd name="T59" fmla="*/ 341 h 930"/>
                      <a:gd name="T60" fmla="*/ 2 w 1117"/>
                      <a:gd name="T61" fmla="*/ 297 h 930"/>
                      <a:gd name="T62" fmla="*/ 24 w 1117"/>
                      <a:gd name="T63" fmla="*/ 256 h 930"/>
                      <a:gd name="T64" fmla="*/ 67 w 1117"/>
                      <a:gd name="T65" fmla="*/ 274 h 930"/>
                      <a:gd name="T66" fmla="*/ 117 w 1117"/>
                      <a:gd name="T67" fmla="*/ 211 h 930"/>
                      <a:gd name="T68" fmla="*/ 148 w 1117"/>
                      <a:gd name="T69" fmla="*/ 204 h 930"/>
                      <a:gd name="T70" fmla="*/ 163 w 1117"/>
                      <a:gd name="T71" fmla="*/ 138 h 930"/>
                      <a:gd name="T72" fmla="*/ 180 w 1117"/>
                      <a:gd name="T73" fmla="*/ 96 h 930"/>
                      <a:gd name="T74" fmla="*/ 223 w 1117"/>
                      <a:gd name="T75" fmla="*/ 73 h 930"/>
                      <a:gd name="T76" fmla="*/ 177 w 1117"/>
                      <a:gd name="T77" fmla="*/ 53 h 930"/>
                      <a:gd name="T78" fmla="*/ 233 w 1117"/>
                      <a:gd name="T79" fmla="*/ 12 h 930"/>
                      <a:gd name="T80" fmla="*/ 306 w 1117"/>
                      <a:gd name="T81" fmla="*/ 66 h 930"/>
                      <a:gd name="T82" fmla="*/ 414 w 1117"/>
                      <a:gd name="T83" fmla="*/ 100 h 930"/>
                      <a:gd name="T84" fmla="*/ 524 w 1117"/>
                      <a:gd name="T85" fmla="*/ 131 h 930"/>
                      <a:gd name="T86" fmla="*/ 570 w 1117"/>
                      <a:gd name="T87" fmla="*/ 70 h 930"/>
                      <a:gd name="T88" fmla="*/ 653 w 1117"/>
                      <a:gd name="T89" fmla="*/ 48 h 930"/>
                      <a:gd name="T90" fmla="*/ 667 w 1117"/>
                      <a:gd name="T91" fmla="*/ 106 h 930"/>
                      <a:gd name="T92" fmla="*/ 750 w 1117"/>
                      <a:gd name="T93" fmla="*/ 91 h 930"/>
                      <a:gd name="T94" fmla="*/ 846 w 1117"/>
                      <a:gd name="T95" fmla="*/ 98 h 930"/>
                      <a:gd name="T96" fmla="*/ 913 w 1117"/>
                      <a:gd name="T97" fmla="*/ 70 h 930"/>
                      <a:gd name="T98" fmla="*/ 973 w 1117"/>
                      <a:gd name="T99" fmla="*/ 90 h 930"/>
                      <a:gd name="T100" fmla="*/ 1062 w 1117"/>
                      <a:gd name="T101" fmla="*/ 108 h 930"/>
                      <a:gd name="T102" fmla="*/ 1062 w 1117"/>
                      <a:gd name="T103" fmla="*/ 176 h 930"/>
                      <a:gd name="T104" fmla="*/ 1074 w 1117"/>
                      <a:gd name="T105" fmla="*/ 249 h 930"/>
                      <a:gd name="T106" fmla="*/ 1066 w 1117"/>
                      <a:gd name="T107" fmla="*/ 289 h 930"/>
                      <a:gd name="T108" fmla="*/ 1066 w 1117"/>
                      <a:gd name="T109" fmla="*/ 331 h 930"/>
                      <a:gd name="T110" fmla="*/ 1087 w 1117"/>
                      <a:gd name="T111" fmla="*/ 367 h 930"/>
                      <a:gd name="T112" fmla="*/ 1071 w 1117"/>
                      <a:gd name="T113" fmla="*/ 404 h 930"/>
                      <a:gd name="T114" fmla="*/ 999 w 1117"/>
                      <a:gd name="T115" fmla="*/ 492 h 930"/>
                      <a:gd name="T116" fmla="*/ 991 w 1117"/>
                      <a:gd name="T117" fmla="*/ 412 h 930"/>
                      <a:gd name="T118" fmla="*/ 909 w 1117"/>
                      <a:gd name="T119" fmla="*/ 374 h 930"/>
                      <a:gd name="T120" fmla="*/ 843 w 1117"/>
                      <a:gd name="T121" fmla="*/ 364 h 930"/>
                      <a:gd name="T122" fmla="*/ 765 w 1117"/>
                      <a:gd name="T123" fmla="*/ 332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7" h="930">
                        <a:moveTo>
                          <a:pt x="765" y="367"/>
                        </a:moveTo>
                        <a:lnTo>
                          <a:pt x="760" y="377"/>
                        </a:lnTo>
                        <a:lnTo>
                          <a:pt x="765" y="384"/>
                        </a:lnTo>
                        <a:lnTo>
                          <a:pt x="763" y="387"/>
                        </a:lnTo>
                        <a:lnTo>
                          <a:pt x="758" y="394"/>
                        </a:lnTo>
                        <a:lnTo>
                          <a:pt x="750" y="395"/>
                        </a:lnTo>
                        <a:lnTo>
                          <a:pt x="743" y="392"/>
                        </a:lnTo>
                        <a:lnTo>
                          <a:pt x="740" y="397"/>
                        </a:lnTo>
                        <a:lnTo>
                          <a:pt x="742" y="405"/>
                        </a:lnTo>
                        <a:lnTo>
                          <a:pt x="747" y="414"/>
                        </a:lnTo>
                        <a:lnTo>
                          <a:pt x="747" y="419"/>
                        </a:lnTo>
                        <a:lnTo>
                          <a:pt x="733" y="420"/>
                        </a:lnTo>
                        <a:lnTo>
                          <a:pt x="728" y="415"/>
                        </a:lnTo>
                        <a:lnTo>
                          <a:pt x="722" y="410"/>
                        </a:lnTo>
                        <a:lnTo>
                          <a:pt x="722" y="407"/>
                        </a:lnTo>
                        <a:lnTo>
                          <a:pt x="710" y="405"/>
                        </a:lnTo>
                        <a:lnTo>
                          <a:pt x="703" y="409"/>
                        </a:lnTo>
                        <a:lnTo>
                          <a:pt x="703" y="414"/>
                        </a:lnTo>
                        <a:lnTo>
                          <a:pt x="710" y="419"/>
                        </a:lnTo>
                        <a:lnTo>
                          <a:pt x="700" y="422"/>
                        </a:lnTo>
                        <a:lnTo>
                          <a:pt x="703" y="429"/>
                        </a:lnTo>
                        <a:lnTo>
                          <a:pt x="703" y="434"/>
                        </a:lnTo>
                        <a:lnTo>
                          <a:pt x="695" y="440"/>
                        </a:lnTo>
                        <a:lnTo>
                          <a:pt x="688" y="444"/>
                        </a:lnTo>
                        <a:lnTo>
                          <a:pt x="690" y="452"/>
                        </a:lnTo>
                        <a:lnTo>
                          <a:pt x="700" y="460"/>
                        </a:lnTo>
                        <a:lnTo>
                          <a:pt x="702" y="469"/>
                        </a:lnTo>
                        <a:lnTo>
                          <a:pt x="703" y="477"/>
                        </a:lnTo>
                        <a:lnTo>
                          <a:pt x="695" y="485"/>
                        </a:lnTo>
                        <a:lnTo>
                          <a:pt x="690" y="498"/>
                        </a:lnTo>
                        <a:lnTo>
                          <a:pt x="690" y="510"/>
                        </a:lnTo>
                        <a:lnTo>
                          <a:pt x="683" y="517"/>
                        </a:lnTo>
                        <a:lnTo>
                          <a:pt x="677" y="515"/>
                        </a:lnTo>
                        <a:lnTo>
                          <a:pt x="670" y="513"/>
                        </a:lnTo>
                        <a:lnTo>
                          <a:pt x="660" y="517"/>
                        </a:lnTo>
                        <a:lnTo>
                          <a:pt x="665" y="525"/>
                        </a:lnTo>
                        <a:lnTo>
                          <a:pt x="658" y="532"/>
                        </a:lnTo>
                        <a:lnTo>
                          <a:pt x="655" y="543"/>
                        </a:lnTo>
                        <a:lnTo>
                          <a:pt x="660" y="550"/>
                        </a:lnTo>
                        <a:lnTo>
                          <a:pt x="650" y="555"/>
                        </a:lnTo>
                        <a:lnTo>
                          <a:pt x="642" y="550"/>
                        </a:lnTo>
                        <a:lnTo>
                          <a:pt x="632" y="552"/>
                        </a:lnTo>
                        <a:lnTo>
                          <a:pt x="638" y="542"/>
                        </a:lnTo>
                        <a:lnTo>
                          <a:pt x="637" y="535"/>
                        </a:lnTo>
                        <a:lnTo>
                          <a:pt x="632" y="533"/>
                        </a:lnTo>
                        <a:lnTo>
                          <a:pt x="624" y="532"/>
                        </a:lnTo>
                        <a:lnTo>
                          <a:pt x="612" y="540"/>
                        </a:lnTo>
                        <a:lnTo>
                          <a:pt x="607" y="545"/>
                        </a:lnTo>
                        <a:lnTo>
                          <a:pt x="604" y="548"/>
                        </a:lnTo>
                        <a:lnTo>
                          <a:pt x="609" y="552"/>
                        </a:lnTo>
                        <a:lnTo>
                          <a:pt x="614" y="555"/>
                        </a:lnTo>
                        <a:lnTo>
                          <a:pt x="605" y="562"/>
                        </a:lnTo>
                        <a:lnTo>
                          <a:pt x="599" y="563"/>
                        </a:lnTo>
                        <a:lnTo>
                          <a:pt x="599" y="575"/>
                        </a:lnTo>
                        <a:lnTo>
                          <a:pt x="587" y="572"/>
                        </a:lnTo>
                        <a:lnTo>
                          <a:pt x="575" y="568"/>
                        </a:lnTo>
                        <a:lnTo>
                          <a:pt x="572" y="572"/>
                        </a:lnTo>
                        <a:lnTo>
                          <a:pt x="569" y="577"/>
                        </a:lnTo>
                        <a:lnTo>
                          <a:pt x="577" y="580"/>
                        </a:lnTo>
                        <a:lnTo>
                          <a:pt x="577" y="590"/>
                        </a:lnTo>
                        <a:lnTo>
                          <a:pt x="567" y="593"/>
                        </a:lnTo>
                        <a:lnTo>
                          <a:pt x="570" y="608"/>
                        </a:lnTo>
                        <a:lnTo>
                          <a:pt x="562" y="608"/>
                        </a:lnTo>
                        <a:lnTo>
                          <a:pt x="554" y="615"/>
                        </a:lnTo>
                        <a:lnTo>
                          <a:pt x="550" y="611"/>
                        </a:lnTo>
                        <a:lnTo>
                          <a:pt x="547" y="608"/>
                        </a:lnTo>
                        <a:lnTo>
                          <a:pt x="547" y="615"/>
                        </a:lnTo>
                        <a:lnTo>
                          <a:pt x="554" y="620"/>
                        </a:lnTo>
                        <a:lnTo>
                          <a:pt x="549" y="630"/>
                        </a:lnTo>
                        <a:lnTo>
                          <a:pt x="540" y="641"/>
                        </a:lnTo>
                        <a:lnTo>
                          <a:pt x="529" y="630"/>
                        </a:lnTo>
                        <a:lnTo>
                          <a:pt x="524" y="636"/>
                        </a:lnTo>
                        <a:lnTo>
                          <a:pt x="521" y="630"/>
                        </a:lnTo>
                        <a:lnTo>
                          <a:pt x="516" y="631"/>
                        </a:lnTo>
                        <a:lnTo>
                          <a:pt x="509" y="636"/>
                        </a:lnTo>
                        <a:lnTo>
                          <a:pt x="509" y="645"/>
                        </a:lnTo>
                        <a:lnTo>
                          <a:pt x="502" y="650"/>
                        </a:lnTo>
                        <a:lnTo>
                          <a:pt x="494" y="650"/>
                        </a:lnTo>
                        <a:lnTo>
                          <a:pt x="487" y="650"/>
                        </a:lnTo>
                        <a:lnTo>
                          <a:pt x="487" y="658"/>
                        </a:lnTo>
                        <a:lnTo>
                          <a:pt x="496" y="658"/>
                        </a:lnTo>
                        <a:lnTo>
                          <a:pt x="486" y="668"/>
                        </a:lnTo>
                        <a:lnTo>
                          <a:pt x="487" y="675"/>
                        </a:lnTo>
                        <a:lnTo>
                          <a:pt x="494" y="676"/>
                        </a:lnTo>
                        <a:lnTo>
                          <a:pt x="496" y="686"/>
                        </a:lnTo>
                        <a:lnTo>
                          <a:pt x="492" y="689"/>
                        </a:lnTo>
                        <a:lnTo>
                          <a:pt x="487" y="686"/>
                        </a:lnTo>
                        <a:lnTo>
                          <a:pt x="481" y="686"/>
                        </a:lnTo>
                        <a:lnTo>
                          <a:pt x="476" y="681"/>
                        </a:lnTo>
                        <a:lnTo>
                          <a:pt x="472" y="681"/>
                        </a:lnTo>
                        <a:lnTo>
                          <a:pt x="466" y="689"/>
                        </a:lnTo>
                        <a:lnTo>
                          <a:pt x="459" y="683"/>
                        </a:lnTo>
                        <a:lnTo>
                          <a:pt x="454" y="688"/>
                        </a:lnTo>
                        <a:lnTo>
                          <a:pt x="449" y="683"/>
                        </a:lnTo>
                        <a:lnTo>
                          <a:pt x="444" y="683"/>
                        </a:lnTo>
                        <a:lnTo>
                          <a:pt x="436" y="689"/>
                        </a:lnTo>
                        <a:lnTo>
                          <a:pt x="424" y="681"/>
                        </a:lnTo>
                        <a:lnTo>
                          <a:pt x="416" y="678"/>
                        </a:lnTo>
                        <a:lnTo>
                          <a:pt x="408" y="673"/>
                        </a:lnTo>
                        <a:lnTo>
                          <a:pt x="399" y="666"/>
                        </a:lnTo>
                        <a:lnTo>
                          <a:pt x="393" y="670"/>
                        </a:lnTo>
                        <a:lnTo>
                          <a:pt x="388" y="683"/>
                        </a:lnTo>
                        <a:lnTo>
                          <a:pt x="389" y="689"/>
                        </a:lnTo>
                        <a:lnTo>
                          <a:pt x="396" y="699"/>
                        </a:lnTo>
                        <a:lnTo>
                          <a:pt x="391" y="706"/>
                        </a:lnTo>
                        <a:lnTo>
                          <a:pt x="388" y="708"/>
                        </a:lnTo>
                        <a:lnTo>
                          <a:pt x="391" y="716"/>
                        </a:lnTo>
                        <a:lnTo>
                          <a:pt x="398" y="721"/>
                        </a:lnTo>
                        <a:lnTo>
                          <a:pt x="393" y="729"/>
                        </a:lnTo>
                        <a:lnTo>
                          <a:pt x="394" y="734"/>
                        </a:lnTo>
                        <a:lnTo>
                          <a:pt x="388" y="739"/>
                        </a:lnTo>
                        <a:lnTo>
                          <a:pt x="383" y="733"/>
                        </a:lnTo>
                        <a:lnTo>
                          <a:pt x="379" y="736"/>
                        </a:lnTo>
                        <a:lnTo>
                          <a:pt x="369" y="741"/>
                        </a:lnTo>
                        <a:lnTo>
                          <a:pt x="364" y="734"/>
                        </a:lnTo>
                        <a:lnTo>
                          <a:pt x="356" y="738"/>
                        </a:lnTo>
                        <a:lnTo>
                          <a:pt x="346" y="738"/>
                        </a:lnTo>
                        <a:lnTo>
                          <a:pt x="341" y="738"/>
                        </a:lnTo>
                        <a:lnTo>
                          <a:pt x="336" y="743"/>
                        </a:lnTo>
                        <a:lnTo>
                          <a:pt x="344" y="748"/>
                        </a:lnTo>
                        <a:lnTo>
                          <a:pt x="339" y="751"/>
                        </a:lnTo>
                        <a:lnTo>
                          <a:pt x="331" y="751"/>
                        </a:lnTo>
                        <a:lnTo>
                          <a:pt x="331" y="756"/>
                        </a:lnTo>
                        <a:lnTo>
                          <a:pt x="326" y="749"/>
                        </a:lnTo>
                        <a:lnTo>
                          <a:pt x="316" y="744"/>
                        </a:lnTo>
                        <a:lnTo>
                          <a:pt x="314" y="736"/>
                        </a:lnTo>
                        <a:lnTo>
                          <a:pt x="306" y="733"/>
                        </a:lnTo>
                        <a:lnTo>
                          <a:pt x="299" y="736"/>
                        </a:lnTo>
                        <a:lnTo>
                          <a:pt x="295" y="738"/>
                        </a:lnTo>
                        <a:lnTo>
                          <a:pt x="295" y="744"/>
                        </a:lnTo>
                        <a:lnTo>
                          <a:pt x="286" y="751"/>
                        </a:lnTo>
                        <a:lnTo>
                          <a:pt x="288" y="763"/>
                        </a:lnTo>
                        <a:lnTo>
                          <a:pt x="283" y="766"/>
                        </a:lnTo>
                        <a:lnTo>
                          <a:pt x="275" y="763"/>
                        </a:lnTo>
                        <a:lnTo>
                          <a:pt x="256" y="766"/>
                        </a:lnTo>
                        <a:lnTo>
                          <a:pt x="253" y="773"/>
                        </a:lnTo>
                        <a:lnTo>
                          <a:pt x="256" y="783"/>
                        </a:lnTo>
                        <a:lnTo>
                          <a:pt x="250" y="788"/>
                        </a:lnTo>
                        <a:lnTo>
                          <a:pt x="241" y="791"/>
                        </a:lnTo>
                        <a:lnTo>
                          <a:pt x="236" y="788"/>
                        </a:lnTo>
                        <a:lnTo>
                          <a:pt x="236" y="781"/>
                        </a:lnTo>
                        <a:lnTo>
                          <a:pt x="228" y="778"/>
                        </a:lnTo>
                        <a:lnTo>
                          <a:pt x="223" y="776"/>
                        </a:lnTo>
                        <a:lnTo>
                          <a:pt x="220" y="786"/>
                        </a:lnTo>
                        <a:lnTo>
                          <a:pt x="211" y="791"/>
                        </a:lnTo>
                        <a:lnTo>
                          <a:pt x="206" y="791"/>
                        </a:lnTo>
                        <a:lnTo>
                          <a:pt x="203" y="796"/>
                        </a:lnTo>
                        <a:lnTo>
                          <a:pt x="195" y="789"/>
                        </a:lnTo>
                        <a:lnTo>
                          <a:pt x="195" y="799"/>
                        </a:lnTo>
                        <a:lnTo>
                          <a:pt x="203" y="801"/>
                        </a:lnTo>
                        <a:lnTo>
                          <a:pt x="203" y="811"/>
                        </a:lnTo>
                        <a:lnTo>
                          <a:pt x="206" y="814"/>
                        </a:lnTo>
                        <a:lnTo>
                          <a:pt x="201" y="821"/>
                        </a:lnTo>
                        <a:lnTo>
                          <a:pt x="203" y="834"/>
                        </a:lnTo>
                        <a:lnTo>
                          <a:pt x="208" y="829"/>
                        </a:lnTo>
                        <a:lnTo>
                          <a:pt x="221" y="837"/>
                        </a:lnTo>
                        <a:lnTo>
                          <a:pt x="226" y="844"/>
                        </a:lnTo>
                        <a:lnTo>
                          <a:pt x="225" y="859"/>
                        </a:lnTo>
                        <a:lnTo>
                          <a:pt x="220" y="861"/>
                        </a:lnTo>
                        <a:lnTo>
                          <a:pt x="211" y="857"/>
                        </a:lnTo>
                        <a:lnTo>
                          <a:pt x="206" y="867"/>
                        </a:lnTo>
                        <a:lnTo>
                          <a:pt x="213" y="866"/>
                        </a:lnTo>
                        <a:lnTo>
                          <a:pt x="220" y="867"/>
                        </a:lnTo>
                        <a:lnTo>
                          <a:pt x="210" y="884"/>
                        </a:lnTo>
                        <a:lnTo>
                          <a:pt x="206" y="901"/>
                        </a:lnTo>
                        <a:lnTo>
                          <a:pt x="198" y="912"/>
                        </a:lnTo>
                        <a:lnTo>
                          <a:pt x="186" y="909"/>
                        </a:lnTo>
                        <a:lnTo>
                          <a:pt x="180" y="904"/>
                        </a:lnTo>
                        <a:lnTo>
                          <a:pt x="172" y="910"/>
                        </a:lnTo>
                        <a:lnTo>
                          <a:pt x="168" y="925"/>
                        </a:lnTo>
                        <a:lnTo>
                          <a:pt x="157" y="930"/>
                        </a:lnTo>
                        <a:lnTo>
                          <a:pt x="148" y="927"/>
                        </a:lnTo>
                        <a:lnTo>
                          <a:pt x="148" y="917"/>
                        </a:lnTo>
                        <a:lnTo>
                          <a:pt x="148" y="914"/>
                        </a:lnTo>
                        <a:lnTo>
                          <a:pt x="142" y="907"/>
                        </a:lnTo>
                        <a:lnTo>
                          <a:pt x="137" y="905"/>
                        </a:lnTo>
                        <a:lnTo>
                          <a:pt x="135" y="901"/>
                        </a:lnTo>
                        <a:lnTo>
                          <a:pt x="130" y="899"/>
                        </a:lnTo>
                        <a:lnTo>
                          <a:pt x="122" y="904"/>
                        </a:lnTo>
                        <a:lnTo>
                          <a:pt x="112" y="914"/>
                        </a:lnTo>
                        <a:lnTo>
                          <a:pt x="108" y="904"/>
                        </a:lnTo>
                        <a:lnTo>
                          <a:pt x="110" y="897"/>
                        </a:lnTo>
                        <a:lnTo>
                          <a:pt x="105" y="891"/>
                        </a:lnTo>
                        <a:lnTo>
                          <a:pt x="103" y="884"/>
                        </a:lnTo>
                        <a:lnTo>
                          <a:pt x="98" y="879"/>
                        </a:lnTo>
                        <a:lnTo>
                          <a:pt x="93" y="876"/>
                        </a:lnTo>
                        <a:lnTo>
                          <a:pt x="88" y="872"/>
                        </a:lnTo>
                        <a:lnTo>
                          <a:pt x="87" y="864"/>
                        </a:lnTo>
                        <a:lnTo>
                          <a:pt x="83" y="857"/>
                        </a:lnTo>
                        <a:lnTo>
                          <a:pt x="87" y="847"/>
                        </a:lnTo>
                        <a:lnTo>
                          <a:pt x="82" y="841"/>
                        </a:lnTo>
                        <a:lnTo>
                          <a:pt x="80" y="829"/>
                        </a:lnTo>
                        <a:lnTo>
                          <a:pt x="72" y="814"/>
                        </a:lnTo>
                        <a:lnTo>
                          <a:pt x="72" y="802"/>
                        </a:lnTo>
                        <a:lnTo>
                          <a:pt x="65" y="793"/>
                        </a:lnTo>
                        <a:lnTo>
                          <a:pt x="67" y="786"/>
                        </a:lnTo>
                        <a:lnTo>
                          <a:pt x="73" y="786"/>
                        </a:lnTo>
                        <a:lnTo>
                          <a:pt x="67" y="778"/>
                        </a:lnTo>
                        <a:lnTo>
                          <a:pt x="72" y="776"/>
                        </a:lnTo>
                        <a:lnTo>
                          <a:pt x="70" y="771"/>
                        </a:lnTo>
                        <a:lnTo>
                          <a:pt x="72" y="768"/>
                        </a:lnTo>
                        <a:lnTo>
                          <a:pt x="67" y="758"/>
                        </a:lnTo>
                        <a:lnTo>
                          <a:pt x="67" y="749"/>
                        </a:lnTo>
                        <a:lnTo>
                          <a:pt x="65" y="736"/>
                        </a:lnTo>
                        <a:lnTo>
                          <a:pt x="65" y="731"/>
                        </a:lnTo>
                        <a:lnTo>
                          <a:pt x="65" y="721"/>
                        </a:lnTo>
                        <a:lnTo>
                          <a:pt x="62" y="714"/>
                        </a:lnTo>
                        <a:lnTo>
                          <a:pt x="67" y="709"/>
                        </a:lnTo>
                        <a:lnTo>
                          <a:pt x="64" y="699"/>
                        </a:lnTo>
                        <a:lnTo>
                          <a:pt x="64" y="694"/>
                        </a:lnTo>
                        <a:lnTo>
                          <a:pt x="59" y="689"/>
                        </a:lnTo>
                        <a:lnTo>
                          <a:pt x="60" y="685"/>
                        </a:lnTo>
                        <a:lnTo>
                          <a:pt x="54" y="676"/>
                        </a:lnTo>
                        <a:lnTo>
                          <a:pt x="65" y="681"/>
                        </a:lnTo>
                        <a:lnTo>
                          <a:pt x="59" y="673"/>
                        </a:lnTo>
                        <a:lnTo>
                          <a:pt x="55" y="668"/>
                        </a:lnTo>
                        <a:lnTo>
                          <a:pt x="50" y="660"/>
                        </a:lnTo>
                        <a:lnTo>
                          <a:pt x="54" y="655"/>
                        </a:lnTo>
                        <a:lnTo>
                          <a:pt x="57" y="646"/>
                        </a:lnTo>
                        <a:lnTo>
                          <a:pt x="50" y="638"/>
                        </a:lnTo>
                        <a:lnTo>
                          <a:pt x="62" y="636"/>
                        </a:lnTo>
                        <a:lnTo>
                          <a:pt x="67" y="635"/>
                        </a:lnTo>
                        <a:lnTo>
                          <a:pt x="62" y="631"/>
                        </a:lnTo>
                        <a:lnTo>
                          <a:pt x="52" y="633"/>
                        </a:lnTo>
                        <a:lnTo>
                          <a:pt x="47" y="630"/>
                        </a:lnTo>
                        <a:lnTo>
                          <a:pt x="49" y="620"/>
                        </a:lnTo>
                        <a:lnTo>
                          <a:pt x="49" y="610"/>
                        </a:lnTo>
                        <a:lnTo>
                          <a:pt x="45" y="601"/>
                        </a:lnTo>
                        <a:lnTo>
                          <a:pt x="45" y="593"/>
                        </a:lnTo>
                        <a:lnTo>
                          <a:pt x="42" y="588"/>
                        </a:lnTo>
                        <a:lnTo>
                          <a:pt x="39" y="581"/>
                        </a:lnTo>
                        <a:lnTo>
                          <a:pt x="40" y="577"/>
                        </a:lnTo>
                        <a:lnTo>
                          <a:pt x="35" y="568"/>
                        </a:lnTo>
                        <a:lnTo>
                          <a:pt x="32" y="548"/>
                        </a:lnTo>
                        <a:lnTo>
                          <a:pt x="29" y="540"/>
                        </a:lnTo>
                        <a:lnTo>
                          <a:pt x="29" y="530"/>
                        </a:lnTo>
                        <a:lnTo>
                          <a:pt x="35" y="540"/>
                        </a:lnTo>
                        <a:lnTo>
                          <a:pt x="35" y="537"/>
                        </a:lnTo>
                        <a:lnTo>
                          <a:pt x="30" y="527"/>
                        </a:lnTo>
                        <a:lnTo>
                          <a:pt x="25" y="522"/>
                        </a:lnTo>
                        <a:lnTo>
                          <a:pt x="25" y="517"/>
                        </a:lnTo>
                        <a:lnTo>
                          <a:pt x="24" y="510"/>
                        </a:lnTo>
                        <a:lnTo>
                          <a:pt x="24" y="495"/>
                        </a:lnTo>
                        <a:lnTo>
                          <a:pt x="30" y="493"/>
                        </a:lnTo>
                        <a:lnTo>
                          <a:pt x="22" y="483"/>
                        </a:lnTo>
                        <a:lnTo>
                          <a:pt x="20" y="470"/>
                        </a:lnTo>
                        <a:lnTo>
                          <a:pt x="22" y="457"/>
                        </a:lnTo>
                        <a:lnTo>
                          <a:pt x="32" y="457"/>
                        </a:lnTo>
                        <a:lnTo>
                          <a:pt x="37" y="467"/>
                        </a:lnTo>
                        <a:lnTo>
                          <a:pt x="39" y="449"/>
                        </a:lnTo>
                        <a:lnTo>
                          <a:pt x="32" y="454"/>
                        </a:lnTo>
                        <a:lnTo>
                          <a:pt x="25" y="445"/>
                        </a:lnTo>
                        <a:lnTo>
                          <a:pt x="30" y="440"/>
                        </a:lnTo>
                        <a:lnTo>
                          <a:pt x="39" y="439"/>
                        </a:lnTo>
                        <a:lnTo>
                          <a:pt x="44" y="429"/>
                        </a:lnTo>
                        <a:lnTo>
                          <a:pt x="40" y="417"/>
                        </a:lnTo>
                        <a:lnTo>
                          <a:pt x="39" y="410"/>
                        </a:lnTo>
                        <a:lnTo>
                          <a:pt x="29" y="415"/>
                        </a:lnTo>
                        <a:lnTo>
                          <a:pt x="19" y="417"/>
                        </a:lnTo>
                        <a:lnTo>
                          <a:pt x="12" y="410"/>
                        </a:lnTo>
                        <a:lnTo>
                          <a:pt x="10" y="405"/>
                        </a:lnTo>
                        <a:lnTo>
                          <a:pt x="10" y="395"/>
                        </a:lnTo>
                        <a:lnTo>
                          <a:pt x="10" y="384"/>
                        </a:lnTo>
                        <a:lnTo>
                          <a:pt x="15" y="375"/>
                        </a:lnTo>
                        <a:lnTo>
                          <a:pt x="12" y="365"/>
                        </a:lnTo>
                        <a:lnTo>
                          <a:pt x="10" y="359"/>
                        </a:lnTo>
                        <a:lnTo>
                          <a:pt x="17" y="352"/>
                        </a:lnTo>
                        <a:lnTo>
                          <a:pt x="24" y="347"/>
                        </a:lnTo>
                        <a:lnTo>
                          <a:pt x="17" y="346"/>
                        </a:lnTo>
                        <a:lnTo>
                          <a:pt x="12" y="341"/>
                        </a:lnTo>
                        <a:lnTo>
                          <a:pt x="12" y="347"/>
                        </a:lnTo>
                        <a:lnTo>
                          <a:pt x="7" y="352"/>
                        </a:lnTo>
                        <a:lnTo>
                          <a:pt x="2" y="344"/>
                        </a:lnTo>
                        <a:lnTo>
                          <a:pt x="5" y="336"/>
                        </a:lnTo>
                        <a:lnTo>
                          <a:pt x="7" y="326"/>
                        </a:lnTo>
                        <a:lnTo>
                          <a:pt x="4" y="321"/>
                        </a:lnTo>
                        <a:lnTo>
                          <a:pt x="4" y="312"/>
                        </a:lnTo>
                        <a:lnTo>
                          <a:pt x="0" y="306"/>
                        </a:lnTo>
                        <a:lnTo>
                          <a:pt x="2" y="297"/>
                        </a:lnTo>
                        <a:lnTo>
                          <a:pt x="2" y="287"/>
                        </a:lnTo>
                        <a:lnTo>
                          <a:pt x="9" y="287"/>
                        </a:lnTo>
                        <a:lnTo>
                          <a:pt x="12" y="282"/>
                        </a:lnTo>
                        <a:lnTo>
                          <a:pt x="7" y="276"/>
                        </a:lnTo>
                        <a:lnTo>
                          <a:pt x="7" y="269"/>
                        </a:lnTo>
                        <a:lnTo>
                          <a:pt x="12" y="264"/>
                        </a:lnTo>
                        <a:lnTo>
                          <a:pt x="14" y="256"/>
                        </a:lnTo>
                        <a:lnTo>
                          <a:pt x="14" y="251"/>
                        </a:lnTo>
                        <a:lnTo>
                          <a:pt x="24" y="256"/>
                        </a:lnTo>
                        <a:lnTo>
                          <a:pt x="35" y="254"/>
                        </a:lnTo>
                        <a:lnTo>
                          <a:pt x="42" y="253"/>
                        </a:lnTo>
                        <a:lnTo>
                          <a:pt x="47" y="257"/>
                        </a:lnTo>
                        <a:lnTo>
                          <a:pt x="40" y="264"/>
                        </a:lnTo>
                        <a:lnTo>
                          <a:pt x="44" y="269"/>
                        </a:lnTo>
                        <a:lnTo>
                          <a:pt x="49" y="267"/>
                        </a:lnTo>
                        <a:lnTo>
                          <a:pt x="54" y="277"/>
                        </a:lnTo>
                        <a:lnTo>
                          <a:pt x="55" y="271"/>
                        </a:lnTo>
                        <a:lnTo>
                          <a:pt x="67" y="274"/>
                        </a:lnTo>
                        <a:lnTo>
                          <a:pt x="75" y="276"/>
                        </a:lnTo>
                        <a:lnTo>
                          <a:pt x="77" y="269"/>
                        </a:lnTo>
                        <a:lnTo>
                          <a:pt x="85" y="261"/>
                        </a:lnTo>
                        <a:lnTo>
                          <a:pt x="93" y="257"/>
                        </a:lnTo>
                        <a:lnTo>
                          <a:pt x="100" y="261"/>
                        </a:lnTo>
                        <a:lnTo>
                          <a:pt x="110" y="254"/>
                        </a:lnTo>
                        <a:lnTo>
                          <a:pt x="107" y="244"/>
                        </a:lnTo>
                        <a:lnTo>
                          <a:pt x="107" y="231"/>
                        </a:lnTo>
                        <a:lnTo>
                          <a:pt x="117" y="211"/>
                        </a:lnTo>
                        <a:lnTo>
                          <a:pt x="112" y="204"/>
                        </a:lnTo>
                        <a:lnTo>
                          <a:pt x="102" y="199"/>
                        </a:lnTo>
                        <a:lnTo>
                          <a:pt x="107" y="189"/>
                        </a:lnTo>
                        <a:lnTo>
                          <a:pt x="112" y="181"/>
                        </a:lnTo>
                        <a:lnTo>
                          <a:pt x="118" y="181"/>
                        </a:lnTo>
                        <a:lnTo>
                          <a:pt x="118" y="189"/>
                        </a:lnTo>
                        <a:lnTo>
                          <a:pt x="135" y="196"/>
                        </a:lnTo>
                        <a:lnTo>
                          <a:pt x="138" y="204"/>
                        </a:lnTo>
                        <a:lnTo>
                          <a:pt x="148" y="204"/>
                        </a:lnTo>
                        <a:lnTo>
                          <a:pt x="155" y="203"/>
                        </a:lnTo>
                        <a:lnTo>
                          <a:pt x="160" y="196"/>
                        </a:lnTo>
                        <a:lnTo>
                          <a:pt x="160" y="189"/>
                        </a:lnTo>
                        <a:lnTo>
                          <a:pt x="170" y="186"/>
                        </a:lnTo>
                        <a:lnTo>
                          <a:pt x="177" y="179"/>
                        </a:lnTo>
                        <a:lnTo>
                          <a:pt x="175" y="163"/>
                        </a:lnTo>
                        <a:lnTo>
                          <a:pt x="173" y="148"/>
                        </a:lnTo>
                        <a:lnTo>
                          <a:pt x="165" y="146"/>
                        </a:lnTo>
                        <a:lnTo>
                          <a:pt x="163" y="138"/>
                        </a:lnTo>
                        <a:lnTo>
                          <a:pt x="160" y="131"/>
                        </a:lnTo>
                        <a:lnTo>
                          <a:pt x="137" y="126"/>
                        </a:lnTo>
                        <a:lnTo>
                          <a:pt x="133" y="118"/>
                        </a:lnTo>
                        <a:lnTo>
                          <a:pt x="148" y="118"/>
                        </a:lnTo>
                        <a:lnTo>
                          <a:pt x="158" y="123"/>
                        </a:lnTo>
                        <a:lnTo>
                          <a:pt x="167" y="111"/>
                        </a:lnTo>
                        <a:lnTo>
                          <a:pt x="170" y="105"/>
                        </a:lnTo>
                        <a:lnTo>
                          <a:pt x="181" y="105"/>
                        </a:lnTo>
                        <a:lnTo>
                          <a:pt x="180" y="96"/>
                        </a:lnTo>
                        <a:lnTo>
                          <a:pt x="185" y="90"/>
                        </a:lnTo>
                        <a:lnTo>
                          <a:pt x="196" y="85"/>
                        </a:lnTo>
                        <a:lnTo>
                          <a:pt x="210" y="83"/>
                        </a:lnTo>
                        <a:lnTo>
                          <a:pt x="223" y="78"/>
                        </a:lnTo>
                        <a:lnTo>
                          <a:pt x="230" y="80"/>
                        </a:lnTo>
                        <a:lnTo>
                          <a:pt x="240" y="78"/>
                        </a:lnTo>
                        <a:lnTo>
                          <a:pt x="238" y="68"/>
                        </a:lnTo>
                        <a:lnTo>
                          <a:pt x="230" y="70"/>
                        </a:lnTo>
                        <a:lnTo>
                          <a:pt x="223" y="73"/>
                        </a:lnTo>
                        <a:lnTo>
                          <a:pt x="215" y="68"/>
                        </a:lnTo>
                        <a:lnTo>
                          <a:pt x="203" y="65"/>
                        </a:lnTo>
                        <a:lnTo>
                          <a:pt x="191" y="70"/>
                        </a:lnTo>
                        <a:lnTo>
                          <a:pt x="183" y="73"/>
                        </a:lnTo>
                        <a:lnTo>
                          <a:pt x="170" y="73"/>
                        </a:lnTo>
                        <a:lnTo>
                          <a:pt x="165" y="66"/>
                        </a:lnTo>
                        <a:lnTo>
                          <a:pt x="165" y="61"/>
                        </a:lnTo>
                        <a:lnTo>
                          <a:pt x="162" y="56"/>
                        </a:lnTo>
                        <a:lnTo>
                          <a:pt x="177" y="53"/>
                        </a:lnTo>
                        <a:lnTo>
                          <a:pt x="175" y="45"/>
                        </a:lnTo>
                        <a:lnTo>
                          <a:pt x="170" y="35"/>
                        </a:lnTo>
                        <a:lnTo>
                          <a:pt x="167" y="30"/>
                        </a:lnTo>
                        <a:lnTo>
                          <a:pt x="175" y="25"/>
                        </a:lnTo>
                        <a:lnTo>
                          <a:pt x="185" y="25"/>
                        </a:lnTo>
                        <a:lnTo>
                          <a:pt x="200" y="17"/>
                        </a:lnTo>
                        <a:lnTo>
                          <a:pt x="208" y="13"/>
                        </a:lnTo>
                        <a:lnTo>
                          <a:pt x="223" y="22"/>
                        </a:lnTo>
                        <a:lnTo>
                          <a:pt x="233" y="12"/>
                        </a:lnTo>
                        <a:lnTo>
                          <a:pt x="248" y="0"/>
                        </a:lnTo>
                        <a:lnTo>
                          <a:pt x="258" y="0"/>
                        </a:lnTo>
                        <a:lnTo>
                          <a:pt x="256" y="12"/>
                        </a:lnTo>
                        <a:lnTo>
                          <a:pt x="268" y="17"/>
                        </a:lnTo>
                        <a:lnTo>
                          <a:pt x="265" y="33"/>
                        </a:lnTo>
                        <a:lnTo>
                          <a:pt x="258" y="48"/>
                        </a:lnTo>
                        <a:lnTo>
                          <a:pt x="266" y="56"/>
                        </a:lnTo>
                        <a:lnTo>
                          <a:pt x="286" y="63"/>
                        </a:lnTo>
                        <a:lnTo>
                          <a:pt x="306" y="66"/>
                        </a:lnTo>
                        <a:lnTo>
                          <a:pt x="311" y="61"/>
                        </a:lnTo>
                        <a:lnTo>
                          <a:pt x="324" y="68"/>
                        </a:lnTo>
                        <a:lnTo>
                          <a:pt x="336" y="80"/>
                        </a:lnTo>
                        <a:lnTo>
                          <a:pt x="343" y="93"/>
                        </a:lnTo>
                        <a:lnTo>
                          <a:pt x="369" y="101"/>
                        </a:lnTo>
                        <a:lnTo>
                          <a:pt x="386" y="100"/>
                        </a:lnTo>
                        <a:lnTo>
                          <a:pt x="391" y="95"/>
                        </a:lnTo>
                        <a:lnTo>
                          <a:pt x="401" y="95"/>
                        </a:lnTo>
                        <a:lnTo>
                          <a:pt x="414" y="100"/>
                        </a:lnTo>
                        <a:lnTo>
                          <a:pt x="451" y="100"/>
                        </a:lnTo>
                        <a:lnTo>
                          <a:pt x="464" y="105"/>
                        </a:lnTo>
                        <a:lnTo>
                          <a:pt x="474" y="105"/>
                        </a:lnTo>
                        <a:lnTo>
                          <a:pt x="477" y="121"/>
                        </a:lnTo>
                        <a:lnTo>
                          <a:pt x="471" y="133"/>
                        </a:lnTo>
                        <a:lnTo>
                          <a:pt x="479" y="141"/>
                        </a:lnTo>
                        <a:lnTo>
                          <a:pt x="496" y="148"/>
                        </a:lnTo>
                        <a:lnTo>
                          <a:pt x="516" y="143"/>
                        </a:lnTo>
                        <a:lnTo>
                          <a:pt x="524" y="131"/>
                        </a:lnTo>
                        <a:lnTo>
                          <a:pt x="544" y="135"/>
                        </a:lnTo>
                        <a:lnTo>
                          <a:pt x="550" y="118"/>
                        </a:lnTo>
                        <a:lnTo>
                          <a:pt x="544" y="116"/>
                        </a:lnTo>
                        <a:lnTo>
                          <a:pt x="554" y="100"/>
                        </a:lnTo>
                        <a:lnTo>
                          <a:pt x="560" y="100"/>
                        </a:lnTo>
                        <a:lnTo>
                          <a:pt x="569" y="91"/>
                        </a:lnTo>
                        <a:lnTo>
                          <a:pt x="559" y="85"/>
                        </a:lnTo>
                        <a:lnTo>
                          <a:pt x="560" y="78"/>
                        </a:lnTo>
                        <a:lnTo>
                          <a:pt x="570" y="70"/>
                        </a:lnTo>
                        <a:lnTo>
                          <a:pt x="584" y="68"/>
                        </a:lnTo>
                        <a:lnTo>
                          <a:pt x="585" y="73"/>
                        </a:lnTo>
                        <a:lnTo>
                          <a:pt x="602" y="65"/>
                        </a:lnTo>
                        <a:lnTo>
                          <a:pt x="607" y="55"/>
                        </a:lnTo>
                        <a:lnTo>
                          <a:pt x="617" y="56"/>
                        </a:lnTo>
                        <a:lnTo>
                          <a:pt x="620" y="63"/>
                        </a:lnTo>
                        <a:lnTo>
                          <a:pt x="634" y="53"/>
                        </a:lnTo>
                        <a:lnTo>
                          <a:pt x="647" y="55"/>
                        </a:lnTo>
                        <a:lnTo>
                          <a:pt x="653" y="48"/>
                        </a:lnTo>
                        <a:lnTo>
                          <a:pt x="672" y="70"/>
                        </a:lnTo>
                        <a:lnTo>
                          <a:pt x="668" y="78"/>
                        </a:lnTo>
                        <a:lnTo>
                          <a:pt x="673" y="85"/>
                        </a:lnTo>
                        <a:lnTo>
                          <a:pt x="670" y="88"/>
                        </a:lnTo>
                        <a:lnTo>
                          <a:pt x="663" y="83"/>
                        </a:lnTo>
                        <a:lnTo>
                          <a:pt x="653" y="88"/>
                        </a:lnTo>
                        <a:lnTo>
                          <a:pt x="650" y="100"/>
                        </a:lnTo>
                        <a:lnTo>
                          <a:pt x="658" y="106"/>
                        </a:lnTo>
                        <a:lnTo>
                          <a:pt x="667" y="106"/>
                        </a:lnTo>
                        <a:lnTo>
                          <a:pt x="672" y="110"/>
                        </a:lnTo>
                        <a:lnTo>
                          <a:pt x="683" y="106"/>
                        </a:lnTo>
                        <a:lnTo>
                          <a:pt x="687" y="113"/>
                        </a:lnTo>
                        <a:lnTo>
                          <a:pt x="695" y="108"/>
                        </a:lnTo>
                        <a:lnTo>
                          <a:pt x="708" y="105"/>
                        </a:lnTo>
                        <a:lnTo>
                          <a:pt x="713" y="110"/>
                        </a:lnTo>
                        <a:lnTo>
                          <a:pt x="728" y="106"/>
                        </a:lnTo>
                        <a:lnTo>
                          <a:pt x="737" y="98"/>
                        </a:lnTo>
                        <a:lnTo>
                          <a:pt x="750" y="91"/>
                        </a:lnTo>
                        <a:lnTo>
                          <a:pt x="765" y="80"/>
                        </a:lnTo>
                        <a:lnTo>
                          <a:pt x="785" y="80"/>
                        </a:lnTo>
                        <a:lnTo>
                          <a:pt x="783" y="86"/>
                        </a:lnTo>
                        <a:lnTo>
                          <a:pt x="788" y="91"/>
                        </a:lnTo>
                        <a:lnTo>
                          <a:pt x="798" y="90"/>
                        </a:lnTo>
                        <a:lnTo>
                          <a:pt x="808" y="95"/>
                        </a:lnTo>
                        <a:lnTo>
                          <a:pt x="820" y="96"/>
                        </a:lnTo>
                        <a:lnTo>
                          <a:pt x="831" y="98"/>
                        </a:lnTo>
                        <a:lnTo>
                          <a:pt x="846" y="98"/>
                        </a:lnTo>
                        <a:lnTo>
                          <a:pt x="856" y="95"/>
                        </a:lnTo>
                        <a:lnTo>
                          <a:pt x="850" y="88"/>
                        </a:lnTo>
                        <a:lnTo>
                          <a:pt x="851" y="81"/>
                        </a:lnTo>
                        <a:lnTo>
                          <a:pt x="858" y="78"/>
                        </a:lnTo>
                        <a:lnTo>
                          <a:pt x="876" y="78"/>
                        </a:lnTo>
                        <a:lnTo>
                          <a:pt x="891" y="68"/>
                        </a:lnTo>
                        <a:lnTo>
                          <a:pt x="891" y="61"/>
                        </a:lnTo>
                        <a:lnTo>
                          <a:pt x="904" y="63"/>
                        </a:lnTo>
                        <a:lnTo>
                          <a:pt x="913" y="70"/>
                        </a:lnTo>
                        <a:lnTo>
                          <a:pt x="929" y="70"/>
                        </a:lnTo>
                        <a:lnTo>
                          <a:pt x="933" y="80"/>
                        </a:lnTo>
                        <a:lnTo>
                          <a:pt x="931" y="88"/>
                        </a:lnTo>
                        <a:lnTo>
                          <a:pt x="939" y="91"/>
                        </a:lnTo>
                        <a:lnTo>
                          <a:pt x="951" y="91"/>
                        </a:lnTo>
                        <a:lnTo>
                          <a:pt x="953" y="85"/>
                        </a:lnTo>
                        <a:lnTo>
                          <a:pt x="959" y="81"/>
                        </a:lnTo>
                        <a:lnTo>
                          <a:pt x="968" y="81"/>
                        </a:lnTo>
                        <a:lnTo>
                          <a:pt x="973" y="90"/>
                        </a:lnTo>
                        <a:lnTo>
                          <a:pt x="981" y="93"/>
                        </a:lnTo>
                        <a:lnTo>
                          <a:pt x="991" y="86"/>
                        </a:lnTo>
                        <a:lnTo>
                          <a:pt x="1001" y="88"/>
                        </a:lnTo>
                        <a:lnTo>
                          <a:pt x="1026" y="73"/>
                        </a:lnTo>
                        <a:lnTo>
                          <a:pt x="1034" y="81"/>
                        </a:lnTo>
                        <a:lnTo>
                          <a:pt x="1047" y="96"/>
                        </a:lnTo>
                        <a:lnTo>
                          <a:pt x="1054" y="106"/>
                        </a:lnTo>
                        <a:lnTo>
                          <a:pt x="1056" y="111"/>
                        </a:lnTo>
                        <a:lnTo>
                          <a:pt x="1062" y="108"/>
                        </a:lnTo>
                        <a:lnTo>
                          <a:pt x="1077" y="120"/>
                        </a:lnTo>
                        <a:lnTo>
                          <a:pt x="1089" y="116"/>
                        </a:lnTo>
                        <a:lnTo>
                          <a:pt x="1087" y="125"/>
                        </a:lnTo>
                        <a:lnTo>
                          <a:pt x="1074" y="135"/>
                        </a:lnTo>
                        <a:lnTo>
                          <a:pt x="1057" y="145"/>
                        </a:lnTo>
                        <a:lnTo>
                          <a:pt x="1057" y="154"/>
                        </a:lnTo>
                        <a:lnTo>
                          <a:pt x="1061" y="161"/>
                        </a:lnTo>
                        <a:lnTo>
                          <a:pt x="1054" y="168"/>
                        </a:lnTo>
                        <a:lnTo>
                          <a:pt x="1062" y="176"/>
                        </a:lnTo>
                        <a:lnTo>
                          <a:pt x="1067" y="174"/>
                        </a:lnTo>
                        <a:lnTo>
                          <a:pt x="1071" y="191"/>
                        </a:lnTo>
                        <a:lnTo>
                          <a:pt x="1072" y="204"/>
                        </a:lnTo>
                        <a:lnTo>
                          <a:pt x="1076" y="213"/>
                        </a:lnTo>
                        <a:lnTo>
                          <a:pt x="1057" y="219"/>
                        </a:lnTo>
                        <a:lnTo>
                          <a:pt x="1062" y="226"/>
                        </a:lnTo>
                        <a:lnTo>
                          <a:pt x="1077" y="224"/>
                        </a:lnTo>
                        <a:lnTo>
                          <a:pt x="1077" y="239"/>
                        </a:lnTo>
                        <a:lnTo>
                          <a:pt x="1074" y="249"/>
                        </a:lnTo>
                        <a:lnTo>
                          <a:pt x="1077" y="261"/>
                        </a:lnTo>
                        <a:lnTo>
                          <a:pt x="1076" y="266"/>
                        </a:lnTo>
                        <a:lnTo>
                          <a:pt x="1066" y="269"/>
                        </a:lnTo>
                        <a:lnTo>
                          <a:pt x="1051" y="271"/>
                        </a:lnTo>
                        <a:lnTo>
                          <a:pt x="1047" y="276"/>
                        </a:lnTo>
                        <a:lnTo>
                          <a:pt x="1052" y="284"/>
                        </a:lnTo>
                        <a:lnTo>
                          <a:pt x="1047" y="291"/>
                        </a:lnTo>
                        <a:lnTo>
                          <a:pt x="1052" y="292"/>
                        </a:lnTo>
                        <a:lnTo>
                          <a:pt x="1066" y="289"/>
                        </a:lnTo>
                        <a:lnTo>
                          <a:pt x="1074" y="297"/>
                        </a:lnTo>
                        <a:lnTo>
                          <a:pt x="1071" y="306"/>
                        </a:lnTo>
                        <a:lnTo>
                          <a:pt x="1069" y="317"/>
                        </a:lnTo>
                        <a:lnTo>
                          <a:pt x="1066" y="324"/>
                        </a:lnTo>
                        <a:lnTo>
                          <a:pt x="1061" y="317"/>
                        </a:lnTo>
                        <a:lnTo>
                          <a:pt x="1051" y="317"/>
                        </a:lnTo>
                        <a:lnTo>
                          <a:pt x="1051" y="327"/>
                        </a:lnTo>
                        <a:lnTo>
                          <a:pt x="1061" y="327"/>
                        </a:lnTo>
                        <a:lnTo>
                          <a:pt x="1066" y="331"/>
                        </a:lnTo>
                        <a:lnTo>
                          <a:pt x="1056" y="336"/>
                        </a:lnTo>
                        <a:lnTo>
                          <a:pt x="1049" y="337"/>
                        </a:lnTo>
                        <a:lnTo>
                          <a:pt x="1051" y="342"/>
                        </a:lnTo>
                        <a:lnTo>
                          <a:pt x="1061" y="342"/>
                        </a:lnTo>
                        <a:lnTo>
                          <a:pt x="1062" y="339"/>
                        </a:lnTo>
                        <a:lnTo>
                          <a:pt x="1069" y="336"/>
                        </a:lnTo>
                        <a:lnTo>
                          <a:pt x="1072" y="346"/>
                        </a:lnTo>
                        <a:lnTo>
                          <a:pt x="1089" y="356"/>
                        </a:lnTo>
                        <a:lnTo>
                          <a:pt x="1087" y="367"/>
                        </a:lnTo>
                        <a:lnTo>
                          <a:pt x="1094" y="367"/>
                        </a:lnTo>
                        <a:lnTo>
                          <a:pt x="1114" y="379"/>
                        </a:lnTo>
                        <a:lnTo>
                          <a:pt x="1117" y="385"/>
                        </a:lnTo>
                        <a:lnTo>
                          <a:pt x="1109" y="394"/>
                        </a:lnTo>
                        <a:lnTo>
                          <a:pt x="1105" y="399"/>
                        </a:lnTo>
                        <a:lnTo>
                          <a:pt x="1114" y="404"/>
                        </a:lnTo>
                        <a:lnTo>
                          <a:pt x="1094" y="415"/>
                        </a:lnTo>
                        <a:lnTo>
                          <a:pt x="1081" y="405"/>
                        </a:lnTo>
                        <a:lnTo>
                          <a:pt x="1071" y="404"/>
                        </a:lnTo>
                        <a:lnTo>
                          <a:pt x="1059" y="410"/>
                        </a:lnTo>
                        <a:lnTo>
                          <a:pt x="1044" y="430"/>
                        </a:lnTo>
                        <a:lnTo>
                          <a:pt x="1032" y="464"/>
                        </a:lnTo>
                        <a:lnTo>
                          <a:pt x="1037" y="475"/>
                        </a:lnTo>
                        <a:lnTo>
                          <a:pt x="1039" y="485"/>
                        </a:lnTo>
                        <a:lnTo>
                          <a:pt x="1029" y="487"/>
                        </a:lnTo>
                        <a:lnTo>
                          <a:pt x="1029" y="495"/>
                        </a:lnTo>
                        <a:lnTo>
                          <a:pt x="1016" y="500"/>
                        </a:lnTo>
                        <a:lnTo>
                          <a:pt x="999" y="492"/>
                        </a:lnTo>
                        <a:lnTo>
                          <a:pt x="992" y="490"/>
                        </a:lnTo>
                        <a:lnTo>
                          <a:pt x="986" y="487"/>
                        </a:lnTo>
                        <a:lnTo>
                          <a:pt x="989" y="480"/>
                        </a:lnTo>
                        <a:lnTo>
                          <a:pt x="989" y="454"/>
                        </a:lnTo>
                        <a:lnTo>
                          <a:pt x="979" y="449"/>
                        </a:lnTo>
                        <a:lnTo>
                          <a:pt x="978" y="439"/>
                        </a:lnTo>
                        <a:lnTo>
                          <a:pt x="989" y="432"/>
                        </a:lnTo>
                        <a:lnTo>
                          <a:pt x="987" y="424"/>
                        </a:lnTo>
                        <a:lnTo>
                          <a:pt x="991" y="412"/>
                        </a:lnTo>
                        <a:lnTo>
                          <a:pt x="991" y="389"/>
                        </a:lnTo>
                        <a:lnTo>
                          <a:pt x="974" y="379"/>
                        </a:lnTo>
                        <a:lnTo>
                          <a:pt x="973" y="374"/>
                        </a:lnTo>
                        <a:lnTo>
                          <a:pt x="956" y="369"/>
                        </a:lnTo>
                        <a:lnTo>
                          <a:pt x="946" y="374"/>
                        </a:lnTo>
                        <a:lnTo>
                          <a:pt x="939" y="382"/>
                        </a:lnTo>
                        <a:lnTo>
                          <a:pt x="934" y="379"/>
                        </a:lnTo>
                        <a:lnTo>
                          <a:pt x="921" y="382"/>
                        </a:lnTo>
                        <a:lnTo>
                          <a:pt x="909" y="374"/>
                        </a:lnTo>
                        <a:lnTo>
                          <a:pt x="901" y="375"/>
                        </a:lnTo>
                        <a:lnTo>
                          <a:pt x="893" y="369"/>
                        </a:lnTo>
                        <a:lnTo>
                          <a:pt x="889" y="380"/>
                        </a:lnTo>
                        <a:lnTo>
                          <a:pt x="889" y="389"/>
                        </a:lnTo>
                        <a:lnTo>
                          <a:pt x="883" y="389"/>
                        </a:lnTo>
                        <a:lnTo>
                          <a:pt x="873" y="382"/>
                        </a:lnTo>
                        <a:lnTo>
                          <a:pt x="863" y="379"/>
                        </a:lnTo>
                        <a:lnTo>
                          <a:pt x="850" y="374"/>
                        </a:lnTo>
                        <a:lnTo>
                          <a:pt x="843" y="364"/>
                        </a:lnTo>
                        <a:lnTo>
                          <a:pt x="835" y="359"/>
                        </a:lnTo>
                        <a:lnTo>
                          <a:pt x="828" y="344"/>
                        </a:lnTo>
                        <a:lnTo>
                          <a:pt x="815" y="342"/>
                        </a:lnTo>
                        <a:lnTo>
                          <a:pt x="801" y="337"/>
                        </a:lnTo>
                        <a:lnTo>
                          <a:pt x="783" y="339"/>
                        </a:lnTo>
                        <a:lnTo>
                          <a:pt x="775" y="327"/>
                        </a:lnTo>
                        <a:lnTo>
                          <a:pt x="766" y="321"/>
                        </a:lnTo>
                        <a:lnTo>
                          <a:pt x="761" y="324"/>
                        </a:lnTo>
                        <a:lnTo>
                          <a:pt x="765" y="332"/>
                        </a:lnTo>
                        <a:lnTo>
                          <a:pt x="768" y="341"/>
                        </a:lnTo>
                        <a:lnTo>
                          <a:pt x="773" y="347"/>
                        </a:lnTo>
                        <a:lnTo>
                          <a:pt x="763" y="352"/>
                        </a:lnTo>
                        <a:lnTo>
                          <a:pt x="760" y="359"/>
                        </a:lnTo>
                        <a:lnTo>
                          <a:pt x="765" y="367"/>
                        </a:lnTo>
                        <a:lnTo>
                          <a:pt x="765" y="367"/>
                        </a:lnTo>
                        <a:lnTo>
                          <a:pt x="765" y="367"/>
                        </a:lnTo>
                        <a:close/>
                      </a:path>
                    </a:pathLst>
                  </a:custGeom>
                  <a:solidFill>
                    <a:schemeClr val="accent1">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32" name="Freeform 1126">
                    <a:extLst>
                      <a:ext uri="{FF2B5EF4-FFF2-40B4-BE49-F238E27FC236}">
                        <a16:creationId xmlns:a16="http://schemas.microsoft.com/office/drawing/2014/main" id="{FD6168FE-00C8-42A2-8475-E90076AC4181}"/>
                      </a:ext>
                    </a:extLst>
                  </p:cNvPr>
                  <p:cNvSpPr>
                    <a:spLocks/>
                  </p:cNvSpPr>
                  <p:nvPr/>
                </p:nvSpPr>
                <p:spPr bwMode="auto">
                  <a:xfrm>
                    <a:off x="3133691" y="4579789"/>
                    <a:ext cx="775305" cy="1232025"/>
                  </a:xfrm>
                  <a:custGeom>
                    <a:avLst/>
                    <a:gdLst>
                      <a:gd name="T0" fmla="*/ 409 w 623"/>
                      <a:gd name="T1" fmla="*/ 423 h 990"/>
                      <a:gd name="T2" fmla="*/ 432 w 623"/>
                      <a:gd name="T3" fmla="*/ 357 h 990"/>
                      <a:gd name="T4" fmla="*/ 487 w 623"/>
                      <a:gd name="T5" fmla="*/ 304 h 990"/>
                      <a:gd name="T6" fmla="*/ 467 w 623"/>
                      <a:gd name="T7" fmla="*/ 287 h 990"/>
                      <a:gd name="T8" fmla="*/ 475 w 623"/>
                      <a:gd name="T9" fmla="*/ 239 h 990"/>
                      <a:gd name="T10" fmla="*/ 461 w 623"/>
                      <a:gd name="T11" fmla="*/ 176 h 990"/>
                      <a:gd name="T12" fmla="*/ 479 w 623"/>
                      <a:gd name="T13" fmla="*/ 131 h 990"/>
                      <a:gd name="T14" fmla="*/ 505 w 623"/>
                      <a:gd name="T15" fmla="*/ 71 h 990"/>
                      <a:gd name="T16" fmla="*/ 482 w 623"/>
                      <a:gd name="T17" fmla="*/ 25 h 990"/>
                      <a:gd name="T18" fmla="*/ 446 w 623"/>
                      <a:gd name="T19" fmla="*/ 23 h 990"/>
                      <a:gd name="T20" fmla="*/ 409 w 623"/>
                      <a:gd name="T21" fmla="*/ 48 h 990"/>
                      <a:gd name="T22" fmla="*/ 384 w 623"/>
                      <a:gd name="T23" fmla="*/ 88 h 990"/>
                      <a:gd name="T24" fmla="*/ 333 w 623"/>
                      <a:gd name="T25" fmla="*/ 119 h 990"/>
                      <a:gd name="T26" fmla="*/ 318 w 623"/>
                      <a:gd name="T27" fmla="*/ 154 h 990"/>
                      <a:gd name="T28" fmla="*/ 276 w 623"/>
                      <a:gd name="T29" fmla="*/ 151 h 990"/>
                      <a:gd name="T30" fmla="*/ 228 w 623"/>
                      <a:gd name="T31" fmla="*/ 171 h 990"/>
                      <a:gd name="T32" fmla="*/ 211 w 623"/>
                      <a:gd name="T33" fmla="*/ 204 h 990"/>
                      <a:gd name="T34" fmla="*/ 171 w 623"/>
                      <a:gd name="T35" fmla="*/ 221 h 990"/>
                      <a:gd name="T36" fmla="*/ 125 w 623"/>
                      <a:gd name="T37" fmla="*/ 204 h 990"/>
                      <a:gd name="T38" fmla="*/ 88 w 623"/>
                      <a:gd name="T39" fmla="*/ 254 h 990"/>
                      <a:gd name="T40" fmla="*/ 45 w 623"/>
                      <a:gd name="T41" fmla="*/ 259 h 990"/>
                      <a:gd name="T42" fmla="*/ 32 w 623"/>
                      <a:gd name="T43" fmla="*/ 289 h 990"/>
                      <a:gd name="T44" fmla="*/ 38 w 623"/>
                      <a:gd name="T45" fmla="*/ 335 h 990"/>
                      <a:gd name="T46" fmla="*/ 2 w 623"/>
                      <a:gd name="T47" fmla="*/ 380 h 990"/>
                      <a:gd name="T48" fmla="*/ 20 w 623"/>
                      <a:gd name="T49" fmla="*/ 430 h 990"/>
                      <a:gd name="T50" fmla="*/ 20 w 623"/>
                      <a:gd name="T51" fmla="*/ 470 h 990"/>
                      <a:gd name="T52" fmla="*/ 9 w 623"/>
                      <a:gd name="T53" fmla="*/ 508 h 990"/>
                      <a:gd name="T54" fmla="*/ 27 w 623"/>
                      <a:gd name="T55" fmla="*/ 558 h 990"/>
                      <a:gd name="T56" fmla="*/ 38 w 623"/>
                      <a:gd name="T57" fmla="*/ 585 h 990"/>
                      <a:gd name="T58" fmla="*/ 53 w 623"/>
                      <a:gd name="T59" fmla="*/ 629 h 990"/>
                      <a:gd name="T60" fmla="*/ 77 w 623"/>
                      <a:gd name="T61" fmla="*/ 684 h 990"/>
                      <a:gd name="T62" fmla="*/ 82 w 623"/>
                      <a:gd name="T63" fmla="*/ 726 h 990"/>
                      <a:gd name="T64" fmla="*/ 112 w 623"/>
                      <a:gd name="T65" fmla="*/ 820 h 990"/>
                      <a:gd name="T66" fmla="*/ 145 w 623"/>
                      <a:gd name="T67" fmla="*/ 845 h 990"/>
                      <a:gd name="T68" fmla="*/ 171 w 623"/>
                      <a:gd name="T69" fmla="*/ 855 h 990"/>
                      <a:gd name="T70" fmla="*/ 205 w 623"/>
                      <a:gd name="T71" fmla="*/ 912 h 990"/>
                      <a:gd name="T72" fmla="*/ 268 w 623"/>
                      <a:gd name="T73" fmla="*/ 950 h 990"/>
                      <a:gd name="T74" fmla="*/ 324 w 623"/>
                      <a:gd name="T75" fmla="*/ 977 h 990"/>
                      <a:gd name="T76" fmla="*/ 381 w 623"/>
                      <a:gd name="T77" fmla="*/ 965 h 990"/>
                      <a:gd name="T78" fmla="*/ 441 w 623"/>
                      <a:gd name="T79" fmla="*/ 970 h 990"/>
                      <a:gd name="T80" fmla="*/ 490 w 623"/>
                      <a:gd name="T81" fmla="*/ 933 h 990"/>
                      <a:gd name="T82" fmla="*/ 461 w 623"/>
                      <a:gd name="T83" fmla="*/ 899 h 990"/>
                      <a:gd name="T84" fmla="*/ 489 w 623"/>
                      <a:gd name="T85" fmla="*/ 835 h 990"/>
                      <a:gd name="T86" fmla="*/ 542 w 623"/>
                      <a:gd name="T87" fmla="*/ 815 h 990"/>
                      <a:gd name="T88" fmla="*/ 610 w 623"/>
                      <a:gd name="T89" fmla="*/ 809 h 990"/>
                      <a:gd name="T90" fmla="*/ 623 w 623"/>
                      <a:gd name="T91" fmla="*/ 751 h 990"/>
                      <a:gd name="T92" fmla="*/ 570 w 623"/>
                      <a:gd name="T93" fmla="*/ 702 h 990"/>
                      <a:gd name="T94" fmla="*/ 539 w 623"/>
                      <a:gd name="T95" fmla="*/ 671 h 990"/>
                      <a:gd name="T96" fmla="*/ 510 w 623"/>
                      <a:gd name="T97" fmla="*/ 669 h 990"/>
                      <a:gd name="T98" fmla="*/ 457 w 623"/>
                      <a:gd name="T99" fmla="*/ 673 h 990"/>
                      <a:gd name="T100" fmla="*/ 451 w 623"/>
                      <a:gd name="T101" fmla="*/ 658 h 990"/>
                      <a:gd name="T102" fmla="*/ 417 w 623"/>
                      <a:gd name="T103" fmla="*/ 679 h 990"/>
                      <a:gd name="T104" fmla="*/ 389 w 623"/>
                      <a:gd name="T105" fmla="*/ 641 h 990"/>
                      <a:gd name="T106" fmla="*/ 414 w 623"/>
                      <a:gd name="T107" fmla="*/ 639 h 990"/>
                      <a:gd name="T108" fmla="*/ 477 w 623"/>
                      <a:gd name="T109" fmla="*/ 618 h 990"/>
                      <a:gd name="T110" fmla="*/ 452 w 623"/>
                      <a:gd name="T111" fmla="*/ 608 h 990"/>
                      <a:gd name="T112" fmla="*/ 392 w 623"/>
                      <a:gd name="T113" fmla="*/ 606 h 990"/>
                      <a:gd name="T114" fmla="*/ 371 w 623"/>
                      <a:gd name="T115" fmla="*/ 561 h 990"/>
                      <a:gd name="T116" fmla="*/ 367 w 623"/>
                      <a:gd name="T117" fmla="*/ 503 h 990"/>
                      <a:gd name="T118" fmla="*/ 419 w 623"/>
                      <a:gd name="T119" fmla="*/ 498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3" h="990">
                        <a:moveTo>
                          <a:pt x="424" y="481"/>
                        </a:moveTo>
                        <a:lnTo>
                          <a:pt x="424" y="468"/>
                        </a:lnTo>
                        <a:lnTo>
                          <a:pt x="424" y="458"/>
                        </a:lnTo>
                        <a:lnTo>
                          <a:pt x="412" y="452"/>
                        </a:lnTo>
                        <a:lnTo>
                          <a:pt x="407" y="438"/>
                        </a:lnTo>
                        <a:lnTo>
                          <a:pt x="399" y="428"/>
                        </a:lnTo>
                        <a:lnTo>
                          <a:pt x="401" y="422"/>
                        </a:lnTo>
                        <a:lnTo>
                          <a:pt x="409" y="423"/>
                        </a:lnTo>
                        <a:lnTo>
                          <a:pt x="409" y="410"/>
                        </a:lnTo>
                        <a:lnTo>
                          <a:pt x="412" y="402"/>
                        </a:lnTo>
                        <a:lnTo>
                          <a:pt x="421" y="403"/>
                        </a:lnTo>
                        <a:lnTo>
                          <a:pt x="411" y="388"/>
                        </a:lnTo>
                        <a:lnTo>
                          <a:pt x="411" y="377"/>
                        </a:lnTo>
                        <a:lnTo>
                          <a:pt x="422" y="370"/>
                        </a:lnTo>
                        <a:lnTo>
                          <a:pt x="416" y="362"/>
                        </a:lnTo>
                        <a:lnTo>
                          <a:pt x="432" y="357"/>
                        </a:lnTo>
                        <a:lnTo>
                          <a:pt x="479" y="362"/>
                        </a:lnTo>
                        <a:lnTo>
                          <a:pt x="472" y="355"/>
                        </a:lnTo>
                        <a:lnTo>
                          <a:pt x="479" y="345"/>
                        </a:lnTo>
                        <a:lnTo>
                          <a:pt x="475" y="337"/>
                        </a:lnTo>
                        <a:lnTo>
                          <a:pt x="477" y="325"/>
                        </a:lnTo>
                        <a:lnTo>
                          <a:pt x="484" y="315"/>
                        </a:lnTo>
                        <a:lnTo>
                          <a:pt x="492" y="314"/>
                        </a:lnTo>
                        <a:lnTo>
                          <a:pt x="487" y="304"/>
                        </a:lnTo>
                        <a:lnTo>
                          <a:pt x="477" y="300"/>
                        </a:lnTo>
                        <a:lnTo>
                          <a:pt x="470" y="304"/>
                        </a:lnTo>
                        <a:lnTo>
                          <a:pt x="457" y="305"/>
                        </a:lnTo>
                        <a:lnTo>
                          <a:pt x="457" y="295"/>
                        </a:lnTo>
                        <a:lnTo>
                          <a:pt x="466" y="295"/>
                        </a:lnTo>
                        <a:lnTo>
                          <a:pt x="470" y="295"/>
                        </a:lnTo>
                        <a:lnTo>
                          <a:pt x="466" y="294"/>
                        </a:lnTo>
                        <a:lnTo>
                          <a:pt x="467" y="287"/>
                        </a:lnTo>
                        <a:lnTo>
                          <a:pt x="482" y="280"/>
                        </a:lnTo>
                        <a:lnTo>
                          <a:pt x="479" y="270"/>
                        </a:lnTo>
                        <a:lnTo>
                          <a:pt x="475" y="264"/>
                        </a:lnTo>
                        <a:lnTo>
                          <a:pt x="464" y="259"/>
                        </a:lnTo>
                        <a:lnTo>
                          <a:pt x="474" y="257"/>
                        </a:lnTo>
                        <a:lnTo>
                          <a:pt x="475" y="252"/>
                        </a:lnTo>
                        <a:lnTo>
                          <a:pt x="467" y="246"/>
                        </a:lnTo>
                        <a:lnTo>
                          <a:pt x="475" y="239"/>
                        </a:lnTo>
                        <a:lnTo>
                          <a:pt x="472" y="224"/>
                        </a:lnTo>
                        <a:lnTo>
                          <a:pt x="474" y="216"/>
                        </a:lnTo>
                        <a:lnTo>
                          <a:pt x="475" y="209"/>
                        </a:lnTo>
                        <a:lnTo>
                          <a:pt x="470" y="202"/>
                        </a:lnTo>
                        <a:lnTo>
                          <a:pt x="477" y="199"/>
                        </a:lnTo>
                        <a:lnTo>
                          <a:pt x="472" y="192"/>
                        </a:lnTo>
                        <a:lnTo>
                          <a:pt x="461" y="189"/>
                        </a:lnTo>
                        <a:lnTo>
                          <a:pt x="461" y="176"/>
                        </a:lnTo>
                        <a:lnTo>
                          <a:pt x="474" y="169"/>
                        </a:lnTo>
                        <a:lnTo>
                          <a:pt x="479" y="154"/>
                        </a:lnTo>
                        <a:lnTo>
                          <a:pt x="490" y="148"/>
                        </a:lnTo>
                        <a:lnTo>
                          <a:pt x="507" y="138"/>
                        </a:lnTo>
                        <a:lnTo>
                          <a:pt x="499" y="134"/>
                        </a:lnTo>
                        <a:lnTo>
                          <a:pt x="494" y="128"/>
                        </a:lnTo>
                        <a:lnTo>
                          <a:pt x="485" y="131"/>
                        </a:lnTo>
                        <a:lnTo>
                          <a:pt x="479" y="131"/>
                        </a:lnTo>
                        <a:lnTo>
                          <a:pt x="472" y="128"/>
                        </a:lnTo>
                        <a:lnTo>
                          <a:pt x="472" y="119"/>
                        </a:lnTo>
                        <a:lnTo>
                          <a:pt x="477" y="108"/>
                        </a:lnTo>
                        <a:lnTo>
                          <a:pt x="489" y="106"/>
                        </a:lnTo>
                        <a:lnTo>
                          <a:pt x="484" y="98"/>
                        </a:lnTo>
                        <a:lnTo>
                          <a:pt x="484" y="93"/>
                        </a:lnTo>
                        <a:lnTo>
                          <a:pt x="494" y="86"/>
                        </a:lnTo>
                        <a:lnTo>
                          <a:pt x="505" y="71"/>
                        </a:lnTo>
                        <a:lnTo>
                          <a:pt x="500" y="64"/>
                        </a:lnTo>
                        <a:lnTo>
                          <a:pt x="492" y="68"/>
                        </a:lnTo>
                        <a:lnTo>
                          <a:pt x="484" y="64"/>
                        </a:lnTo>
                        <a:lnTo>
                          <a:pt x="497" y="46"/>
                        </a:lnTo>
                        <a:lnTo>
                          <a:pt x="492" y="33"/>
                        </a:lnTo>
                        <a:lnTo>
                          <a:pt x="495" y="25"/>
                        </a:lnTo>
                        <a:lnTo>
                          <a:pt x="490" y="18"/>
                        </a:lnTo>
                        <a:lnTo>
                          <a:pt x="482" y="25"/>
                        </a:lnTo>
                        <a:lnTo>
                          <a:pt x="472" y="18"/>
                        </a:lnTo>
                        <a:lnTo>
                          <a:pt x="461" y="20"/>
                        </a:lnTo>
                        <a:lnTo>
                          <a:pt x="470" y="10"/>
                        </a:lnTo>
                        <a:lnTo>
                          <a:pt x="469" y="1"/>
                        </a:lnTo>
                        <a:lnTo>
                          <a:pt x="454" y="0"/>
                        </a:lnTo>
                        <a:lnTo>
                          <a:pt x="442" y="8"/>
                        </a:lnTo>
                        <a:lnTo>
                          <a:pt x="434" y="16"/>
                        </a:lnTo>
                        <a:lnTo>
                          <a:pt x="446" y="23"/>
                        </a:lnTo>
                        <a:lnTo>
                          <a:pt x="437" y="30"/>
                        </a:lnTo>
                        <a:lnTo>
                          <a:pt x="431" y="30"/>
                        </a:lnTo>
                        <a:lnTo>
                          <a:pt x="429" y="45"/>
                        </a:lnTo>
                        <a:lnTo>
                          <a:pt x="421" y="40"/>
                        </a:lnTo>
                        <a:lnTo>
                          <a:pt x="411" y="38"/>
                        </a:lnTo>
                        <a:lnTo>
                          <a:pt x="406" y="35"/>
                        </a:lnTo>
                        <a:lnTo>
                          <a:pt x="401" y="45"/>
                        </a:lnTo>
                        <a:lnTo>
                          <a:pt x="409" y="48"/>
                        </a:lnTo>
                        <a:lnTo>
                          <a:pt x="409" y="58"/>
                        </a:lnTo>
                        <a:lnTo>
                          <a:pt x="399" y="61"/>
                        </a:lnTo>
                        <a:lnTo>
                          <a:pt x="401" y="76"/>
                        </a:lnTo>
                        <a:lnTo>
                          <a:pt x="392" y="76"/>
                        </a:lnTo>
                        <a:lnTo>
                          <a:pt x="386" y="84"/>
                        </a:lnTo>
                        <a:lnTo>
                          <a:pt x="377" y="74"/>
                        </a:lnTo>
                        <a:lnTo>
                          <a:pt x="377" y="84"/>
                        </a:lnTo>
                        <a:lnTo>
                          <a:pt x="384" y="88"/>
                        </a:lnTo>
                        <a:lnTo>
                          <a:pt x="372" y="111"/>
                        </a:lnTo>
                        <a:lnTo>
                          <a:pt x="361" y="98"/>
                        </a:lnTo>
                        <a:lnTo>
                          <a:pt x="353" y="104"/>
                        </a:lnTo>
                        <a:lnTo>
                          <a:pt x="353" y="96"/>
                        </a:lnTo>
                        <a:lnTo>
                          <a:pt x="346" y="99"/>
                        </a:lnTo>
                        <a:lnTo>
                          <a:pt x="339" y="106"/>
                        </a:lnTo>
                        <a:lnTo>
                          <a:pt x="341" y="113"/>
                        </a:lnTo>
                        <a:lnTo>
                          <a:pt x="333" y="119"/>
                        </a:lnTo>
                        <a:lnTo>
                          <a:pt x="318" y="118"/>
                        </a:lnTo>
                        <a:lnTo>
                          <a:pt x="319" y="128"/>
                        </a:lnTo>
                        <a:lnTo>
                          <a:pt x="328" y="126"/>
                        </a:lnTo>
                        <a:lnTo>
                          <a:pt x="316" y="136"/>
                        </a:lnTo>
                        <a:lnTo>
                          <a:pt x="318" y="144"/>
                        </a:lnTo>
                        <a:lnTo>
                          <a:pt x="326" y="143"/>
                        </a:lnTo>
                        <a:lnTo>
                          <a:pt x="328" y="156"/>
                        </a:lnTo>
                        <a:lnTo>
                          <a:pt x="318" y="154"/>
                        </a:lnTo>
                        <a:lnTo>
                          <a:pt x="311" y="154"/>
                        </a:lnTo>
                        <a:lnTo>
                          <a:pt x="308" y="149"/>
                        </a:lnTo>
                        <a:lnTo>
                          <a:pt x="301" y="149"/>
                        </a:lnTo>
                        <a:lnTo>
                          <a:pt x="298" y="157"/>
                        </a:lnTo>
                        <a:lnTo>
                          <a:pt x="289" y="151"/>
                        </a:lnTo>
                        <a:lnTo>
                          <a:pt x="284" y="156"/>
                        </a:lnTo>
                        <a:lnTo>
                          <a:pt x="281" y="151"/>
                        </a:lnTo>
                        <a:lnTo>
                          <a:pt x="276" y="151"/>
                        </a:lnTo>
                        <a:lnTo>
                          <a:pt x="268" y="157"/>
                        </a:lnTo>
                        <a:lnTo>
                          <a:pt x="258" y="149"/>
                        </a:lnTo>
                        <a:lnTo>
                          <a:pt x="248" y="146"/>
                        </a:lnTo>
                        <a:lnTo>
                          <a:pt x="235" y="138"/>
                        </a:lnTo>
                        <a:lnTo>
                          <a:pt x="230" y="133"/>
                        </a:lnTo>
                        <a:lnTo>
                          <a:pt x="223" y="138"/>
                        </a:lnTo>
                        <a:lnTo>
                          <a:pt x="218" y="153"/>
                        </a:lnTo>
                        <a:lnTo>
                          <a:pt x="228" y="171"/>
                        </a:lnTo>
                        <a:lnTo>
                          <a:pt x="220" y="174"/>
                        </a:lnTo>
                        <a:lnTo>
                          <a:pt x="223" y="186"/>
                        </a:lnTo>
                        <a:lnTo>
                          <a:pt x="230" y="189"/>
                        </a:lnTo>
                        <a:lnTo>
                          <a:pt x="223" y="197"/>
                        </a:lnTo>
                        <a:lnTo>
                          <a:pt x="226" y="202"/>
                        </a:lnTo>
                        <a:lnTo>
                          <a:pt x="220" y="207"/>
                        </a:lnTo>
                        <a:lnTo>
                          <a:pt x="215" y="199"/>
                        </a:lnTo>
                        <a:lnTo>
                          <a:pt x="211" y="204"/>
                        </a:lnTo>
                        <a:lnTo>
                          <a:pt x="201" y="209"/>
                        </a:lnTo>
                        <a:lnTo>
                          <a:pt x="195" y="202"/>
                        </a:lnTo>
                        <a:lnTo>
                          <a:pt x="190" y="206"/>
                        </a:lnTo>
                        <a:lnTo>
                          <a:pt x="180" y="206"/>
                        </a:lnTo>
                        <a:lnTo>
                          <a:pt x="170" y="206"/>
                        </a:lnTo>
                        <a:lnTo>
                          <a:pt x="166" y="211"/>
                        </a:lnTo>
                        <a:lnTo>
                          <a:pt x="176" y="216"/>
                        </a:lnTo>
                        <a:lnTo>
                          <a:pt x="171" y="221"/>
                        </a:lnTo>
                        <a:lnTo>
                          <a:pt x="165" y="221"/>
                        </a:lnTo>
                        <a:lnTo>
                          <a:pt x="165" y="226"/>
                        </a:lnTo>
                        <a:lnTo>
                          <a:pt x="156" y="216"/>
                        </a:lnTo>
                        <a:lnTo>
                          <a:pt x="148" y="214"/>
                        </a:lnTo>
                        <a:lnTo>
                          <a:pt x="145" y="204"/>
                        </a:lnTo>
                        <a:lnTo>
                          <a:pt x="138" y="199"/>
                        </a:lnTo>
                        <a:lnTo>
                          <a:pt x="133" y="204"/>
                        </a:lnTo>
                        <a:lnTo>
                          <a:pt x="125" y="204"/>
                        </a:lnTo>
                        <a:lnTo>
                          <a:pt x="127" y="214"/>
                        </a:lnTo>
                        <a:lnTo>
                          <a:pt x="118" y="221"/>
                        </a:lnTo>
                        <a:lnTo>
                          <a:pt x="120" y="231"/>
                        </a:lnTo>
                        <a:lnTo>
                          <a:pt x="113" y="234"/>
                        </a:lnTo>
                        <a:lnTo>
                          <a:pt x="107" y="231"/>
                        </a:lnTo>
                        <a:lnTo>
                          <a:pt x="88" y="234"/>
                        </a:lnTo>
                        <a:lnTo>
                          <a:pt x="87" y="242"/>
                        </a:lnTo>
                        <a:lnTo>
                          <a:pt x="88" y="254"/>
                        </a:lnTo>
                        <a:lnTo>
                          <a:pt x="78" y="257"/>
                        </a:lnTo>
                        <a:lnTo>
                          <a:pt x="72" y="261"/>
                        </a:lnTo>
                        <a:lnTo>
                          <a:pt x="67" y="257"/>
                        </a:lnTo>
                        <a:lnTo>
                          <a:pt x="68" y="246"/>
                        </a:lnTo>
                        <a:lnTo>
                          <a:pt x="63" y="246"/>
                        </a:lnTo>
                        <a:lnTo>
                          <a:pt x="53" y="244"/>
                        </a:lnTo>
                        <a:lnTo>
                          <a:pt x="52" y="254"/>
                        </a:lnTo>
                        <a:lnTo>
                          <a:pt x="45" y="259"/>
                        </a:lnTo>
                        <a:lnTo>
                          <a:pt x="37" y="259"/>
                        </a:lnTo>
                        <a:lnTo>
                          <a:pt x="35" y="264"/>
                        </a:lnTo>
                        <a:lnTo>
                          <a:pt x="25" y="257"/>
                        </a:lnTo>
                        <a:lnTo>
                          <a:pt x="25" y="267"/>
                        </a:lnTo>
                        <a:lnTo>
                          <a:pt x="35" y="269"/>
                        </a:lnTo>
                        <a:lnTo>
                          <a:pt x="33" y="279"/>
                        </a:lnTo>
                        <a:lnTo>
                          <a:pt x="38" y="284"/>
                        </a:lnTo>
                        <a:lnTo>
                          <a:pt x="32" y="289"/>
                        </a:lnTo>
                        <a:lnTo>
                          <a:pt x="35" y="302"/>
                        </a:lnTo>
                        <a:lnTo>
                          <a:pt x="38" y="297"/>
                        </a:lnTo>
                        <a:lnTo>
                          <a:pt x="52" y="304"/>
                        </a:lnTo>
                        <a:lnTo>
                          <a:pt x="58" y="314"/>
                        </a:lnTo>
                        <a:lnTo>
                          <a:pt x="57" y="329"/>
                        </a:lnTo>
                        <a:lnTo>
                          <a:pt x="52" y="329"/>
                        </a:lnTo>
                        <a:lnTo>
                          <a:pt x="43" y="324"/>
                        </a:lnTo>
                        <a:lnTo>
                          <a:pt x="38" y="335"/>
                        </a:lnTo>
                        <a:lnTo>
                          <a:pt x="43" y="332"/>
                        </a:lnTo>
                        <a:lnTo>
                          <a:pt x="50" y="335"/>
                        </a:lnTo>
                        <a:lnTo>
                          <a:pt x="42" y="352"/>
                        </a:lnTo>
                        <a:lnTo>
                          <a:pt x="37" y="370"/>
                        </a:lnTo>
                        <a:lnTo>
                          <a:pt x="32" y="380"/>
                        </a:lnTo>
                        <a:lnTo>
                          <a:pt x="15" y="377"/>
                        </a:lnTo>
                        <a:lnTo>
                          <a:pt x="10" y="370"/>
                        </a:lnTo>
                        <a:lnTo>
                          <a:pt x="2" y="380"/>
                        </a:lnTo>
                        <a:lnTo>
                          <a:pt x="0" y="393"/>
                        </a:lnTo>
                        <a:lnTo>
                          <a:pt x="10" y="392"/>
                        </a:lnTo>
                        <a:lnTo>
                          <a:pt x="18" y="388"/>
                        </a:lnTo>
                        <a:lnTo>
                          <a:pt x="23" y="393"/>
                        </a:lnTo>
                        <a:lnTo>
                          <a:pt x="20" y="402"/>
                        </a:lnTo>
                        <a:lnTo>
                          <a:pt x="18" y="413"/>
                        </a:lnTo>
                        <a:lnTo>
                          <a:pt x="20" y="422"/>
                        </a:lnTo>
                        <a:lnTo>
                          <a:pt x="20" y="430"/>
                        </a:lnTo>
                        <a:lnTo>
                          <a:pt x="27" y="432"/>
                        </a:lnTo>
                        <a:lnTo>
                          <a:pt x="28" y="440"/>
                        </a:lnTo>
                        <a:lnTo>
                          <a:pt x="27" y="445"/>
                        </a:lnTo>
                        <a:lnTo>
                          <a:pt x="20" y="445"/>
                        </a:lnTo>
                        <a:lnTo>
                          <a:pt x="15" y="450"/>
                        </a:lnTo>
                        <a:lnTo>
                          <a:pt x="25" y="457"/>
                        </a:lnTo>
                        <a:lnTo>
                          <a:pt x="25" y="465"/>
                        </a:lnTo>
                        <a:lnTo>
                          <a:pt x="20" y="470"/>
                        </a:lnTo>
                        <a:lnTo>
                          <a:pt x="20" y="481"/>
                        </a:lnTo>
                        <a:lnTo>
                          <a:pt x="13" y="493"/>
                        </a:lnTo>
                        <a:lnTo>
                          <a:pt x="7" y="495"/>
                        </a:lnTo>
                        <a:lnTo>
                          <a:pt x="0" y="498"/>
                        </a:lnTo>
                        <a:lnTo>
                          <a:pt x="4" y="503"/>
                        </a:lnTo>
                        <a:lnTo>
                          <a:pt x="13" y="501"/>
                        </a:lnTo>
                        <a:lnTo>
                          <a:pt x="15" y="505"/>
                        </a:lnTo>
                        <a:lnTo>
                          <a:pt x="9" y="508"/>
                        </a:lnTo>
                        <a:lnTo>
                          <a:pt x="2" y="511"/>
                        </a:lnTo>
                        <a:lnTo>
                          <a:pt x="5" y="516"/>
                        </a:lnTo>
                        <a:lnTo>
                          <a:pt x="12" y="521"/>
                        </a:lnTo>
                        <a:lnTo>
                          <a:pt x="18" y="523"/>
                        </a:lnTo>
                        <a:lnTo>
                          <a:pt x="22" y="531"/>
                        </a:lnTo>
                        <a:lnTo>
                          <a:pt x="22" y="541"/>
                        </a:lnTo>
                        <a:lnTo>
                          <a:pt x="23" y="553"/>
                        </a:lnTo>
                        <a:lnTo>
                          <a:pt x="27" y="558"/>
                        </a:lnTo>
                        <a:lnTo>
                          <a:pt x="35" y="555"/>
                        </a:lnTo>
                        <a:lnTo>
                          <a:pt x="40" y="560"/>
                        </a:lnTo>
                        <a:lnTo>
                          <a:pt x="43" y="566"/>
                        </a:lnTo>
                        <a:lnTo>
                          <a:pt x="38" y="568"/>
                        </a:lnTo>
                        <a:lnTo>
                          <a:pt x="35" y="561"/>
                        </a:lnTo>
                        <a:lnTo>
                          <a:pt x="35" y="568"/>
                        </a:lnTo>
                        <a:lnTo>
                          <a:pt x="37" y="575"/>
                        </a:lnTo>
                        <a:lnTo>
                          <a:pt x="38" y="585"/>
                        </a:lnTo>
                        <a:lnTo>
                          <a:pt x="38" y="591"/>
                        </a:lnTo>
                        <a:lnTo>
                          <a:pt x="52" y="596"/>
                        </a:lnTo>
                        <a:lnTo>
                          <a:pt x="42" y="596"/>
                        </a:lnTo>
                        <a:lnTo>
                          <a:pt x="43" y="604"/>
                        </a:lnTo>
                        <a:lnTo>
                          <a:pt x="45" y="611"/>
                        </a:lnTo>
                        <a:lnTo>
                          <a:pt x="47" y="618"/>
                        </a:lnTo>
                        <a:lnTo>
                          <a:pt x="48" y="626"/>
                        </a:lnTo>
                        <a:lnTo>
                          <a:pt x="53" y="629"/>
                        </a:lnTo>
                        <a:lnTo>
                          <a:pt x="50" y="631"/>
                        </a:lnTo>
                        <a:lnTo>
                          <a:pt x="60" y="644"/>
                        </a:lnTo>
                        <a:lnTo>
                          <a:pt x="65" y="658"/>
                        </a:lnTo>
                        <a:lnTo>
                          <a:pt x="67" y="673"/>
                        </a:lnTo>
                        <a:lnTo>
                          <a:pt x="67" y="679"/>
                        </a:lnTo>
                        <a:lnTo>
                          <a:pt x="70" y="684"/>
                        </a:lnTo>
                        <a:lnTo>
                          <a:pt x="77" y="679"/>
                        </a:lnTo>
                        <a:lnTo>
                          <a:pt x="77" y="684"/>
                        </a:lnTo>
                        <a:lnTo>
                          <a:pt x="82" y="691"/>
                        </a:lnTo>
                        <a:lnTo>
                          <a:pt x="77" y="693"/>
                        </a:lnTo>
                        <a:lnTo>
                          <a:pt x="72" y="691"/>
                        </a:lnTo>
                        <a:lnTo>
                          <a:pt x="70" y="699"/>
                        </a:lnTo>
                        <a:lnTo>
                          <a:pt x="72" y="711"/>
                        </a:lnTo>
                        <a:lnTo>
                          <a:pt x="73" y="716"/>
                        </a:lnTo>
                        <a:lnTo>
                          <a:pt x="83" y="714"/>
                        </a:lnTo>
                        <a:lnTo>
                          <a:pt x="82" y="726"/>
                        </a:lnTo>
                        <a:lnTo>
                          <a:pt x="77" y="722"/>
                        </a:lnTo>
                        <a:lnTo>
                          <a:pt x="73" y="722"/>
                        </a:lnTo>
                        <a:lnTo>
                          <a:pt x="73" y="736"/>
                        </a:lnTo>
                        <a:lnTo>
                          <a:pt x="80" y="762"/>
                        </a:lnTo>
                        <a:lnTo>
                          <a:pt x="87" y="792"/>
                        </a:lnTo>
                        <a:lnTo>
                          <a:pt x="97" y="825"/>
                        </a:lnTo>
                        <a:lnTo>
                          <a:pt x="107" y="822"/>
                        </a:lnTo>
                        <a:lnTo>
                          <a:pt x="112" y="820"/>
                        </a:lnTo>
                        <a:lnTo>
                          <a:pt x="118" y="822"/>
                        </a:lnTo>
                        <a:lnTo>
                          <a:pt x="120" y="829"/>
                        </a:lnTo>
                        <a:lnTo>
                          <a:pt x="123" y="832"/>
                        </a:lnTo>
                        <a:lnTo>
                          <a:pt x="127" y="827"/>
                        </a:lnTo>
                        <a:lnTo>
                          <a:pt x="135" y="827"/>
                        </a:lnTo>
                        <a:lnTo>
                          <a:pt x="133" y="835"/>
                        </a:lnTo>
                        <a:lnTo>
                          <a:pt x="141" y="839"/>
                        </a:lnTo>
                        <a:lnTo>
                          <a:pt x="145" y="845"/>
                        </a:lnTo>
                        <a:lnTo>
                          <a:pt x="150" y="840"/>
                        </a:lnTo>
                        <a:lnTo>
                          <a:pt x="160" y="842"/>
                        </a:lnTo>
                        <a:lnTo>
                          <a:pt x="155" y="849"/>
                        </a:lnTo>
                        <a:lnTo>
                          <a:pt x="150" y="847"/>
                        </a:lnTo>
                        <a:lnTo>
                          <a:pt x="150" y="850"/>
                        </a:lnTo>
                        <a:lnTo>
                          <a:pt x="160" y="857"/>
                        </a:lnTo>
                        <a:lnTo>
                          <a:pt x="165" y="859"/>
                        </a:lnTo>
                        <a:lnTo>
                          <a:pt x="171" y="855"/>
                        </a:lnTo>
                        <a:lnTo>
                          <a:pt x="173" y="860"/>
                        </a:lnTo>
                        <a:lnTo>
                          <a:pt x="166" y="865"/>
                        </a:lnTo>
                        <a:lnTo>
                          <a:pt x="163" y="870"/>
                        </a:lnTo>
                        <a:lnTo>
                          <a:pt x="171" y="874"/>
                        </a:lnTo>
                        <a:lnTo>
                          <a:pt x="170" y="885"/>
                        </a:lnTo>
                        <a:lnTo>
                          <a:pt x="181" y="887"/>
                        </a:lnTo>
                        <a:lnTo>
                          <a:pt x="188" y="904"/>
                        </a:lnTo>
                        <a:lnTo>
                          <a:pt x="205" y="912"/>
                        </a:lnTo>
                        <a:lnTo>
                          <a:pt x="218" y="918"/>
                        </a:lnTo>
                        <a:lnTo>
                          <a:pt x="225" y="920"/>
                        </a:lnTo>
                        <a:lnTo>
                          <a:pt x="228" y="937"/>
                        </a:lnTo>
                        <a:lnTo>
                          <a:pt x="241" y="938"/>
                        </a:lnTo>
                        <a:lnTo>
                          <a:pt x="246" y="942"/>
                        </a:lnTo>
                        <a:lnTo>
                          <a:pt x="256" y="942"/>
                        </a:lnTo>
                        <a:lnTo>
                          <a:pt x="266" y="937"/>
                        </a:lnTo>
                        <a:lnTo>
                          <a:pt x="268" y="950"/>
                        </a:lnTo>
                        <a:lnTo>
                          <a:pt x="278" y="948"/>
                        </a:lnTo>
                        <a:lnTo>
                          <a:pt x="281" y="958"/>
                        </a:lnTo>
                        <a:lnTo>
                          <a:pt x="291" y="963"/>
                        </a:lnTo>
                        <a:lnTo>
                          <a:pt x="303" y="970"/>
                        </a:lnTo>
                        <a:lnTo>
                          <a:pt x="309" y="975"/>
                        </a:lnTo>
                        <a:lnTo>
                          <a:pt x="309" y="987"/>
                        </a:lnTo>
                        <a:lnTo>
                          <a:pt x="316" y="982"/>
                        </a:lnTo>
                        <a:lnTo>
                          <a:pt x="324" y="977"/>
                        </a:lnTo>
                        <a:lnTo>
                          <a:pt x="329" y="985"/>
                        </a:lnTo>
                        <a:lnTo>
                          <a:pt x="331" y="988"/>
                        </a:lnTo>
                        <a:lnTo>
                          <a:pt x="339" y="990"/>
                        </a:lnTo>
                        <a:lnTo>
                          <a:pt x="349" y="988"/>
                        </a:lnTo>
                        <a:lnTo>
                          <a:pt x="364" y="988"/>
                        </a:lnTo>
                        <a:lnTo>
                          <a:pt x="372" y="990"/>
                        </a:lnTo>
                        <a:lnTo>
                          <a:pt x="374" y="975"/>
                        </a:lnTo>
                        <a:lnTo>
                          <a:pt x="381" y="965"/>
                        </a:lnTo>
                        <a:lnTo>
                          <a:pt x="391" y="962"/>
                        </a:lnTo>
                        <a:lnTo>
                          <a:pt x="397" y="960"/>
                        </a:lnTo>
                        <a:lnTo>
                          <a:pt x="401" y="968"/>
                        </a:lnTo>
                        <a:lnTo>
                          <a:pt x="409" y="973"/>
                        </a:lnTo>
                        <a:lnTo>
                          <a:pt x="411" y="967"/>
                        </a:lnTo>
                        <a:lnTo>
                          <a:pt x="426" y="963"/>
                        </a:lnTo>
                        <a:lnTo>
                          <a:pt x="439" y="963"/>
                        </a:lnTo>
                        <a:lnTo>
                          <a:pt x="441" y="970"/>
                        </a:lnTo>
                        <a:lnTo>
                          <a:pt x="452" y="968"/>
                        </a:lnTo>
                        <a:lnTo>
                          <a:pt x="459" y="968"/>
                        </a:lnTo>
                        <a:lnTo>
                          <a:pt x="459" y="958"/>
                        </a:lnTo>
                        <a:lnTo>
                          <a:pt x="469" y="945"/>
                        </a:lnTo>
                        <a:lnTo>
                          <a:pt x="479" y="945"/>
                        </a:lnTo>
                        <a:lnTo>
                          <a:pt x="485" y="943"/>
                        </a:lnTo>
                        <a:lnTo>
                          <a:pt x="487" y="938"/>
                        </a:lnTo>
                        <a:lnTo>
                          <a:pt x="490" y="933"/>
                        </a:lnTo>
                        <a:lnTo>
                          <a:pt x="497" y="932"/>
                        </a:lnTo>
                        <a:lnTo>
                          <a:pt x="504" y="923"/>
                        </a:lnTo>
                        <a:lnTo>
                          <a:pt x="504" y="917"/>
                        </a:lnTo>
                        <a:lnTo>
                          <a:pt x="497" y="910"/>
                        </a:lnTo>
                        <a:lnTo>
                          <a:pt x="480" y="907"/>
                        </a:lnTo>
                        <a:lnTo>
                          <a:pt x="470" y="907"/>
                        </a:lnTo>
                        <a:lnTo>
                          <a:pt x="462" y="907"/>
                        </a:lnTo>
                        <a:lnTo>
                          <a:pt x="461" y="899"/>
                        </a:lnTo>
                        <a:lnTo>
                          <a:pt x="466" y="894"/>
                        </a:lnTo>
                        <a:lnTo>
                          <a:pt x="479" y="889"/>
                        </a:lnTo>
                        <a:lnTo>
                          <a:pt x="484" y="879"/>
                        </a:lnTo>
                        <a:lnTo>
                          <a:pt x="487" y="865"/>
                        </a:lnTo>
                        <a:lnTo>
                          <a:pt x="479" y="862"/>
                        </a:lnTo>
                        <a:lnTo>
                          <a:pt x="477" y="850"/>
                        </a:lnTo>
                        <a:lnTo>
                          <a:pt x="477" y="840"/>
                        </a:lnTo>
                        <a:lnTo>
                          <a:pt x="489" y="835"/>
                        </a:lnTo>
                        <a:lnTo>
                          <a:pt x="499" y="839"/>
                        </a:lnTo>
                        <a:lnTo>
                          <a:pt x="509" y="824"/>
                        </a:lnTo>
                        <a:lnTo>
                          <a:pt x="509" y="810"/>
                        </a:lnTo>
                        <a:lnTo>
                          <a:pt x="525" y="804"/>
                        </a:lnTo>
                        <a:lnTo>
                          <a:pt x="535" y="809"/>
                        </a:lnTo>
                        <a:lnTo>
                          <a:pt x="537" y="819"/>
                        </a:lnTo>
                        <a:lnTo>
                          <a:pt x="540" y="819"/>
                        </a:lnTo>
                        <a:lnTo>
                          <a:pt x="542" y="815"/>
                        </a:lnTo>
                        <a:lnTo>
                          <a:pt x="547" y="809"/>
                        </a:lnTo>
                        <a:lnTo>
                          <a:pt x="562" y="819"/>
                        </a:lnTo>
                        <a:lnTo>
                          <a:pt x="575" y="824"/>
                        </a:lnTo>
                        <a:lnTo>
                          <a:pt x="575" y="819"/>
                        </a:lnTo>
                        <a:lnTo>
                          <a:pt x="587" y="805"/>
                        </a:lnTo>
                        <a:lnTo>
                          <a:pt x="590" y="799"/>
                        </a:lnTo>
                        <a:lnTo>
                          <a:pt x="597" y="807"/>
                        </a:lnTo>
                        <a:lnTo>
                          <a:pt x="610" y="809"/>
                        </a:lnTo>
                        <a:lnTo>
                          <a:pt x="598" y="799"/>
                        </a:lnTo>
                        <a:lnTo>
                          <a:pt x="607" y="797"/>
                        </a:lnTo>
                        <a:lnTo>
                          <a:pt x="608" y="786"/>
                        </a:lnTo>
                        <a:lnTo>
                          <a:pt x="618" y="777"/>
                        </a:lnTo>
                        <a:lnTo>
                          <a:pt x="620" y="771"/>
                        </a:lnTo>
                        <a:lnTo>
                          <a:pt x="618" y="766"/>
                        </a:lnTo>
                        <a:lnTo>
                          <a:pt x="623" y="759"/>
                        </a:lnTo>
                        <a:lnTo>
                          <a:pt x="623" y="751"/>
                        </a:lnTo>
                        <a:lnTo>
                          <a:pt x="613" y="754"/>
                        </a:lnTo>
                        <a:lnTo>
                          <a:pt x="610" y="746"/>
                        </a:lnTo>
                        <a:lnTo>
                          <a:pt x="595" y="746"/>
                        </a:lnTo>
                        <a:lnTo>
                          <a:pt x="595" y="722"/>
                        </a:lnTo>
                        <a:lnTo>
                          <a:pt x="597" y="709"/>
                        </a:lnTo>
                        <a:lnTo>
                          <a:pt x="584" y="706"/>
                        </a:lnTo>
                        <a:lnTo>
                          <a:pt x="570" y="712"/>
                        </a:lnTo>
                        <a:lnTo>
                          <a:pt x="570" y="702"/>
                        </a:lnTo>
                        <a:lnTo>
                          <a:pt x="565" y="699"/>
                        </a:lnTo>
                        <a:lnTo>
                          <a:pt x="549" y="693"/>
                        </a:lnTo>
                        <a:lnTo>
                          <a:pt x="555" y="691"/>
                        </a:lnTo>
                        <a:lnTo>
                          <a:pt x="555" y="684"/>
                        </a:lnTo>
                        <a:lnTo>
                          <a:pt x="562" y="673"/>
                        </a:lnTo>
                        <a:lnTo>
                          <a:pt x="554" y="664"/>
                        </a:lnTo>
                        <a:lnTo>
                          <a:pt x="545" y="664"/>
                        </a:lnTo>
                        <a:lnTo>
                          <a:pt x="539" y="671"/>
                        </a:lnTo>
                        <a:lnTo>
                          <a:pt x="529" y="673"/>
                        </a:lnTo>
                        <a:lnTo>
                          <a:pt x="534" y="663"/>
                        </a:lnTo>
                        <a:lnTo>
                          <a:pt x="535" y="651"/>
                        </a:lnTo>
                        <a:lnTo>
                          <a:pt x="525" y="658"/>
                        </a:lnTo>
                        <a:lnTo>
                          <a:pt x="519" y="653"/>
                        </a:lnTo>
                        <a:lnTo>
                          <a:pt x="512" y="661"/>
                        </a:lnTo>
                        <a:lnTo>
                          <a:pt x="517" y="663"/>
                        </a:lnTo>
                        <a:lnTo>
                          <a:pt x="510" y="669"/>
                        </a:lnTo>
                        <a:lnTo>
                          <a:pt x="490" y="678"/>
                        </a:lnTo>
                        <a:lnTo>
                          <a:pt x="489" y="684"/>
                        </a:lnTo>
                        <a:lnTo>
                          <a:pt x="477" y="688"/>
                        </a:lnTo>
                        <a:lnTo>
                          <a:pt x="472" y="681"/>
                        </a:lnTo>
                        <a:lnTo>
                          <a:pt x="469" y="689"/>
                        </a:lnTo>
                        <a:lnTo>
                          <a:pt x="457" y="688"/>
                        </a:lnTo>
                        <a:lnTo>
                          <a:pt x="466" y="678"/>
                        </a:lnTo>
                        <a:lnTo>
                          <a:pt x="457" y="673"/>
                        </a:lnTo>
                        <a:lnTo>
                          <a:pt x="457" y="668"/>
                        </a:lnTo>
                        <a:lnTo>
                          <a:pt x="452" y="669"/>
                        </a:lnTo>
                        <a:lnTo>
                          <a:pt x="452" y="661"/>
                        </a:lnTo>
                        <a:lnTo>
                          <a:pt x="461" y="658"/>
                        </a:lnTo>
                        <a:lnTo>
                          <a:pt x="462" y="649"/>
                        </a:lnTo>
                        <a:lnTo>
                          <a:pt x="451" y="644"/>
                        </a:lnTo>
                        <a:lnTo>
                          <a:pt x="449" y="653"/>
                        </a:lnTo>
                        <a:lnTo>
                          <a:pt x="451" y="658"/>
                        </a:lnTo>
                        <a:lnTo>
                          <a:pt x="446" y="666"/>
                        </a:lnTo>
                        <a:lnTo>
                          <a:pt x="437" y="669"/>
                        </a:lnTo>
                        <a:lnTo>
                          <a:pt x="431" y="659"/>
                        </a:lnTo>
                        <a:lnTo>
                          <a:pt x="429" y="666"/>
                        </a:lnTo>
                        <a:lnTo>
                          <a:pt x="421" y="654"/>
                        </a:lnTo>
                        <a:lnTo>
                          <a:pt x="419" y="666"/>
                        </a:lnTo>
                        <a:lnTo>
                          <a:pt x="424" y="676"/>
                        </a:lnTo>
                        <a:lnTo>
                          <a:pt x="417" y="679"/>
                        </a:lnTo>
                        <a:lnTo>
                          <a:pt x="412" y="678"/>
                        </a:lnTo>
                        <a:lnTo>
                          <a:pt x="409" y="684"/>
                        </a:lnTo>
                        <a:lnTo>
                          <a:pt x="404" y="679"/>
                        </a:lnTo>
                        <a:lnTo>
                          <a:pt x="396" y="683"/>
                        </a:lnTo>
                        <a:lnTo>
                          <a:pt x="394" y="671"/>
                        </a:lnTo>
                        <a:lnTo>
                          <a:pt x="406" y="659"/>
                        </a:lnTo>
                        <a:lnTo>
                          <a:pt x="399" y="643"/>
                        </a:lnTo>
                        <a:lnTo>
                          <a:pt x="389" y="641"/>
                        </a:lnTo>
                        <a:lnTo>
                          <a:pt x="392" y="633"/>
                        </a:lnTo>
                        <a:lnTo>
                          <a:pt x="389" y="626"/>
                        </a:lnTo>
                        <a:lnTo>
                          <a:pt x="381" y="621"/>
                        </a:lnTo>
                        <a:lnTo>
                          <a:pt x="391" y="616"/>
                        </a:lnTo>
                        <a:lnTo>
                          <a:pt x="401" y="616"/>
                        </a:lnTo>
                        <a:lnTo>
                          <a:pt x="404" y="626"/>
                        </a:lnTo>
                        <a:lnTo>
                          <a:pt x="404" y="638"/>
                        </a:lnTo>
                        <a:lnTo>
                          <a:pt x="414" y="639"/>
                        </a:lnTo>
                        <a:lnTo>
                          <a:pt x="424" y="644"/>
                        </a:lnTo>
                        <a:lnTo>
                          <a:pt x="441" y="639"/>
                        </a:lnTo>
                        <a:lnTo>
                          <a:pt x="446" y="643"/>
                        </a:lnTo>
                        <a:lnTo>
                          <a:pt x="456" y="631"/>
                        </a:lnTo>
                        <a:lnTo>
                          <a:pt x="451" y="629"/>
                        </a:lnTo>
                        <a:lnTo>
                          <a:pt x="461" y="618"/>
                        </a:lnTo>
                        <a:lnTo>
                          <a:pt x="472" y="624"/>
                        </a:lnTo>
                        <a:lnTo>
                          <a:pt x="477" y="618"/>
                        </a:lnTo>
                        <a:lnTo>
                          <a:pt x="470" y="609"/>
                        </a:lnTo>
                        <a:lnTo>
                          <a:pt x="462" y="596"/>
                        </a:lnTo>
                        <a:lnTo>
                          <a:pt x="456" y="594"/>
                        </a:lnTo>
                        <a:lnTo>
                          <a:pt x="452" y="601"/>
                        </a:lnTo>
                        <a:lnTo>
                          <a:pt x="457" y="608"/>
                        </a:lnTo>
                        <a:lnTo>
                          <a:pt x="461" y="616"/>
                        </a:lnTo>
                        <a:lnTo>
                          <a:pt x="451" y="616"/>
                        </a:lnTo>
                        <a:lnTo>
                          <a:pt x="452" y="608"/>
                        </a:lnTo>
                        <a:lnTo>
                          <a:pt x="442" y="604"/>
                        </a:lnTo>
                        <a:lnTo>
                          <a:pt x="441" y="596"/>
                        </a:lnTo>
                        <a:lnTo>
                          <a:pt x="432" y="596"/>
                        </a:lnTo>
                        <a:lnTo>
                          <a:pt x="424" y="593"/>
                        </a:lnTo>
                        <a:lnTo>
                          <a:pt x="419" y="598"/>
                        </a:lnTo>
                        <a:lnTo>
                          <a:pt x="419" y="604"/>
                        </a:lnTo>
                        <a:lnTo>
                          <a:pt x="416" y="611"/>
                        </a:lnTo>
                        <a:lnTo>
                          <a:pt x="392" y="606"/>
                        </a:lnTo>
                        <a:lnTo>
                          <a:pt x="392" y="599"/>
                        </a:lnTo>
                        <a:lnTo>
                          <a:pt x="387" y="598"/>
                        </a:lnTo>
                        <a:lnTo>
                          <a:pt x="384" y="589"/>
                        </a:lnTo>
                        <a:lnTo>
                          <a:pt x="396" y="581"/>
                        </a:lnTo>
                        <a:lnTo>
                          <a:pt x="399" y="573"/>
                        </a:lnTo>
                        <a:lnTo>
                          <a:pt x="392" y="568"/>
                        </a:lnTo>
                        <a:lnTo>
                          <a:pt x="384" y="575"/>
                        </a:lnTo>
                        <a:lnTo>
                          <a:pt x="371" y="561"/>
                        </a:lnTo>
                        <a:lnTo>
                          <a:pt x="369" y="550"/>
                        </a:lnTo>
                        <a:lnTo>
                          <a:pt x="372" y="541"/>
                        </a:lnTo>
                        <a:lnTo>
                          <a:pt x="374" y="530"/>
                        </a:lnTo>
                        <a:lnTo>
                          <a:pt x="382" y="530"/>
                        </a:lnTo>
                        <a:lnTo>
                          <a:pt x="386" y="510"/>
                        </a:lnTo>
                        <a:lnTo>
                          <a:pt x="384" y="503"/>
                        </a:lnTo>
                        <a:lnTo>
                          <a:pt x="372" y="503"/>
                        </a:lnTo>
                        <a:lnTo>
                          <a:pt x="367" y="503"/>
                        </a:lnTo>
                        <a:lnTo>
                          <a:pt x="372" y="495"/>
                        </a:lnTo>
                        <a:lnTo>
                          <a:pt x="374" y="486"/>
                        </a:lnTo>
                        <a:lnTo>
                          <a:pt x="381" y="488"/>
                        </a:lnTo>
                        <a:lnTo>
                          <a:pt x="386" y="496"/>
                        </a:lnTo>
                        <a:lnTo>
                          <a:pt x="397" y="495"/>
                        </a:lnTo>
                        <a:lnTo>
                          <a:pt x="409" y="491"/>
                        </a:lnTo>
                        <a:lnTo>
                          <a:pt x="409" y="501"/>
                        </a:lnTo>
                        <a:lnTo>
                          <a:pt x="419" y="498"/>
                        </a:lnTo>
                        <a:lnTo>
                          <a:pt x="424" y="493"/>
                        </a:lnTo>
                        <a:lnTo>
                          <a:pt x="424" y="481"/>
                        </a:lnTo>
                        <a:lnTo>
                          <a:pt x="424" y="481"/>
                        </a:lnTo>
                        <a:lnTo>
                          <a:pt x="424" y="481"/>
                        </a:lnTo>
                        <a:close/>
                      </a:path>
                    </a:pathLst>
                  </a:custGeom>
                  <a:solidFill>
                    <a:schemeClr val="accent1">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33" name="Freeform 1128">
                    <a:extLst>
                      <a:ext uri="{FF2B5EF4-FFF2-40B4-BE49-F238E27FC236}">
                        <a16:creationId xmlns:a16="http://schemas.microsoft.com/office/drawing/2014/main" id="{4675B24D-9B4C-4A2A-B29A-D7B3C9DC5BEF}"/>
                      </a:ext>
                    </a:extLst>
                  </p:cNvPr>
                  <p:cNvSpPr>
                    <a:spLocks/>
                  </p:cNvSpPr>
                  <p:nvPr/>
                </p:nvSpPr>
                <p:spPr bwMode="auto">
                  <a:xfrm>
                    <a:off x="3483387" y="5458385"/>
                    <a:ext cx="744193" cy="1015487"/>
                  </a:xfrm>
                  <a:custGeom>
                    <a:avLst/>
                    <a:gdLst>
                      <a:gd name="T0" fmla="*/ 145 w 598"/>
                      <a:gd name="T1" fmla="*/ 555 h 816"/>
                      <a:gd name="T2" fmla="*/ 155 w 598"/>
                      <a:gd name="T3" fmla="*/ 583 h 816"/>
                      <a:gd name="T4" fmla="*/ 168 w 598"/>
                      <a:gd name="T5" fmla="*/ 601 h 816"/>
                      <a:gd name="T6" fmla="*/ 150 w 598"/>
                      <a:gd name="T7" fmla="*/ 644 h 816"/>
                      <a:gd name="T8" fmla="*/ 130 w 598"/>
                      <a:gd name="T9" fmla="*/ 666 h 816"/>
                      <a:gd name="T10" fmla="*/ 133 w 598"/>
                      <a:gd name="T11" fmla="*/ 716 h 816"/>
                      <a:gd name="T12" fmla="*/ 100 w 598"/>
                      <a:gd name="T13" fmla="*/ 761 h 816"/>
                      <a:gd name="T14" fmla="*/ 166 w 598"/>
                      <a:gd name="T15" fmla="*/ 811 h 816"/>
                      <a:gd name="T16" fmla="*/ 214 w 598"/>
                      <a:gd name="T17" fmla="*/ 791 h 816"/>
                      <a:gd name="T18" fmla="*/ 271 w 598"/>
                      <a:gd name="T19" fmla="*/ 739 h 816"/>
                      <a:gd name="T20" fmla="*/ 274 w 598"/>
                      <a:gd name="T21" fmla="*/ 701 h 816"/>
                      <a:gd name="T22" fmla="*/ 344 w 598"/>
                      <a:gd name="T23" fmla="*/ 654 h 816"/>
                      <a:gd name="T24" fmla="*/ 420 w 598"/>
                      <a:gd name="T25" fmla="*/ 639 h 816"/>
                      <a:gd name="T26" fmla="*/ 384 w 598"/>
                      <a:gd name="T27" fmla="*/ 610 h 816"/>
                      <a:gd name="T28" fmla="*/ 430 w 598"/>
                      <a:gd name="T29" fmla="*/ 531 h 816"/>
                      <a:gd name="T30" fmla="*/ 437 w 598"/>
                      <a:gd name="T31" fmla="*/ 498 h 816"/>
                      <a:gd name="T32" fmla="*/ 475 w 598"/>
                      <a:gd name="T33" fmla="*/ 483 h 816"/>
                      <a:gd name="T34" fmla="*/ 484 w 598"/>
                      <a:gd name="T35" fmla="*/ 483 h 816"/>
                      <a:gd name="T36" fmla="*/ 509 w 598"/>
                      <a:gd name="T37" fmla="*/ 487 h 816"/>
                      <a:gd name="T38" fmla="*/ 527 w 598"/>
                      <a:gd name="T39" fmla="*/ 392 h 816"/>
                      <a:gd name="T40" fmla="*/ 515 w 598"/>
                      <a:gd name="T41" fmla="*/ 320 h 816"/>
                      <a:gd name="T42" fmla="*/ 514 w 598"/>
                      <a:gd name="T43" fmla="*/ 289 h 816"/>
                      <a:gd name="T44" fmla="*/ 562 w 598"/>
                      <a:gd name="T45" fmla="*/ 176 h 816"/>
                      <a:gd name="T46" fmla="*/ 547 w 598"/>
                      <a:gd name="T47" fmla="*/ 153 h 816"/>
                      <a:gd name="T48" fmla="*/ 583 w 598"/>
                      <a:gd name="T49" fmla="*/ 106 h 816"/>
                      <a:gd name="T50" fmla="*/ 595 w 598"/>
                      <a:gd name="T51" fmla="*/ 23 h 816"/>
                      <a:gd name="T52" fmla="*/ 553 w 598"/>
                      <a:gd name="T53" fmla="*/ 0 h 816"/>
                      <a:gd name="T54" fmla="*/ 509 w 598"/>
                      <a:gd name="T55" fmla="*/ 38 h 816"/>
                      <a:gd name="T56" fmla="*/ 505 w 598"/>
                      <a:gd name="T57" fmla="*/ 41 h 816"/>
                      <a:gd name="T58" fmla="*/ 472 w 598"/>
                      <a:gd name="T59" fmla="*/ 35 h 816"/>
                      <a:gd name="T60" fmla="*/ 472 w 598"/>
                      <a:gd name="T61" fmla="*/ 51 h 816"/>
                      <a:gd name="T62" fmla="*/ 435 w 598"/>
                      <a:gd name="T63" fmla="*/ 63 h 816"/>
                      <a:gd name="T64" fmla="*/ 409 w 598"/>
                      <a:gd name="T65" fmla="*/ 80 h 816"/>
                      <a:gd name="T66" fmla="*/ 379 w 598"/>
                      <a:gd name="T67" fmla="*/ 70 h 816"/>
                      <a:gd name="T68" fmla="*/ 327 w 598"/>
                      <a:gd name="T69" fmla="*/ 124 h 816"/>
                      <a:gd name="T70" fmla="*/ 294 w 598"/>
                      <a:gd name="T71" fmla="*/ 114 h 816"/>
                      <a:gd name="T72" fmla="*/ 263 w 598"/>
                      <a:gd name="T73" fmla="*/ 114 h 816"/>
                      <a:gd name="T74" fmla="*/ 229 w 598"/>
                      <a:gd name="T75" fmla="*/ 116 h 816"/>
                      <a:gd name="T76" fmla="*/ 199 w 598"/>
                      <a:gd name="T77" fmla="*/ 156 h 816"/>
                      <a:gd name="T78" fmla="*/ 181 w 598"/>
                      <a:gd name="T79" fmla="*/ 193 h 816"/>
                      <a:gd name="T80" fmla="*/ 224 w 598"/>
                      <a:gd name="T81" fmla="*/ 209 h 816"/>
                      <a:gd name="T82" fmla="*/ 198 w 598"/>
                      <a:gd name="T83" fmla="*/ 241 h 816"/>
                      <a:gd name="T84" fmla="*/ 161 w 598"/>
                      <a:gd name="T85" fmla="*/ 264 h 816"/>
                      <a:gd name="T86" fmla="*/ 121 w 598"/>
                      <a:gd name="T87" fmla="*/ 262 h 816"/>
                      <a:gd name="T88" fmla="*/ 85 w 598"/>
                      <a:gd name="T89" fmla="*/ 281 h 816"/>
                      <a:gd name="T90" fmla="*/ 32 w 598"/>
                      <a:gd name="T91" fmla="*/ 279 h 816"/>
                      <a:gd name="T92" fmla="*/ 5 w 598"/>
                      <a:gd name="T93" fmla="*/ 306 h 816"/>
                      <a:gd name="T94" fmla="*/ 38 w 598"/>
                      <a:gd name="T95" fmla="*/ 335 h 816"/>
                      <a:gd name="T96" fmla="*/ 76 w 598"/>
                      <a:gd name="T97" fmla="*/ 344 h 816"/>
                      <a:gd name="T98" fmla="*/ 81 w 598"/>
                      <a:gd name="T99" fmla="*/ 369 h 816"/>
                      <a:gd name="T100" fmla="*/ 68 w 598"/>
                      <a:gd name="T101" fmla="*/ 385 h 816"/>
                      <a:gd name="T102" fmla="*/ 96 w 598"/>
                      <a:gd name="T103" fmla="*/ 412 h 816"/>
                      <a:gd name="T104" fmla="*/ 85 w 598"/>
                      <a:gd name="T105" fmla="*/ 445 h 816"/>
                      <a:gd name="T106" fmla="*/ 111 w 598"/>
                      <a:gd name="T107" fmla="*/ 485 h 816"/>
                      <a:gd name="T108" fmla="*/ 151 w 598"/>
                      <a:gd name="T109" fmla="*/ 493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8" h="816">
                        <a:moveTo>
                          <a:pt x="140" y="508"/>
                        </a:moveTo>
                        <a:lnTo>
                          <a:pt x="150" y="525"/>
                        </a:lnTo>
                        <a:lnTo>
                          <a:pt x="145" y="533"/>
                        </a:lnTo>
                        <a:lnTo>
                          <a:pt x="143" y="541"/>
                        </a:lnTo>
                        <a:lnTo>
                          <a:pt x="145" y="555"/>
                        </a:lnTo>
                        <a:lnTo>
                          <a:pt x="135" y="565"/>
                        </a:lnTo>
                        <a:lnTo>
                          <a:pt x="133" y="578"/>
                        </a:lnTo>
                        <a:lnTo>
                          <a:pt x="141" y="583"/>
                        </a:lnTo>
                        <a:lnTo>
                          <a:pt x="146" y="581"/>
                        </a:lnTo>
                        <a:lnTo>
                          <a:pt x="155" y="583"/>
                        </a:lnTo>
                        <a:lnTo>
                          <a:pt x="156" y="586"/>
                        </a:lnTo>
                        <a:lnTo>
                          <a:pt x="163" y="585"/>
                        </a:lnTo>
                        <a:lnTo>
                          <a:pt x="165" y="591"/>
                        </a:lnTo>
                        <a:lnTo>
                          <a:pt x="170" y="593"/>
                        </a:lnTo>
                        <a:lnTo>
                          <a:pt x="168" y="601"/>
                        </a:lnTo>
                        <a:lnTo>
                          <a:pt x="161" y="605"/>
                        </a:lnTo>
                        <a:lnTo>
                          <a:pt x="158" y="613"/>
                        </a:lnTo>
                        <a:lnTo>
                          <a:pt x="156" y="623"/>
                        </a:lnTo>
                        <a:lnTo>
                          <a:pt x="150" y="628"/>
                        </a:lnTo>
                        <a:lnTo>
                          <a:pt x="150" y="644"/>
                        </a:lnTo>
                        <a:lnTo>
                          <a:pt x="145" y="649"/>
                        </a:lnTo>
                        <a:lnTo>
                          <a:pt x="140" y="649"/>
                        </a:lnTo>
                        <a:lnTo>
                          <a:pt x="140" y="658"/>
                        </a:lnTo>
                        <a:lnTo>
                          <a:pt x="133" y="658"/>
                        </a:lnTo>
                        <a:lnTo>
                          <a:pt x="130" y="666"/>
                        </a:lnTo>
                        <a:lnTo>
                          <a:pt x="130" y="673"/>
                        </a:lnTo>
                        <a:lnTo>
                          <a:pt x="140" y="681"/>
                        </a:lnTo>
                        <a:lnTo>
                          <a:pt x="143" y="696"/>
                        </a:lnTo>
                        <a:lnTo>
                          <a:pt x="133" y="706"/>
                        </a:lnTo>
                        <a:lnTo>
                          <a:pt x="133" y="716"/>
                        </a:lnTo>
                        <a:lnTo>
                          <a:pt x="125" y="724"/>
                        </a:lnTo>
                        <a:lnTo>
                          <a:pt x="113" y="741"/>
                        </a:lnTo>
                        <a:lnTo>
                          <a:pt x="96" y="746"/>
                        </a:lnTo>
                        <a:lnTo>
                          <a:pt x="86" y="744"/>
                        </a:lnTo>
                        <a:lnTo>
                          <a:pt x="100" y="761"/>
                        </a:lnTo>
                        <a:lnTo>
                          <a:pt x="118" y="779"/>
                        </a:lnTo>
                        <a:lnTo>
                          <a:pt x="128" y="782"/>
                        </a:lnTo>
                        <a:lnTo>
                          <a:pt x="141" y="797"/>
                        </a:lnTo>
                        <a:lnTo>
                          <a:pt x="151" y="806"/>
                        </a:lnTo>
                        <a:lnTo>
                          <a:pt x="166" y="811"/>
                        </a:lnTo>
                        <a:lnTo>
                          <a:pt x="180" y="816"/>
                        </a:lnTo>
                        <a:lnTo>
                          <a:pt x="188" y="812"/>
                        </a:lnTo>
                        <a:lnTo>
                          <a:pt x="191" y="806"/>
                        </a:lnTo>
                        <a:lnTo>
                          <a:pt x="196" y="806"/>
                        </a:lnTo>
                        <a:lnTo>
                          <a:pt x="214" y="791"/>
                        </a:lnTo>
                        <a:lnTo>
                          <a:pt x="248" y="772"/>
                        </a:lnTo>
                        <a:lnTo>
                          <a:pt x="254" y="772"/>
                        </a:lnTo>
                        <a:lnTo>
                          <a:pt x="261" y="762"/>
                        </a:lnTo>
                        <a:lnTo>
                          <a:pt x="269" y="751"/>
                        </a:lnTo>
                        <a:lnTo>
                          <a:pt x="271" y="739"/>
                        </a:lnTo>
                        <a:lnTo>
                          <a:pt x="269" y="729"/>
                        </a:lnTo>
                        <a:lnTo>
                          <a:pt x="271" y="718"/>
                        </a:lnTo>
                        <a:lnTo>
                          <a:pt x="276" y="713"/>
                        </a:lnTo>
                        <a:lnTo>
                          <a:pt x="274" y="709"/>
                        </a:lnTo>
                        <a:lnTo>
                          <a:pt x="274" y="701"/>
                        </a:lnTo>
                        <a:lnTo>
                          <a:pt x="276" y="689"/>
                        </a:lnTo>
                        <a:lnTo>
                          <a:pt x="284" y="678"/>
                        </a:lnTo>
                        <a:lnTo>
                          <a:pt x="301" y="666"/>
                        </a:lnTo>
                        <a:lnTo>
                          <a:pt x="319" y="659"/>
                        </a:lnTo>
                        <a:lnTo>
                          <a:pt x="344" y="654"/>
                        </a:lnTo>
                        <a:lnTo>
                          <a:pt x="351" y="649"/>
                        </a:lnTo>
                        <a:lnTo>
                          <a:pt x="371" y="643"/>
                        </a:lnTo>
                        <a:lnTo>
                          <a:pt x="392" y="638"/>
                        </a:lnTo>
                        <a:lnTo>
                          <a:pt x="409" y="639"/>
                        </a:lnTo>
                        <a:lnTo>
                          <a:pt x="420" y="639"/>
                        </a:lnTo>
                        <a:lnTo>
                          <a:pt x="422" y="635"/>
                        </a:lnTo>
                        <a:lnTo>
                          <a:pt x="411" y="635"/>
                        </a:lnTo>
                        <a:lnTo>
                          <a:pt x="399" y="628"/>
                        </a:lnTo>
                        <a:lnTo>
                          <a:pt x="389" y="620"/>
                        </a:lnTo>
                        <a:lnTo>
                          <a:pt x="384" y="610"/>
                        </a:lnTo>
                        <a:lnTo>
                          <a:pt x="384" y="603"/>
                        </a:lnTo>
                        <a:lnTo>
                          <a:pt x="386" y="596"/>
                        </a:lnTo>
                        <a:lnTo>
                          <a:pt x="391" y="586"/>
                        </a:lnTo>
                        <a:lnTo>
                          <a:pt x="406" y="566"/>
                        </a:lnTo>
                        <a:lnTo>
                          <a:pt x="430" y="531"/>
                        </a:lnTo>
                        <a:lnTo>
                          <a:pt x="437" y="528"/>
                        </a:lnTo>
                        <a:lnTo>
                          <a:pt x="432" y="518"/>
                        </a:lnTo>
                        <a:lnTo>
                          <a:pt x="432" y="512"/>
                        </a:lnTo>
                        <a:lnTo>
                          <a:pt x="439" y="503"/>
                        </a:lnTo>
                        <a:lnTo>
                          <a:pt x="437" y="498"/>
                        </a:lnTo>
                        <a:lnTo>
                          <a:pt x="442" y="492"/>
                        </a:lnTo>
                        <a:lnTo>
                          <a:pt x="454" y="485"/>
                        </a:lnTo>
                        <a:lnTo>
                          <a:pt x="467" y="485"/>
                        </a:lnTo>
                        <a:lnTo>
                          <a:pt x="472" y="487"/>
                        </a:lnTo>
                        <a:lnTo>
                          <a:pt x="475" y="483"/>
                        </a:lnTo>
                        <a:lnTo>
                          <a:pt x="474" y="475"/>
                        </a:lnTo>
                        <a:lnTo>
                          <a:pt x="482" y="477"/>
                        </a:lnTo>
                        <a:lnTo>
                          <a:pt x="485" y="482"/>
                        </a:lnTo>
                        <a:lnTo>
                          <a:pt x="477" y="483"/>
                        </a:lnTo>
                        <a:lnTo>
                          <a:pt x="484" y="483"/>
                        </a:lnTo>
                        <a:lnTo>
                          <a:pt x="494" y="487"/>
                        </a:lnTo>
                        <a:lnTo>
                          <a:pt x="490" y="480"/>
                        </a:lnTo>
                        <a:lnTo>
                          <a:pt x="499" y="480"/>
                        </a:lnTo>
                        <a:lnTo>
                          <a:pt x="505" y="482"/>
                        </a:lnTo>
                        <a:lnTo>
                          <a:pt x="509" y="487"/>
                        </a:lnTo>
                        <a:lnTo>
                          <a:pt x="515" y="492"/>
                        </a:lnTo>
                        <a:lnTo>
                          <a:pt x="529" y="490"/>
                        </a:lnTo>
                        <a:lnTo>
                          <a:pt x="525" y="447"/>
                        </a:lnTo>
                        <a:lnTo>
                          <a:pt x="524" y="412"/>
                        </a:lnTo>
                        <a:lnTo>
                          <a:pt x="527" y="392"/>
                        </a:lnTo>
                        <a:lnTo>
                          <a:pt x="525" y="374"/>
                        </a:lnTo>
                        <a:lnTo>
                          <a:pt x="525" y="359"/>
                        </a:lnTo>
                        <a:lnTo>
                          <a:pt x="524" y="344"/>
                        </a:lnTo>
                        <a:lnTo>
                          <a:pt x="520" y="325"/>
                        </a:lnTo>
                        <a:lnTo>
                          <a:pt x="515" y="320"/>
                        </a:lnTo>
                        <a:lnTo>
                          <a:pt x="510" y="327"/>
                        </a:lnTo>
                        <a:lnTo>
                          <a:pt x="515" y="315"/>
                        </a:lnTo>
                        <a:lnTo>
                          <a:pt x="515" y="311"/>
                        </a:lnTo>
                        <a:lnTo>
                          <a:pt x="512" y="301"/>
                        </a:lnTo>
                        <a:lnTo>
                          <a:pt x="514" y="289"/>
                        </a:lnTo>
                        <a:lnTo>
                          <a:pt x="515" y="276"/>
                        </a:lnTo>
                        <a:lnTo>
                          <a:pt x="520" y="256"/>
                        </a:lnTo>
                        <a:lnTo>
                          <a:pt x="530" y="227"/>
                        </a:lnTo>
                        <a:lnTo>
                          <a:pt x="540" y="211"/>
                        </a:lnTo>
                        <a:lnTo>
                          <a:pt x="562" y="176"/>
                        </a:lnTo>
                        <a:lnTo>
                          <a:pt x="567" y="171"/>
                        </a:lnTo>
                        <a:lnTo>
                          <a:pt x="567" y="166"/>
                        </a:lnTo>
                        <a:lnTo>
                          <a:pt x="555" y="163"/>
                        </a:lnTo>
                        <a:lnTo>
                          <a:pt x="545" y="158"/>
                        </a:lnTo>
                        <a:lnTo>
                          <a:pt x="547" y="153"/>
                        </a:lnTo>
                        <a:lnTo>
                          <a:pt x="560" y="161"/>
                        </a:lnTo>
                        <a:lnTo>
                          <a:pt x="567" y="164"/>
                        </a:lnTo>
                        <a:lnTo>
                          <a:pt x="573" y="153"/>
                        </a:lnTo>
                        <a:lnTo>
                          <a:pt x="582" y="123"/>
                        </a:lnTo>
                        <a:lnTo>
                          <a:pt x="583" y="106"/>
                        </a:lnTo>
                        <a:lnTo>
                          <a:pt x="588" y="81"/>
                        </a:lnTo>
                        <a:lnTo>
                          <a:pt x="595" y="51"/>
                        </a:lnTo>
                        <a:lnTo>
                          <a:pt x="598" y="45"/>
                        </a:lnTo>
                        <a:lnTo>
                          <a:pt x="595" y="36"/>
                        </a:lnTo>
                        <a:lnTo>
                          <a:pt x="595" y="23"/>
                        </a:lnTo>
                        <a:lnTo>
                          <a:pt x="588" y="23"/>
                        </a:lnTo>
                        <a:lnTo>
                          <a:pt x="582" y="18"/>
                        </a:lnTo>
                        <a:lnTo>
                          <a:pt x="573" y="18"/>
                        </a:lnTo>
                        <a:lnTo>
                          <a:pt x="567" y="10"/>
                        </a:lnTo>
                        <a:lnTo>
                          <a:pt x="553" y="0"/>
                        </a:lnTo>
                        <a:lnTo>
                          <a:pt x="555" y="16"/>
                        </a:lnTo>
                        <a:lnTo>
                          <a:pt x="542" y="25"/>
                        </a:lnTo>
                        <a:lnTo>
                          <a:pt x="542" y="33"/>
                        </a:lnTo>
                        <a:lnTo>
                          <a:pt x="524" y="41"/>
                        </a:lnTo>
                        <a:lnTo>
                          <a:pt x="509" y="38"/>
                        </a:lnTo>
                        <a:lnTo>
                          <a:pt x="507" y="45"/>
                        </a:lnTo>
                        <a:lnTo>
                          <a:pt x="515" y="50"/>
                        </a:lnTo>
                        <a:lnTo>
                          <a:pt x="514" y="56"/>
                        </a:lnTo>
                        <a:lnTo>
                          <a:pt x="505" y="50"/>
                        </a:lnTo>
                        <a:lnTo>
                          <a:pt x="505" y="41"/>
                        </a:lnTo>
                        <a:lnTo>
                          <a:pt x="495" y="43"/>
                        </a:lnTo>
                        <a:lnTo>
                          <a:pt x="487" y="48"/>
                        </a:lnTo>
                        <a:lnTo>
                          <a:pt x="484" y="43"/>
                        </a:lnTo>
                        <a:lnTo>
                          <a:pt x="484" y="36"/>
                        </a:lnTo>
                        <a:lnTo>
                          <a:pt x="472" y="35"/>
                        </a:lnTo>
                        <a:lnTo>
                          <a:pt x="462" y="38"/>
                        </a:lnTo>
                        <a:lnTo>
                          <a:pt x="460" y="43"/>
                        </a:lnTo>
                        <a:lnTo>
                          <a:pt x="467" y="41"/>
                        </a:lnTo>
                        <a:lnTo>
                          <a:pt x="465" y="50"/>
                        </a:lnTo>
                        <a:lnTo>
                          <a:pt x="472" y="51"/>
                        </a:lnTo>
                        <a:lnTo>
                          <a:pt x="467" y="58"/>
                        </a:lnTo>
                        <a:lnTo>
                          <a:pt x="459" y="56"/>
                        </a:lnTo>
                        <a:lnTo>
                          <a:pt x="460" y="65"/>
                        </a:lnTo>
                        <a:lnTo>
                          <a:pt x="444" y="66"/>
                        </a:lnTo>
                        <a:lnTo>
                          <a:pt x="435" y="63"/>
                        </a:lnTo>
                        <a:lnTo>
                          <a:pt x="432" y="68"/>
                        </a:lnTo>
                        <a:lnTo>
                          <a:pt x="432" y="76"/>
                        </a:lnTo>
                        <a:lnTo>
                          <a:pt x="424" y="80"/>
                        </a:lnTo>
                        <a:lnTo>
                          <a:pt x="417" y="80"/>
                        </a:lnTo>
                        <a:lnTo>
                          <a:pt x="409" y="80"/>
                        </a:lnTo>
                        <a:lnTo>
                          <a:pt x="406" y="75"/>
                        </a:lnTo>
                        <a:lnTo>
                          <a:pt x="396" y="71"/>
                        </a:lnTo>
                        <a:lnTo>
                          <a:pt x="394" y="81"/>
                        </a:lnTo>
                        <a:lnTo>
                          <a:pt x="387" y="71"/>
                        </a:lnTo>
                        <a:lnTo>
                          <a:pt x="379" y="70"/>
                        </a:lnTo>
                        <a:lnTo>
                          <a:pt x="366" y="73"/>
                        </a:lnTo>
                        <a:lnTo>
                          <a:pt x="347" y="83"/>
                        </a:lnTo>
                        <a:lnTo>
                          <a:pt x="349" y="90"/>
                        </a:lnTo>
                        <a:lnTo>
                          <a:pt x="337" y="118"/>
                        </a:lnTo>
                        <a:lnTo>
                          <a:pt x="327" y="124"/>
                        </a:lnTo>
                        <a:lnTo>
                          <a:pt x="327" y="133"/>
                        </a:lnTo>
                        <a:lnTo>
                          <a:pt x="321" y="141"/>
                        </a:lnTo>
                        <a:lnTo>
                          <a:pt x="303" y="131"/>
                        </a:lnTo>
                        <a:lnTo>
                          <a:pt x="294" y="123"/>
                        </a:lnTo>
                        <a:lnTo>
                          <a:pt x="294" y="114"/>
                        </a:lnTo>
                        <a:lnTo>
                          <a:pt x="286" y="113"/>
                        </a:lnTo>
                        <a:lnTo>
                          <a:pt x="281" y="113"/>
                        </a:lnTo>
                        <a:lnTo>
                          <a:pt x="268" y="101"/>
                        </a:lnTo>
                        <a:lnTo>
                          <a:pt x="263" y="109"/>
                        </a:lnTo>
                        <a:lnTo>
                          <a:pt x="263" y="114"/>
                        </a:lnTo>
                        <a:lnTo>
                          <a:pt x="258" y="114"/>
                        </a:lnTo>
                        <a:lnTo>
                          <a:pt x="254" y="101"/>
                        </a:lnTo>
                        <a:lnTo>
                          <a:pt x="246" y="98"/>
                        </a:lnTo>
                        <a:lnTo>
                          <a:pt x="228" y="104"/>
                        </a:lnTo>
                        <a:lnTo>
                          <a:pt x="229" y="116"/>
                        </a:lnTo>
                        <a:lnTo>
                          <a:pt x="219" y="131"/>
                        </a:lnTo>
                        <a:lnTo>
                          <a:pt x="208" y="128"/>
                        </a:lnTo>
                        <a:lnTo>
                          <a:pt x="198" y="134"/>
                        </a:lnTo>
                        <a:lnTo>
                          <a:pt x="198" y="144"/>
                        </a:lnTo>
                        <a:lnTo>
                          <a:pt x="199" y="156"/>
                        </a:lnTo>
                        <a:lnTo>
                          <a:pt x="208" y="159"/>
                        </a:lnTo>
                        <a:lnTo>
                          <a:pt x="204" y="173"/>
                        </a:lnTo>
                        <a:lnTo>
                          <a:pt x="198" y="183"/>
                        </a:lnTo>
                        <a:lnTo>
                          <a:pt x="189" y="186"/>
                        </a:lnTo>
                        <a:lnTo>
                          <a:pt x="181" y="193"/>
                        </a:lnTo>
                        <a:lnTo>
                          <a:pt x="183" y="201"/>
                        </a:lnTo>
                        <a:lnTo>
                          <a:pt x="193" y="201"/>
                        </a:lnTo>
                        <a:lnTo>
                          <a:pt x="201" y="201"/>
                        </a:lnTo>
                        <a:lnTo>
                          <a:pt x="218" y="204"/>
                        </a:lnTo>
                        <a:lnTo>
                          <a:pt x="224" y="209"/>
                        </a:lnTo>
                        <a:lnTo>
                          <a:pt x="224" y="217"/>
                        </a:lnTo>
                        <a:lnTo>
                          <a:pt x="218" y="227"/>
                        </a:lnTo>
                        <a:lnTo>
                          <a:pt x="209" y="227"/>
                        </a:lnTo>
                        <a:lnTo>
                          <a:pt x="206" y="237"/>
                        </a:lnTo>
                        <a:lnTo>
                          <a:pt x="198" y="241"/>
                        </a:lnTo>
                        <a:lnTo>
                          <a:pt x="188" y="237"/>
                        </a:lnTo>
                        <a:lnTo>
                          <a:pt x="180" y="252"/>
                        </a:lnTo>
                        <a:lnTo>
                          <a:pt x="180" y="262"/>
                        </a:lnTo>
                        <a:lnTo>
                          <a:pt x="173" y="262"/>
                        </a:lnTo>
                        <a:lnTo>
                          <a:pt x="161" y="264"/>
                        </a:lnTo>
                        <a:lnTo>
                          <a:pt x="160" y="257"/>
                        </a:lnTo>
                        <a:lnTo>
                          <a:pt x="148" y="257"/>
                        </a:lnTo>
                        <a:lnTo>
                          <a:pt x="130" y="261"/>
                        </a:lnTo>
                        <a:lnTo>
                          <a:pt x="130" y="269"/>
                        </a:lnTo>
                        <a:lnTo>
                          <a:pt x="121" y="262"/>
                        </a:lnTo>
                        <a:lnTo>
                          <a:pt x="118" y="254"/>
                        </a:lnTo>
                        <a:lnTo>
                          <a:pt x="101" y="259"/>
                        </a:lnTo>
                        <a:lnTo>
                          <a:pt x="95" y="267"/>
                        </a:lnTo>
                        <a:lnTo>
                          <a:pt x="91" y="286"/>
                        </a:lnTo>
                        <a:lnTo>
                          <a:pt x="85" y="281"/>
                        </a:lnTo>
                        <a:lnTo>
                          <a:pt x="70" y="282"/>
                        </a:lnTo>
                        <a:lnTo>
                          <a:pt x="60" y="284"/>
                        </a:lnTo>
                        <a:lnTo>
                          <a:pt x="52" y="284"/>
                        </a:lnTo>
                        <a:lnTo>
                          <a:pt x="45" y="269"/>
                        </a:lnTo>
                        <a:lnTo>
                          <a:pt x="32" y="279"/>
                        </a:lnTo>
                        <a:lnTo>
                          <a:pt x="18" y="289"/>
                        </a:lnTo>
                        <a:lnTo>
                          <a:pt x="8" y="287"/>
                        </a:lnTo>
                        <a:lnTo>
                          <a:pt x="0" y="289"/>
                        </a:lnTo>
                        <a:lnTo>
                          <a:pt x="5" y="297"/>
                        </a:lnTo>
                        <a:lnTo>
                          <a:pt x="5" y="306"/>
                        </a:lnTo>
                        <a:lnTo>
                          <a:pt x="28" y="307"/>
                        </a:lnTo>
                        <a:lnTo>
                          <a:pt x="37" y="319"/>
                        </a:lnTo>
                        <a:lnTo>
                          <a:pt x="47" y="322"/>
                        </a:lnTo>
                        <a:lnTo>
                          <a:pt x="50" y="330"/>
                        </a:lnTo>
                        <a:lnTo>
                          <a:pt x="38" y="335"/>
                        </a:lnTo>
                        <a:lnTo>
                          <a:pt x="37" y="344"/>
                        </a:lnTo>
                        <a:lnTo>
                          <a:pt x="50" y="345"/>
                        </a:lnTo>
                        <a:lnTo>
                          <a:pt x="58" y="345"/>
                        </a:lnTo>
                        <a:lnTo>
                          <a:pt x="72" y="339"/>
                        </a:lnTo>
                        <a:lnTo>
                          <a:pt x="76" y="344"/>
                        </a:lnTo>
                        <a:lnTo>
                          <a:pt x="70" y="347"/>
                        </a:lnTo>
                        <a:lnTo>
                          <a:pt x="68" y="352"/>
                        </a:lnTo>
                        <a:lnTo>
                          <a:pt x="73" y="354"/>
                        </a:lnTo>
                        <a:lnTo>
                          <a:pt x="75" y="360"/>
                        </a:lnTo>
                        <a:lnTo>
                          <a:pt x="81" y="369"/>
                        </a:lnTo>
                        <a:lnTo>
                          <a:pt x="76" y="369"/>
                        </a:lnTo>
                        <a:lnTo>
                          <a:pt x="67" y="369"/>
                        </a:lnTo>
                        <a:lnTo>
                          <a:pt x="60" y="380"/>
                        </a:lnTo>
                        <a:lnTo>
                          <a:pt x="60" y="387"/>
                        </a:lnTo>
                        <a:lnTo>
                          <a:pt x="68" y="385"/>
                        </a:lnTo>
                        <a:lnTo>
                          <a:pt x="85" y="389"/>
                        </a:lnTo>
                        <a:lnTo>
                          <a:pt x="90" y="395"/>
                        </a:lnTo>
                        <a:lnTo>
                          <a:pt x="85" y="402"/>
                        </a:lnTo>
                        <a:lnTo>
                          <a:pt x="98" y="405"/>
                        </a:lnTo>
                        <a:lnTo>
                          <a:pt x="96" y="412"/>
                        </a:lnTo>
                        <a:lnTo>
                          <a:pt x="96" y="420"/>
                        </a:lnTo>
                        <a:lnTo>
                          <a:pt x="91" y="423"/>
                        </a:lnTo>
                        <a:lnTo>
                          <a:pt x="81" y="423"/>
                        </a:lnTo>
                        <a:lnTo>
                          <a:pt x="85" y="432"/>
                        </a:lnTo>
                        <a:lnTo>
                          <a:pt x="85" y="445"/>
                        </a:lnTo>
                        <a:lnTo>
                          <a:pt x="83" y="457"/>
                        </a:lnTo>
                        <a:lnTo>
                          <a:pt x="86" y="468"/>
                        </a:lnTo>
                        <a:lnTo>
                          <a:pt x="85" y="477"/>
                        </a:lnTo>
                        <a:lnTo>
                          <a:pt x="98" y="487"/>
                        </a:lnTo>
                        <a:lnTo>
                          <a:pt x="111" y="485"/>
                        </a:lnTo>
                        <a:lnTo>
                          <a:pt x="120" y="475"/>
                        </a:lnTo>
                        <a:lnTo>
                          <a:pt x="133" y="467"/>
                        </a:lnTo>
                        <a:lnTo>
                          <a:pt x="143" y="473"/>
                        </a:lnTo>
                        <a:lnTo>
                          <a:pt x="146" y="482"/>
                        </a:lnTo>
                        <a:lnTo>
                          <a:pt x="151" y="493"/>
                        </a:lnTo>
                        <a:lnTo>
                          <a:pt x="148" y="503"/>
                        </a:lnTo>
                        <a:lnTo>
                          <a:pt x="140" y="508"/>
                        </a:lnTo>
                        <a:lnTo>
                          <a:pt x="140" y="508"/>
                        </a:lnTo>
                        <a:lnTo>
                          <a:pt x="140" y="508"/>
                        </a:lnTo>
                        <a:close/>
                      </a:path>
                    </a:pathLst>
                  </a:custGeom>
                  <a:solidFill>
                    <a:schemeClr val="accent1">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34" name="Freeform 1137">
                    <a:extLst>
                      <a:ext uri="{FF2B5EF4-FFF2-40B4-BE49-F238E27FC236}">
                        <a16:creationId xmlns:a16="http://schemas.microsoft.com/office/drawing/2014/main" id="{BC2287C5-F3A7-4413-BB96-02F891E98A59}"/>
                      </a:ext>
                    </a:extLst>
                  </p:cNvPr>
                  <p:cNvSpPr>
                    <a:spLocks/>
                  </p:cNvSpPr>
                  <p:nvPr/>
                </p:nvSpPr>
                <p:spPr bwMode="auto">
                  <a:xfrm>
                    <a:off x="3255649" y="5599009"/>
                    <a:ext cx="439298" cy="787749"/>
                  </a:xfrm>
                  <a:custGeom>
                    <a:avLst/>
                    <a:gdLst>
                      <a:gd name="T0" fmla="*/ 296 w 353"/>
                      <a:gd name="T1" fmla="*/ 626 h 633"/>
                      <a:gd name="T2" fmla="*/ 324 w 353"/>
                      <a:gd name="T3" fmla="*/ 583 h 633"/>
                      <a:gd name="T4" fmla="*/ 313 w 353"/>
                      <a:gd name="T5" fmla="*/ 551 h 633"/>
                      <a:gd name="T6" fmla="*/ 328 w 353"/>
                      <a:gd name="T7" fmla="*/ 536 h 633"/>
                      <a:gd name="T8" fmla="*/ 338 w 353"/>
                      <a:gd name="T9" fmla="*/ 510 h 633"/>
                      <a:gd name="T10" fmla="*/ 351 w 353"/>
                      <a:gd name="T11" fmla="*/ 487 h 633"/>
                      <a:gd name="T12" fmla="*/ 339 w 353"/>
                      <a:gd name="T13" fmla="*/ 473 h 633"/>
                      <a:gd name="T14" fmla="*/ 316 w 353"/>
                      <a:gd name="T15" fmla="*/ 465 h 633"/>
                      <a:gd name="T16" fmla="*/ 326 w 353"/>
                      <a:gd name="T17" fmla="*/ 432 h 633"/>
                      <a:gd name="T18" fmla="*/ 328 w 353"/>
                      <a:gd name="T19" fmla="*/ 407 h 633"/>
                      <a:gd name="T20" fmla="*/ 333 w 353"/>
                      <a:gd name="T21" fmla="*/ 379 h 633"/>
                      <a:gd name="T22" fmla="*/ 316 w 353"/>
                      <a:gd name="T23" fmla="*/ 355 h 633"/>
                      <a:gd name="T24" fmla="*/ 273 w 353"/>
                      <a:gd name="T25" fmla="*/ 367 h 633"/>
                      <a:gd name="T26" fmla="*/ 266 w 353"/>
                      <a:gd name="T27" fmla="*/ 334 h 633"/>
                      <a:gd name="T28" fmla="*/ 273 w 353"/>
                      <a:gd name="T29" fmla="*/ 310 h 633"/>
                      <a:gd name="T30" fmla="*/ 268 w 353"/>
                      <a:gd name="T31" fmla="*/ 287 h 633"/>
                      <a:gd name="T32" fmla="*/ 251 w 353"/>
                      <a:gd name="T33" fmla="*/ 274 h 633"/>
                      <a:gd name="T34" fmla="*/ 250 w 353"/>
                      <a:gd name="T35" fmla="*/ 256 h 633"/>
                      <a:gd name="T36" fmla="*/ 256 w 353"/>
                      <a:gd name="T37" fmla="*/ 241 h 633"/>
                      <a:gd name="T38" fmla="*/ 253 w 353"/>
                      <a:gd name="T39" fmla="*/ 227 h 633"/>
                      <a:gd name="T40" fmla="*/ 220 w 353"/>
                      <a:gd name="T41" fmla="*/ 229 h 633"/>
                      <a:gd name="T42" fmla="*/ 220 w 353"/>
                      <a:gd name="T43" fmla="*/ 204 h 633"/>
                      <a:gd name="T44" fmla="*/ 186 w 353"/>
                      <a:gd name="T45" fmla="*/ 184 h 633"/>
                      <a:gd name="T46" fmla="*/ 213 w 353"/>
                      <a:gd name="T47" fmla="*/ 166 h 633"/>
                      <a:gd name="T48" fmla="*/ 180 w 353"/>
                      <a:gd name="T49" fmla="*/ 129 h 633"/>
                      <a:gd name="T50" fmla="*/ 150 w 353"/>
                      <a:gd name="T51" fmla="*/ 123 h 633"/>
                      <a:gd name="T52" fmla="*/ 108 w 353"/>
                      <a:gd name="T53" fmla="*/ 93 h 633"/>
                      <a:gd name="T54" fmla="*/ 73 w 353"/>
                      <a:gd name="T55" fmla="*/ 53 h 633"/>
                      <a:gd name="T56" fmla="*/ 73 w 353"/>
                      <a:gd name="T57" fmla="*/ 36 h 633"/>
                      <a:gd name="T58" fmla="*/ 52 w 353"/>
                      <a:gd name="T59" fmla="*/ 28 h 633"/>
                      <a:gd name="T60" fmla="*/ 47 w 353"/>
                      <a:gd name="T61" fmla="*/ 26 h 633"/>
                      <a:gd name="T62" fmla="*/ 30 w 353"/>
                      <a:gd name="T63" fmla="*/ 6 h 633"/>
                      <a:gd name="T64" fmla="*/ 15 w 353"/>
                      <a:gd name="T65" fmla="*/ 0 h 633"/>
                      <a:gd name="T66" fmla="*/ 38 w 353"/>
                      <a:gd name="T67" fmla="*/ 103 h 633"/>
                      <a:gd name="T68" fmla="*/ 63 w 353"/>
                      <a:gd name="T69" fmla="*/ 134 h 633"/>
                      <a:gd name="T70" fmla="*/ 93 w 353"/>
                      <a:gd name="T71" fmla="*/ 183 h 633"/>
                      <a:gd name="T72" fmla="*/ 125 w 353"/>
                      <a:gd name="T73" fmla="*/ 232 h 633"/>
                      <a:gd name="T74" fmla="*/ 143 w 353"/>
                      <a:gd name="T75" fmla="*/ 286 h 633"/>
                      <a:gd name="T76" fmla="*/ 145 w 353"/>
                      <a:gd name="T77" fmla="*/ 291 h 633"/>
                      <a:gd name="T78" fmla="*/ 171 w 353"/>
                      <a:gd name="T79" fmla="*/ 382 h 633"/>
                      <a:gd name="T80" fmla="*/ 180 w 353"/>
                      <a:gd name="T81" fmla="*/ 384 h 633"/>
                      <a:gd name="T82" fmla="*/ 190 w 353"/>
                      <a:gd name="T83" fmla="*/ 410 h 633"/>
                      <a:gd name="T84" fmla="*/ 203 w 353"/>
                      <a:gd name="T85" fmla="*/ 448 h 633"/>
                      <a:gd name="T86" fmla="*/ 211 w 353"/>
                      <a:gd name="T87" fmla="*/ 468 h 633"/>
                      <a:gd name="T88" fmla="*/ 218 w 353"/>
                      <a:gd name="T89" fmla="*/ 485 h 633"/>
                      <a:gd name="T90" fmla="*/ 198 w 353"/>
                      <a:gd name="T91" fmla="*/ 472 h 633"/>
                      <a:gd name="T92" fmla="*/ 193 w 353"/>
                      <a:gd name="T93" fmla="*/ 437 h 633"/>
                      <a:gd name="T94" fmla="*/ 183 w 353"/>
                      <a:gd name="T95" fmla="*/ 415 h 633"/>
                      <a:gd name="T96" fmla="*/ 186 w 353"/>
                      <a:gd name="T97" fmla="*/ 470 h 633"/>
                      <a:gd name="T98" fmla="*/ 220 w 353"/>
                      <a:gd name="T99" fmla="*/ 568 h 633"/>
                      <a:gd name="T100" fmla="*/ 243 w 353"/>
                      <a:gd name="T101" fmla="*/ 601 h 633"/>
                      <a:gd name="T102" fmla="*/ 269 w 353"/>
                      <a:gd name="T103" fmla="*/ 63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633">
                        <a:moveTo>
                          <a:pt x="269" y="631"/>
                        </a:moveTo>
                        <a:lnTo>
                          <a:pt x="279" y="633"/>
                        </a:lnTo>
                        <a:lnTo>
                          <a:pt x="284" y="633"/>
                        </a:lnTo>
                        <a:lnTo>
                          <a:pt x="296" y="626"/>
                        </a:lnTo>
                        <a:lnTo>
                          <a:pt x="304" y="615"/>
                        </a:lnTo>
                        <a:lnTo>
                          <a:pt x="314" y="603"/>
                        </a:lnTo>
                        <a:lnTo>
                          <a:pt x="316" y="593"/>
                        </a:lnTo>
                        <a:lnTo>
                          <a:pt x="324" y="583"/>
                        </a:lnTo>
                        <a:lnTo>
                          <a:pt x="321" y="571"/>
                        </a:lnTo>
                        <a:lnTo>
                          <a:pt x="318" y="565"/>
                        </a:lnTo>
                        <a:lnTo>
                          <a:pt x="311" y="560"/>
                        </a:lnTo>
                        <a:lnTo>
                          <a:pt x="313" y="551"/>
                        </a:lnTo>
                        <a:lnTo>
                          <a:pt x="316" y="546"/>
                        </a:lnTo>
                        <a:lnTo>
                          <a:pt x="323" y="545"/>
                        </a:lnTo>
                        <a:lnTo>
                          <a:pt x="323" y="536"/>
                        </a:lnTo>
                        <a:lnTo>
                          <a:pt x="328" y="536"/>
                        </a:lnTo>
                        <a:lnTo>
                          <a:pt x="331" y="528"/>
                        </a:lnTo>
                        <a:lnTo>
                          <a:pt x="331" y="522"/>
                        </a:lnTo>
                        <a:lnTo>
                          <a:pt x="331" y="517"/>
                        </a:lnTo>
                        <a:lnTo>
                          <a:pt x="338" y="510"/>
                        </a:lnTo>
                        <a:lnTo>
                          <a:pt x="339" y="503"/>
                        </a:lnTo>
                        <a:lnTo>
                          <a:pt x="341" y="497"/>
                        </a:lnTo>
                        <a:lnTo>
                          <a:pt x="344" y="492"/>
                        </a:lnTo>
                        <a:lnTo>
                          <a:pt x="351" y="487"/>
                        </a:lnTo>
                        <a:lnTo>
                          <a:pt x="353" y="482"/>
                        </a:lnTo>
                        <a:lnTo>
                          <a:pt x="346" y="477"/>
                        </a:lnTo>
                        <a:lnTo>
                          <a:pt x="346" y="472"/>
                        </a:lnTo>
                        <a:lnTo>
                          <a:pt x="339" y="473"/>
                        </a:lnTo>
                        <a:lnTo>
                          <a:pt x="336" y="470"/>
                        </a:lnTo>
                        <a:lnTo>
                          <a:pt x="331" y="468"/>
                        </a:lnTo>
                        <a:lnTo>
                          <a:pt x="324" y="470"/>
                        </a:lnTo>
                        <a:lnTo>
                          <a:pt x="316" y="465"/>
                        </a:lnTo>
                        <a:lnTo>
                          <a:pt x="316" y="460"/>
                        </a:lnTo>
                        <a:lnTo>
                          <a:pt x="319" y="453"/>
                        </a:lnTo>
                        <a:lnTo>
                          <a:pt x="326" y="440"/>
                        </a:lnTo>
                        <a:lnTo>
                          <a:pt x="326" y="432"/>
                        </a:lnTo>
                        <a:lnTo>
                          <a:pt x="326" y="423"/>
                        </a:lnTo>
                        <a:lnTo>
                          <a:pt x="328" y="418"/>
                        </a:lnTo>
                        <a:lnTo>
                          <a:pt x="333" y="412"/>
                        </a:lnTo>
                        <a:lnTo>
                          <a:pt x="328" y="407"/>
                        </a:lnTo>
                        <a:lnTo>
                          <a:pt x="323" y="397"/>
                        </a:lnTo>
                        <a:lnTo>
                          <a:pt x="328" y="392"/>
                        </a:lnTo>
                        <a:lnTo>
                          <a:pt x="333" y="384"/>
                        </a:lnTo>
                        <a:lnTo>
                          <a:pt x="333" y="379"/>
                        </a:lnTo>
                        <a:lnTo>
                          <a:pt x="331" y="372"/>
                        </a:lnTo>
                        <a:lnTo>
                          <a:pt x="328" y="367"/>
                        </a:lnTo>
                        <a:lnTo>
                          <a:pt x="324" y="359"/>
                        </a:lnTo>
                        <a:lnTo>
                          <a:pt x="316" y="355"/>
                        </a:lnTo>
                        <a:lnTo>
                          <a:pt x="303" y="362"/>
                        </a:lnTo>
                        <a:lnTo>
                          <a:pt x="294" y="372"/>
                        </a:lnTo>
                        <a:lnTo>
                          <a:pt x="281" y="374"/>
                        </a:lnTo>
                        <a:lnTo>
                          <a:pt x="273" y="367"/>
                        </a:lnTo>
                        <a:lnTo>
                          <a:pt x="268" y="362"/>
                        </a:lnTo>
                        <a:lnTo>
                          <a:pt x="268" y="354"/>
                        </a:lnTo>
                        <a:lnTo>
                          <a:pt x="266" y="342"/>
                        </a:lnTo>
                        <a:lnTo>
                          <a:pt x="266" y="334"/>
                        </a:lnTo>
                        <a:lnTo>
                          <a:pt x="266" y="329"/>
                        </a:lnTo>
                        <a:lnTo>
                          <a:pt x="266" y="319"/>
                        </a:lnTo>
                        <a:lnTo>
                          <a:pt x="264" y="310"/>
                        </a:lnTo>
                        <a:lnTo>
                          <a:pt x="273" y="310"/>
                        </a:lnTo>
                        <a:lnTo>
                          <a:pt x="278" y="306"/>
                        </a:lnTo>
                        <a:lnTo>
                          <a:pt x="278" y="299"/>
                        </a:lnTo>
                        <a:lnTo>
                          <a:pt x="279" y="292"/>
                        </a:lnTo>
                        <a:lnTo>
                          <a:pt x="268" y="287"/>
                        </a:lnTo>
                        <a:lnTo>
                          <a:pt x="271" y="281"/>
                        </a:lnTo>
                        <a:lnTo>
                          <a:pt x="264" y="276"/>
                        </a:lnTo>
                        <a:lnTo>
                          <a:pt x="258" y="276"/>
                        </a:lnTo>
                        <a:lnTo>
                          <a:pt x="251" y="274"/>
                        </a:lnTo>
                        <a:lnTo>
                          <a:pt x="241" y="274"/>
                        </a:lnTo>
                        <a:lnTo>
                          <a:pt x="243" y="267"/>
                        </a:lnTo>
                        <a:lnTo>
                          <a:pt x="246" y="261"/>
                        </a:lnTo>
                        <a:lnTo>
                          <a:pt x="250" y="256"/>
                        </a:lnTo>
                        <a:lnTo>
                          <a:pt x="256" y="256"/>
                        </a:lnTo>
                        <a:lnTo>
                          <a:pt x="263" y="254"/>
                        </a:lnTo>
                        <a:lnTo>
                          <a:pt x="258" y="247"/>
                        </a:lnTo>
                        <a:lnTo>
                          <a:pt x="256" y="241"/>
                        </a:lnTo>
                        <a:lnTo>
                          <a:pt x="251" y="239"/>
                        </a:lnTo>
                        <a:lnTo>
                          <a:pt x="253" y="234"/>
                        </a:lnTo>
                        <a:lnTo>
                          <a:pt x="258" y="231"/>
                        </a:lnTo>
                        <a:lnTo>
                          <a:pt x="253" y="227"/>
                        </a:lnTo>
                        <a:lnTo>
                          <a:pt x="246" y="229"/>
                        </a:lnTo>
                        <a:lnTo>
                          <a:pt x="240" y="232"/>
                        </a:lnTo>
                        <a:lnTo>
                          <a:pt x="230" y="232"/>
                        </a:lnTo>
                        <a:lnTo>
                          <a:pt x="220" y="229"/>
                        </a:lnTo>
                        <a:lnTo>
                          <a:pt x="220" y="224"/>
                        </a:lnTo>
                        <a:lnTo>
                          <a:pt x="233" y="217"/>
                        </a:lnTo>
                        <a:lnTo>
                          <a:pt x="228" y="209"/>
                        </a:lnTo>
                        <a:lnTo>
                          <a:pt x="220" y="204"/>
                        </a:lnTo>
                        <a:lnTo>
                          <a:pt x="211" y="196"/>
                        </a:lnTo>
                        <a:lnTo>
                          <a:pt x="200" y="193"/>
                        </a:lnTo>
                        <a:lnTo>
                          <a:pt x="188" y="191"/>
                        </a:lnTo>
                        <a:lnTo>
                          <a:pt x="186" y="184"/>
                        </a:lnTo>
                        <a:lnTo>
                          <a:pt x="183" y="176"/>
                        </a:lnTo>
                        <a:lnTo>
                          <a:pt x="190" y="174"/>
                        </a:lnTo>
                        <a:lnTo>
                          <a:pt x="203" y="174"/>
                        </a:lnTo>
                        <a:lnTo>
                          <a:pt x="213" y="166"/>
                        </a:lnTo>
                        <a:lnTo>
                          <a:pt x="211" y="154"/>
                        </a:lnTo>
                        <a:lnTo>
                          <a:pt x="203" y="149"/>
                        </a:lnTo>
                        <a:lnTo>
                          <a:pt x="185" y="138"/>
                        </a:lnTo>
                        <a:lnTo>
                          <a:pt x="180" y="129"/>
                        </a:lnTo>
                        <a:lnTo>
                          <a:pt x="170" y="131"/>
                        </a:lnTo>
                        <a:lnTo>
                          <a:pt x="168" y="118"/>
                        </a:lnTo>
                        <a:lnTo>
                          <a:pt x="160" y="123"/>
                        </a:lnTo>
                        <a:lnTo>
                          <a:pt x="150" y="123"/>
                        </a:lnTo>
                        <a:lnTo>
                          <a:pt x="143" y="119"/>
                        </a:lnTo>
                        <a:lnTo>
                          <a:pt x="132" y="116"/>
                        </a:lnTo>
                        <a:lnTo>
                          <a:pt x="128" y="101"/>
                        </a:lnTo>
                        <a:lnTo>
                          <a:pt x="108" y="93"/>
                        </a:lnTo>
                        <a:lnTo>
                          <a:pt x="92" y="83"/>
                        </a:lnTo>
                        <a:lnTo>
                          <a:pt x="83" y="70"/>
                        </a:lnTo>
                        <a:lnTo>
                          <a:pt x="72" y="66"/>
                        </a:lnTo>
                        <a:lnTo>
                          <a:pt x="73" y="53"/>
                        </a:lnTo>
                        <a:lnTo>
                          <a:pt x="67" y="51"/>
                        </a:lnTo>
                        <a:lnTo>
                          <a:pt x="68" y="45"/>
                        </a:lnTo>
                        <a:lnTo>
                          <a:pt x="75" y="41"/>
                        </a:lnTo>
                        <a:lnTo>
                          <a:pt x="73" y="36"/>
                        </a:lnTo>
                        <a:lnTo>
                          <a:pt x="67" y="40"/>
                        </a:lnTo>
                        <a:lnTo>
                          <a:pt x="60" y="38"/>
                        </a:lnTo>
                        <a:lnTo>
                          <a:pt x="52" y="33"/>
                        </a:lnTo>
                        <a:lnTo>
                          <a:pt x="52" y="28"/>
                        </a:lnTo>
                        <a:lnTo>
                          <a:pt x="57" y="30"/>
                        </a:lnTo>
                        <a:lnTo>
                          <a:pt x="62" y="21"/>
                        </a:lnTo>
                        <a:lnTo>
                          <a:pt x="53" y="21"/>
                        </a:lnTo>
                        <a:lnTo>
                          <a:pt x="47" y="26"/>
                        </a:lnTo>
                        <a:lnTo>
                          <a:pt x="45" y="18"/>
                        </a:lnTo>
                        <a:lnTo>
                          <a:pt x="35" y="15"/>
                        </a:lnTo>
                        <a:lnTo>
                          <a:pt x="37" y="8"/>
                        </a:lnTo>
                        <a:lnTo>
                          <a:pt x="30" y="6"/>
                        </a:lnTo>
                        <a:lnTo>
                          <a:pt x="27" y="13"/>
                        </a:lnTo>
                        <a:lnTo>
                          <a:pt x="22" y="10"/>
                        </a:lnTo>
                        <a:lnTo>
                          <a:pt x="22" y="1"/>
                        </a:lnTo>
                        <a:lnTo>
                          <a:pt x="15" y="0"/>
                        </a:lnTo>
                        <a:lnTo>
                          <a:pt x="0" y="6"/>
                        </a:lnTo>
                        <a:lnTo>
                          <a:pt x="5" y="15"/>
                        </a:lnTo>
                        <a:lnTo>
                          <a:pt x="22" y="60"/>
                        </a:lnTo>
                        <a:lnTo>
                          <a:pt x="38" y="103"/>
                        </a:lnTo>
                        <a:lnTo>
                          <a:pt x="43" y="108"/>
                        </a:lnTo>
                        <a:lnTo>
                          <a:pt x="50" y="108"/>
                        </a:lnTo>
                        <a:lnTo>
                          <a:pt x="57" y="123"/>
                        </a:lnTo>
                        <a:lnTo>
                          <a:pt x="63" y="134"/>
                        </a:lnTo>
                        <a:lnTo>
                          <a:pt x="72" y="134"/>
                        </a:lnTo>
                        <a:lnTo>
                          <a:pt x="82" y="153"/>
                        </a:lnTo>
                        <a:lnTo>
                          <a:pt x="90" y="159"/>
                        </a:lnTo>
                        <a:lnTo>
                          <a:pt x="93" y="183"/>
                        </a:lnTo>
                        <a:lnTo>
                          <a:pt x="103" y="191"/>
                        </a:lnTo>
                        <a:lnTo>
                          <a:pt x="108" y="198"/>
                        </a:lnTo>
                        <a:lnTo>
                          <a:pt x="113" y="209"/>
                        </a:lnTo>
                        <a:lnTo>
                          <a:pt x="125" y="232"/>
                        </a:lnTo>
                        <a:lnTo>
                          <a:pt x="132" y="264"/>
                        </a:lnTo>
                        <a:lnTo>
                          <a:pt x="133" y="281"/>
                        </a:lnTo>
                        <a:lnTo>
                          <a:pt x="135" y="291"/>
                        </a:lnTo>
                        <a:lnTo>
                          <a:pt x="143" y="286"/>
                        </a:lnTo>
                        <a:lnTo>
                          <a:pt x="143" y="281"/>
                        </a:lnTo>
                        <a:lnTo>
                          <a:pt x="148" y="277"/>
                        </a:lnTo>
                        <a:lnTo>
                          <a:pt x="148" y="282"/>
                        </a:lnTo>
                        <a:lnTo>
                          <a:pt x="145" y="291"/>
                        </a:lnTo>
                        <a:lnTo>
                          <a:pt x="138" y="297"/>
                        </a:lnTo>
                        <a:lnTo>
                          <a:pt x="153" y="339"/>
                        </a:lnTo>
                        <a:lnTo>
                          <a:pt x="168" y="370"/>
                        </a:lnTo>
                        <a:lnTo>
                          <a:pt x="171" y="382"/>
                        </a:lnTo>
                        <a:lnTo>
                          <a:pt x="178" y="380"/>
                        </a:lnTo>
                        <a:lnTo>
                          <a:pt x="181" y="377"/>
                        </a:lnTo>
                        <a:lnTo>
                          <a:pt x="185" y="380"/>
                        </a:lnTo>
                        <a:lnTo>
                          <a:pt x="180" y="384"/>
                        </a:lnTo>
                        <a:lnTo>
                          <a:pt x="180" y="389"/>
                        </a:lnTo>
                        <a:lnTo>
                          <a:pt x="185" y="394"/>
                        </a:lnTo>
                        <a:lnTo>
                          <a:pt x="188" y="404"/>
                        </a:lnTo>
                        <a:lnTo>
                          <a:pt x="190" y="410"/>
                        </a:lnTo>
                        <a:lnTo>
                          <a:pt x="196" y="420"/>
                        </a:lnTo>
                        <a:lnTo>
                          <a:pt x="200" y="427"/>
                        </a:lnTo>
                        <a:lnTo>
                          <a:pt x="206" y="433"/>
                        </a:lnTo>
                        <a:lnTo>
                          <a:pt x="203" y="448"/>
                        </a:lnTo>
                        <a:lnTo>
                          <a:pt x="203" y="455"/>
                        </a:lnTo>
                        <a:lnTo>
                          <a:pt x="208" y="457"/>
                        </a:lnTo>
                        <a:lnTo>
                          <a:pt x="208" y="463"/>
                        </a:lnTo>
                        <a:lnTo>
                          <a:pt x="211" y="468"/>
                        </a:lnTo>
                        <a:lnTo>
                          <a:pt x="211" y="475"/>
                        </a:lnTo>
                        <a:lnTo>
                          <a:pt x="216" y="477"/>
                        </a:lnTo>
                        <a:lnTo>
                          <a:pt x="220" y="480"/>
                        </a:lnTo>
                        <a:lnTo>
                          <a:pt x="218" y="485"/>
                        </a:lnTo>
                        <a:lnTo>
                          <a:pt x="210" y="487"/>
                        </a:lnTo>
                        <a:lnTo>
                          <a:pt x="200" y="483"/>
                        </a:lnTo>
                        <a:lnTo>
                          <a:pt x="196" y="478"/>
                        </a:lnTo>
                        <a:lnTo>
                          <a:pt x="198" y="472"/>
                        </a:lnTo>
                        <a:lnTo>
                          <a:pt x="201" y="463"/>
                        </a:lnTo>
                        <a:lnTo>
                          <a:pt x="198" y="457"/>
                        </a:lnTo>
                        <a:lnTo>
                          <a:pt x="195" y="447"/>
                        </a:lnTo>
                        <a:lnTo>
                          <a:pt x="193" y="437"/>
                        </a:lnTo>
                        <a:lnTo>
                          <a:pt x="191" y="433"/>
                        </a:lnTo>
                        <a:lnTo>
                          <a:pt x="191" y="428"/>
                        </a:lnTo>
                        <a:lnTo>
                          <a:pt x="188" y="422"/>
                        </a:lnTo>
                        <a:lnTo>
                          <a:pt x="183" y="415"/>
                        </a:lnTo>
                        <a:lnTo>
                          <a:pt x="180" y="420"/>
                        </a:lnTo>
                        <a:lnTo>
                          <a:pt x="181" y="428"/>
                        </a:lnTo>
                        <a:lnTo>
                          <a:pt x="185" y="443"/>
                        </a:lnTo>
                        <a:lnTo>
                          <a:pt x="186" y="470"/>
                        </a:lnTo>
                        <a:lnTo>
                          <a:pt x="193" y="497"/>
                        </a:lnTo>
                        <a:lnTo>
                          <a:pt x="201" y="520"/>
                        </a:lnTo>
                        <a:lnTo>
                          <a:pt x="213" y="545"/>
                        </a:lnTo>
                        <a:lnTo>
                          <a:pt x="220" y="568"/>
                        </a:lnTo>
                        <a:lnTo>
                          <a:pt x="223" y="580"/>
                        </a:lnTo>
                        <a:lnTo>
                          <a:pt x="230" y="580"/>
                        </a:lnTo>
                        <a:lnTo>
                          <a:pt x="238" y="590"/>
                        </a:lnTo>
                        <a:lnTo>
                          <a:pt x="243" y="601"/>
                        </a:lnTo>
                        <a:lnTo>
                          <a:pt x="258" y="618"/>
                        </a:lnTo>
                        <a:lnTo>
                          <a:pt x="266" y="630"/>
                        </a:lnTo>
                        <a:lnTo>
                          <a:pt x="269" y="631"/>
                        </a:lnTo>
                        <a:lnTo>
                          <a:pt x="269" y="631"/>
                        </a:lnTo>
                        <a:lnTo>
                          <a:pt x="269" y="631"/>
                        </a:lnTo>
                        <a:close/>
                      </a:path>
                    </a:pathLst>
                  </a:custGeom>
                  <a:solidFill>
                    <a:schemeClr val="accent1">
                      <a:lumMod val="20000"/>
                      <a:lumOff val="80000"/>
                    </a:schemeClr>
                  </a:solid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35" name="Freeform 429">
                    <a:extLst>
                      <a:ext uri="{FF2B5EF4-FFF2-40B4-BE49-F238E27FC236}">
                        <a16:creationId xmlns:a16="http://schemas.microsoft.com/office/drawing/2014/main" id="{9B2B15BF-461C-42AB-9EDD-3DE4655C99AE}"/>
                      </a:ext>
                    </a:extLst>
                  </p:cNvPr>
                  <p:cNvSpPr>
                    <a:spLocks/>
                  </p:cNvSpPr>
                  <p:nvPr/>
                </p:nvSpPr>
                <p:spPr bwMode="auto">
                  <a:xfrm>
                    <a:off x="4410517" y="3820662"/>
                    <a:ext cx="1000554" cy="872374"/>
                  </a:xfrm>
                  <a:custGeom>
                    <a:avLst/>
                    <a:gdLst>
                      <a:gd name="connsiteX0" fmla="*/ 673366 w 1000554"/>
                      <a:gd name="connsiteY0" fmla="*/ 479229 h 872374"/>
                      <a:gd name="connsiteX1" fmla="*/ 664655 w 1000554"/>
                      <a:gd name="connsiteY1" fmla="*/ 485452 h 872374"/>
                      <a:gd name="connsiteX2" fmla="*/ 663411 w 1000554"/>
                      <a:gd name="connsiteY2" fmla="*/ 489185 h 872374"/>
                      <a:gd name="connsiteX3" fmla="*/ 658433 w 1000554"/>
                      <a:gd name="connsiteY3" fmla="*/ 491674 h 872374"/>
                      <a:gd name="connsiteX4" fmla="*/ 657188 w 1000554"/>
                      <a:gd name="connsiteY4" fmla="*/ 494163 h 872374"/>
                      <a:gd name="connsiteX5" fmla="*/ 652210 w 1000554"/>
                      <a:gd name="connsiteY5" fmla="*/ 497896 h 872374"/>
                      <a:gd name="connsiteX6" fmla="*/ 644744 w 1000554"/>
                      <a:gd name="connsiteY6" fmla="*/ 500385 h 872374"/>
                      <a:gd name="connsiteX7" fmla="*/ 644744 w 1000554"/>
                      <a:gd name="connsiteY7" fmla="*/ 504118 h 872374"/>
                      <a:gd name="connsiteX8" fmla="*/ 642255 w 1000554"/>
                      <a:gd name="connsiteY8" fmla="*/ 506607 h 872374"/>
                      <a:gd name="connsiteX9" fmla="*/ 636032 w 1000554"/>
                      <a:gd name="connsiteY9" fmla="*/ 506607 h 872374"/>
                      <a:gd name="connsiteX10" fmla="*/ 632299 w 1000554"/>
                      <a:gd name="connsiteY10" fmla="*/ 510341 h 872374"/>
                      <a:gd name="connsiteX11" fmla="*/ 629810 w 1000554"/>
                      <a:gd name="connsiteY11" fmla="*/ 514074 h 872374"/>
                      <a:gd name="connsiteX12" fmla="*/ 627321 w 1000554"/>
                      <a:gd name="connsiteY12" fmla="*/ 526519 h 872374"/>
                      <a:gd name="connsiteX13" fmla="*/ 623588 w 1000554"/>
                      <a:gd name="connsiteY13" fmla="*/ 532741 h 872374"/>
                      <a:gd name="connsiteX14" fmla="*/ 621099 w 1000554"/>
                      <a:gd name="connsiteY14" fmla="*/ 537719 h 872374"/>
                      <a:gd name="connsiteX15" fmla="*/ 619854 w 1000554"/>
                      <a:gd name="connsiteY15" fmla="*/ 543941 h 872374"/>
                      <a:gd name="connsiteX16" fmla="*/ 617365 w 1000554"/>
                      <a:gd name="connsiteY16" fmla="*/ 548919 h 872374"/>
                      <a:gd name="connsiteX17" fmla="*/ 619854 w 1000554"/>
                      <a:gd name="connsiteY17" fmla="*/ 553897 h 872374"/>
                      <a:gd name="connsiteX18" fmla="*/ 623588 w 1000554"/>
                      <a:gd name="connsiteY18" fmla="*/ 557630 h 872374"/>
                      <a:gd name="connsiteX19" fmla="*/ 632299 w 1000554"/>
                      <a:gd name="connsiteY19" fmla="*/ 557630 h 872374"/>
                      <a:gd name="connsiteX20" fmla="*/ 633543 w 1000554"/>
                      <a:gd name="connsiteY20" fmla="*/ 545186 h 872374"/>
                      <a:gd name="connsiteX21" fmla="*/ 636032 w 1000554"/>
                      <a:gd name="connsiteY21" fmla="*/ 535230 h 872374"/>
                      <a:gd name="connsiteX22" fmla="*/ 638521 w 1000554"/>
                      <a:gd name="connsiteY22" fmla="*/ 531497 h 872374"/>
                      <a:gd name="connsiteX23" fmla="*/ 639766 w 1000554"/>
                      <a:gd name="connsiteY23" fmla="*/ 529008 h 872374"/>
                      <a:gd name="connsiteX24" fmla="*/ 645988 w 1000554"/>
                      <a:gd name="connsiteY24" fmla="*/ 529008 h 872374"/>
                      <a:gd name="connsiteX25" fmla="*/ 648477 w 1000554"/>
                      <a:gd name="connsiteY25" fmla="*/ 531497 h 872374"/>
                      <a:gd name="connsiteX26" fmla="*/ 657188 w 1000554"/>
                      <a:gd name="connsiteY26" fmla="*/ 535230 h 872374"/>
                      <a:gd name="connsiteX27" fmla="*/ 663411 w 1000554"/>
                      <a:gd name="connsiteY27" fmla="*/ 532741 h 872374"/>
                      <a:gd name="connsiteX28" fmla="*/ 667144 w 1000554"/>
                      <a:gd name="connsiteY28" fmla="*/ 531497 h 872374"/>
                      <a:gd name="connsiteX29" fmla="*/ 669633 w 1000554"/>
                      <a:gd name="connsiteY29" fmla="*/ 525274 h 872374"/>
                      <a:gd name="connsiteX30" fmla="*/ 670877 w 1000554"/>
                      <a:gd name="connsiteY30" fmla="*/ 522785 h 872374"/>
                      <a:gd name="connsiteX31" fmla="*/ 673366 w 1000554"/>
                      <a:gd name="connsiteY31" fmla="*/ 514074 h 872374"/>
                      <a:gd name="connsiteX32" fmla="*/ 677100 w 1000554"/>
                      <a:gd name="connsiteY32" fmla="*/ 510341 h 872374"/>
                      <a:gd name="connsiteX33" fmla="*/ 679589 w 1000554"/>
                      <a:gd name="connsiteY33" fmla="*/ 507852 h 872374"/>
                      <a:gd name="connsiteX34" fmla="*/ 683322 w 1000554"/>
                      <a:gd name="connsiteY34" fmla="*/ 506607 h 872374"/>
                      <a:gd name="connsiteX35" fmla="*/ 692033 w 1000554"/>
                      <a:gd name="connsiteY35" fmla="*/ 501630 h 872374"/>
                      <a:gd name="connsiteX36" fmla="*/ 694522 w 1000554"/>
                      <a:gd name="connsiteY36" fmla="*/ 495407 h 872374"/>
                      <a:gd name="connsiteX37" fmla="*/ 694522 w 1000554"/>
                      <a:gd name="connsiteY37" fmla="*/ 489185 h 872374"/>
                      <a:gd name="connsiteX38" fmla="*/ 692033 w 1000554"/>
                      <a:gd name="connsiteY38" fmla="*/ 482963 h 872374"/>
                      <a:gd name="connsiteX39" fmla="*/ 688300 w 1000554"/>
                      <a:gd name="connsiteY39" fmla="*/ 481718 h 872374"/>
                      <a:gd name="connsiteX40" fmla="*/ 682078 w 1000554"/>
                      <a:gd name="connsiteY40" fmla="*/ 479229 h 872374"/>
                      <a:gd name="connsiteX41" fmla="*/ 754149 w 1000554"/>
                      <a:gd name="connsiteY41" fmla="*/ 0 h 872374"/>
                      <a:gd name="connsiteX42" fmla="*/ 776550 w 1000554"/>
                      <a:gd name="connsiteY42" fmla="*/ 13689 h 872374"/>
                      <a:gd name="connsiteX43" fmla="*/ 788994 w 1000554"/>
                      <a:gd name="connsiteY43" fmla="*/ 16178 h 872374"/>
                      <a:gd name="connsiteX44" fmla="*/ 797706 w 1000554"/>
                      <a:gd name="connsiteY44" fmla="*/ 22401 h 872374"/>
                      <a:gd name="connsiteX45" fmla="*/ 818862 w 1000554"/>
                      <a:gd name="connsiteY45" fmla="*/ 43557 h 872374"/>
                      <a:gd name="connsiteX46" fmla="*/ 832551 w 1000554"/>
                      <a:gd name="connsiteY46" fmla="*/ 34845 h 872374"/>
                      <a:gd name="connsiteX47" fmla="*/ 851218 w 1000554"/>
                      <a:gd name="connsiteY47" fmla="*/ 43557 h 872374"/>
                      <a:gd name="connsiteX48" fmla="*/ 872374 w 1000554"/>
                      <a:gd name="connsiteY48" fmla="*/ 56001 h 872374"/>
                      <a:gd name="connsiteX49" fmla="*/ 873618 w 1000554"/>
                      <a:gd name="connsiteY49" fmla="*/ 72179 h 872374"/>
                      <a:gd name="connsiteX50" fmla="*/ 882330 w 1000554"/>
                      <a:gd name="connsiteY50" fmla="*/ 65957 h 872374"/>
                      <a:gd name="connsiteX51" fmla="*/ 897263 w 1000554"/>
                      <a:gd name="connsiteY51" fmla="*/ 75913 h 872374"/>
                      <a:gd name="connsiteX52" fmla="*/ 915930 w 1000554"/>
                      <a:gd name="connsiteY52" fmla="*/ 78402 h 872374"/>
                      <a:gd name="connsiteX53" fmla="*/ 922153 w 1000554"/>
                      <a:gd name="connsiteY53" fmla="*/ 88358 h 872374"/>
                      <a:gd name="connsiteX54" fmla="*/ 923397 w 1000554"/>
                      <a:gd name="connsiteY54" fmla="*/ 112002 h 872374"/>
                      <a:gd name="connsiteX55" fmla="*/ 934597 w 1000554"/>
                      <a:gd name="connsiteY55" fmla="*/ 118225 h 872374"/>
                      <a:gd name="connsiteX56" fmla="*/ 935842 w 1000554"/>
                      <a:gd name="connsiteY56" fmla="*/ 109514 h 872374"/>
                      <a:gd name="connsiteX57" fmla="*/ 947042 w 1000554"/>
                      <a:gd name="connsiteY57" fmla="*/ 107025 h 872374"/>
                      <a:gd name="connsiteX58" fmla="*/ 948286 w 1000554"/>
                      <a:gd name="connsiteY58" fmla="*/ 99558 h 872374"/>
                      <a:gd name="connsiteX59" fmla="*/ 959487 w 1000554"/>
                      <a:gd name="connsiteY59" fmla="*/ 99558 h 872374"/>
                      <a:gd name="connsiteX60" fmla="*/ 960731 w 1000554"/>
                      <a:gd name="connsiteY60" fmla="*/ 115736 h 872374"/>
                      <a:gd name="connsiteX61" fmla="*/ 969442 w 1000554"/>
                      <a:gd name="connsiteY61" fmla="*/ 124447 h 872374"/>
                      <a:gd name="connsiteX62" fmla="*/ 990598 w 1000554"/>
                      <a:gd name="connsiteY62" fmla="*/ 130670 h 872374"/>
                      <a:gd name="connsiteX63" fmla="*/ 996821 w 1000554"/>
                      <a:gd name="connsiteY63" fmla="*/ 134403 h 872374"/>
                      <a:gd name="connsiteX64" fmla="*/ 996821 w 1000554"/>
                      <a:gd name="connsiteY64" fmla="*/ 140625 h 872374"/>
                      <a:gd name="connsiteX65" fmla="*/ 1000554 w 1000554"/>
                      <a:gd name="connsiteY65" fmla="*/ 156803 h 872374"/>
                      <a:gd name="connsiteX66" fmla="*/ 991843 w 1000554"/>
                      <a:gd name="connsiteY66" fmla="*/ 165515 h 872374"/>
                      <a:gd name="connsiteX67" fmla="*/ 985621 w 1000554"/>
                      <a:gd name="connsiteY67" fmla="*/ 165515 h 872374"/>
                      <a:gd name="connsiteX68" fmla="*/ 981887 w 1000554"/>
                      <a:gd name="connsiteY68" fmla="*/ 171737 h 872374"/>
                      <a:gd name="connsiteX69" fmla="*/ 954509 w 1000554"/>
                      <a:gd name="connsiteY69" fmla="*/ 171737 h 872374"/>
                      <a:gd name="connsiteX70" fmla="*/ 929619 w 1000554"/>
                      <a:gd name="connsiteY70" fmla="*/ 190404 h 872374"/>
                      <a:gd name="connsiteX71" fmla="*/ 900997 w 1000554"/>
                      <a:gd name="connsiteY71" fmla="*/ 227738 h 872374"/>
                      <a:gd name="connsiteX72" fmla="*/ 898508 w 1000554"/>
                      <a:gd name="connsiteY72" fmla="*/ 246405 h 872374"/>
                      <a:gd name="connsiteX73" fmla="*/ 904730 w 1000554"/>
                      <a:gd name="connsiteY73" fmla="*/ 256361 h 872374"/>
                      <a:gd name="connsiteX74" fmla="*/ 915930 w 1000554"/>
                      <a:gd name="connsiteY74" fmla="*/ 278762 h 872374"/>
                      <a:gd name="connsiteX75" fmla="*/ 929619 w 1000554"/>
                      <a:gd name="connsiteY75" fmla="*/ 299918 h 872374"/>
                      <a:gd name="connsiteX76" fmla="*/ 923397 w 1000554"/>
                      <a:gd name="connsiteY76" fmla="*/ 307384 h 872374"/>
                      <a:gd name="connsiteX77" fmla="*/ 917175 w 1000554"/>
                      <a:gd name="connsiteY77" fmla="*/ 309873 h 872374"/>
                      <a:gd name="connsiteX78" fmla="*/ 928375 w 1000554"/>
                      <a:gd name="connsiteY78" fmla="*/ 309873 h 872374"/>
                      <a:gd name="connsiteX79" fmla="*/ 934597 w 1000554"/>
                      <a:gd name="connsiteY79" fmla="*/ 316096 h 872374"/>
                      <a:gd name="connsiteX80" fmla="*/ 934597 w 1000554"/>
                      <a:gd name="connsiteY80" fmla="*/ 322318 h 872374"/>
                      <a:gd name="connsiteX81" fmla="*/ 928375 w 1000554"/>
                      <a:gd name="connsiteY81" fmla="*/ 331029 h 872374"/>
                      <a:gd name="connsiteX82" fmla="*/ 907219 w 1000554"/>
                      <a:gd name="connsiteY82" fmla="*/ 347207 h 872374"/>
                      <a:gd name="connsiteX83" fmla="*/ 888552 w 1000554"/>
                      <a:gd name="connsiteY83" fmla="*/ 365875 h 872374"/>
                      <a:gd name="connsiteX84" fmla="*/ 891041 w 1000554"/>
                      <a:gd name="connsiteY84" fmla="*/ 380808 h 872374"/>
                      <a:gd name="connsiteX85" fmla="*/ 897263 w 1000554"/>
                      <a:gd name="connsiteY85" fmla="*/ 378319 h 872374"/>
                      <a:gd name="connsiteX86" fmla="*/ 897263 w 1000554"/>
                      <a:gd name="connsiteY86" fmla="*/ 365875 h 872374"/>
                      <a:gd name="connsiteX87" fmla="*/ 900997 w 1000554"/>
                      <a:gd name="connsiteY87" fmla="*/ 362141 h 872374"/>
                      <a:gd name="connsiteX88" fmla="*/ 903486 w 1000554"/>
                      <a:gd name="connsiteY88" fmla="*/ 372097 h 872374"/>
                      <a:gd name="connsiteX89" fmla="*/ 900997 w 1000554"/>
                      <a:gd name="connsiteY89" fmla="*/ 390764 h 872374"/>
                      <a:gd name="connsiteX90" fmla="*/ 879841 w 1000554"/>
                      <a:gd name="connsiteY90" fmla="*/ 406942 h 872374"/>
                      <a:gd name="connsiteX91" fmla="*/ 856196 w 1000554"/>
                      <a:gd name="connsiteY91" fmla="*/ 425609 h 872374"/>
                      <a:gd name="connsiteX92" fmla="*/ 841262 w 1000554"/>
                      <a:gd name="connsiteY92" fmla="*/ 448010 h 872374"/>
                      <a:gd name="connsiteX93" fmla="*/ 841262 w 1000554"/>
                      <a:gd name="connsiteY93" fmla="*/ 456721 h 872374"/>
                      <a:gd name="connsiteX94" fmla="*/ 825084 w 1000554"/>
                      <a:gd name="connsiteY94" fmla="*/ 466677 h 872374"/>
                      <a:gd name="connsiteX95" fmla="*/ 781527 w 1000554"/>
                      <a:gd name="connsiteY95" fmla="*/ 484099 h 872374"/>
                      <a:gd name="connsiteX96" fmla="*/ 754149 w 1000554"/>
                      <a:gd name="connsiteY96" fmla="*/ 497789 h 872374"/>
                      <a:gd name="connsiteX97" fmla="*/ 725526 w 1000554"/>
                      <a:gd name="connsiteY97" fmla="*/ 502766 h 872374"/>
                      <a:gd name="connsiteX98" fmla="*/ 704370 w 1000554"/>
                      <a:gd name="connsiteY98" fmla="*/ 510233 h 872374"/>
                      <a:gd name="connsiteX99" fmla="*/ 690681 w 1000554"/>
                      <a:gd name="connsiteY99" fmla="*/ 515211 h 872374"/>
                      <a:gd name="connsiteX100" fmla="*/ 684459 w 1000554"/>
                      <a:gd name="connsiteY100" fmla="*/ 518945 h 872374"/>
                      <a:gd name="connsiteX101" fmla="*/ 700637 w 1000554"/>
                      <a:gd name="connsiteY101" fmla="*/ 518945 h 872374"/>
                      <a:gd name="connsiteX102" fmla="*/ 696904 w 1000554"/>
                      <a:gd name="connsiteY102" fmla="*/ 525167 h 872374"/>
                      <a:gd name="connsiteX103" fmla="*/ 681970 w 1000554"/>
                      <a:gd name="connsiteY103" fmla="*/ 528900 h 872374"/>
                      <a:gd name="connsiteX104" fmla="*/ 657080 w 1000554"/>
                      <a:gd name="connsiteY104" fmla="*/ 546323 h 872374"/>
                      <a:gd name="connsiteX105" fmla="*/ 623480 w 1000554"/>
                      <a:gd name="connsiteY105" fmla="*/ 568723 h 872374"/>
                      <a:gd name="connsiteX106" fmla="*/ 591124 w 1000554"/>
                      <a:gd name="connsiteY106" fmla="*/ 593613 h 872374"/>
                      <a:gd name="connsiteX107" fmla="*/ 582412 w 1000554"/>
                      <a:gd name="connsiteY107" fmla="*/ 606057 h 872374"/>
                      <a:gd name="connsiteX108" fmla="*/ 566234 w 1000554"/>
                      <a:gd name="connsiteY108" fmla="*/ 618502 h 872374"/>
                      <a:gd name="connsiteX109" fmla="*/ 547567 w 1000554"/>
                      <a:gd name="connsiteY109" fmla="*/ 624725 h 872374"/>
                      <a:gd name="connsiteX110" fmla="*/ 537611 w 1000554"/>
                      <a:gd name="connsiteY110" fmla="*/ 625969 h 872374"/>
                      <a:gd name="connsiteX111" fmla="*/ 545078 w 1000554"/>
                      <a:gd name="connsiteY111" fmla="*/ 632191 h 872374"/>
                      <a:gd name="connsiteX112" fmla="*/ 541345 w 1000554"/>
                      <a:gd name="connsiteY112" fmla="*/ 637169 h 872374"/>
                      <a:gd name="connsiteX113" fmla="*/ 526411 w 1000554"/>
                      <a:gd name="connsiteY113" fmla="*/ 640903 h 872374"/>
                      <a:gd name="connsiteX114" fmla="*/ 512722 w 1000554"/>
                      <a:gd name="connsiteY114" fmla="*/ 647125 h 872374"/>
                      <a:gd name="connsiteX115" fmla="*/ 506500 w 1000554"/>
                      <a:gd name="connsiteY115" fmla="*/ 650858 h 872374"/>
                      <a:gd name="connsiteX116" fmla="*/ 507744 w 1000554"/>
                      <a:gd name="connsiteY116" fmla="*/ 657081 h 872374"/>
                      <a:gd name="connsiteX117" fmla="*/ 510233 w 1000554"/>
                      <a:gd name="connsiteY117" fmla="*/ 668281 h 872374"/>
                      <a:gd name="connsiteX118" fmla="*/ 495299 w 1000554"/>
                      <a:gd name="connsiteY118" fmla="*/ 668281 h 872374"/>
                      <a:gd name="connsiteX119" fmla="*/ 491566 w 1000554"/>
                      <a:gd name="connsiteY119" fmla="*/ 674503 h 872374"/>
                      <a:gd name="connsiteX120" fmla="*/ 489077 w 1000554"/>
                      <a:gd name="connsiteY120" fmla="*/ 680726 h 872374"/>
                      <a:gd name="connsiteX121" fmla="*/ 491566 w 1000554"/>
                      <a:gd name="connsiteY121" fmla="*/ 684459 h 872374"/>
                      <a:gd name="connsiteX122" fmla="*/ 485344 w 1000554"/>
                      <a:gd name="connsiteY122" fmla="*/ 691926 h 872374"/>
                      <a:gd name="connsiteX123" fmla="*/ 466677 w 1000554"/>
                      <a:gd name="connsiteY123" fmla="*/ 691926 h 872374"/>
                      <a:gd name="connsiteX124" fmla="*/ 456721 w 1000554"/>
                      <a:gd name="connsiteY124" fmla="*/ 696904 h 872374"/>
                      <a:gd name="connsiteX125" fmla="*/ 441787 w 1000554"/>
                      <a:gd name="connsiteY125" fmla="*/ 685704 h 872374"/>
                      <a:gd name="connsiteX126" fmla="*/ 429342 w 1000554"/>
                      <a:gd name="connsiteY126" fmla="*/ 684459 h 872374"/>
                      <a:gd name="connsiteX127" fmla="*/ 419387 w 1000554"/>
                      <a:gd name="connsiteY127" fmla="*/ 685704 h 872374"/>
                      <a:gd name="connsiteX128" fmla="*/ 413164 w 1000554"/>
                      <a:gd name="connsiteY128" fmla="*/ 678237 h 872374"/>
                      <a:gd name="connsiteX129" fmla="*/ 406942 w 1000554"/>
                      <a:gd name="connsiteY129" fmla="*/ 668281 h 872374"/>
                      <a:gd name="connsiteX130" fmla="*/ 403209 w 1000554"/>
                      <a:gd name="connsiteY130" fmla="*/ 659570 h 872374"/>
                      <a:gd name="connsiteX131" fmla="*/ 398231 w 1000554"/>
                      <a:gd name="connsiteY131" fmla="*/ 649614 h 872374"/>
                      <a:gd name="connsiteX132" fmla="*/ 392008 w 1000554"/>
                      <a:gd name="connsiteY132" fmla="*/ 655836 h 872374"/>
                      <a:gd name="connsiteX133" fmla="*/ 396986 w 1000554"/>
                      <a:gd name="connsiteY133" fmla="*/ 663303 h 872374"/>
                      <a:gd name="connsiteX134" fmla="*/ 396986 w 1000554"/>
                      <a:gd name="connsiteY134" fmla="*/ 672014 h 872374"/>
                      <a:gd name="connsiteX135" fmla="*/ 390764 w 1000554"/>
                      <a:gd name="connsiteY135" fmla="*/ 662059 h 872374"/>
                      <a:gd name="connsiteX136" fmla="*/ 379564 w 1000554"/>
                      <a:gd name="connsiteY136" fmla="*/ 644636 h 872374"/>
                      <a:gd name="connsiteX137" fmla="*/ 372097 w 1000554"/>
                      <a:gd name="connsiteY137" fmla="*/ 624725 h 872374"/>
                      <a:gd name="connsiteX138" fmla="*/ 365874 w 1000554"/>
                      <a:gd name="connsiteY138" fmla="*/ 637169 h 872374"/>
                      <a:gd name="connsiteX139" fmla="*/ 354674 w 1000554"/>
                      <a:gd name="connsiteY139" fmla="*/ 644636 h 872374"/>
                      <a:gd name="connsiteX140" fmla="*/ 344718 w 1000554"/>
                      <a:gd name="connsiteY140" fmla="*/ 644636 h 872374"/>
                      <a:gd name="connsiteX141" fmla="*/ 342230 w 1000554"/>
                      <a:gd name="connsiteY141" fmla="*/ 659570 h 872374"/>
                      <a:gd name="connsiteX142" fmla="*/ 336007 w 1000554"/>
                      <a:gd name="connsiteY142" fmla="*/ 657081 h 872374"/>
                      <a:gd name="connsiteX143" fmla="*/ 326051 w 1000554"/>
                      <a:gd name="connsiteY143" fmla="*/ 650858 h 872374"/>
                      <a:gd name="connsiteX144" fmla="*/ 319829 w 1000554"/>
                      <a:gd name="connsiteY144" fmla="*/ 659570 h 872374"/>
                      <a:gd name="connsiteX145" fmla="*/ 319829 w 1000554"/>
                      <a:gd name="connsiteY145" fmla="*/ 668281 h 872374"/>
                      <a:gd name="connsiteX146" fmla="*/ 326051 w 1000554"/>
                      <a:gd name="connsiteY146" fmla="*/ 663303 h 872374"/>
                      <a:gd name="connsiteX147" fmla="*/ 329785 w 1000554"/>
                      <a:gd name="connsiteY147" fmla="*/ 669525 h 872374"/>
                      <a:gd name="connsiteX148" fmla="*/ 336007 w 1000554"/>
                      <a:gd name="connsiteY148" fmla="*/ 680726 h 872374"/>
                      <a:gd name="connsiteX149" fmla="*/ 322318 w 1000554"/>
                      <a:gd name="connsiteY149" fmla="*/ 688193 h 872374"/>
                      <a:gd name="connsiteX150" fmla="*/ 304895 w 1000554"/>
                      <a:gd name="connsiteY150" fmla="*/ 703126 h 872374"/>
                      <a:gd name="connsiteX151" fmla="*/ 301162 w 1000554"/>
                      <a:gd name="connsiteY151" fmla="*/ 696904 h 872374"/>
                      <a:gd name="connsiteX152" fmla="*/ 291206 w 1000554"/>
                      <a:gd name="connsiteY152" fmla="*/ 696904 h 872374"/>
                      <a:gd name="connsiteX153" fmla="*/ 281250 w 1000554"/>
                      <a:gd name="connsiteY153" fmla="*/ 709349 h 872374"/>
                      <a:gd name="connsiteX154" fmla="*/ 263828 w 1000554"/>
                      <a:gd name="connsiteY154" fmla="*/ 731749 h 872374"/>
                      <a:gd name="connsiteX155" fmla="*/ 275028 w 1000554"/>
                      <a:gd name="connsiteY155" fmla="*/ 729260 h 872374"/>
                      <a:gd name="connsiteX156" fmla="*/ 278762 w 1000554"/>
                      <a:gd name="connsiteY156" fmla="*/ 746683 h 872374"/>
                      <a:gd name="connsiteX157" fmla="*/ 272539 w 1000554"/>
                      <a:gd name="connsiteY157" fmla="*/ 756638 h 872374"/>
                      <a:gd name="connsiteX158" fmla="*/ 281250 w 1000554"/>
                      <a:gd name="connsiteY158" fmla="*/ 766594 h 872374"/>
                      <a:gd name="connsiteX159" fmla="*/ 256361 w 1000554"/>
                      <a:gd name="connsiteY159" fmla="*/ 771572 h 872374"/>
                      <a:gd name="connsiteX160" fmla="*/ 241427 w 1000554"/>
                      <a:gd name="connsiteY160" fmla="*/ 759127 h 872374"/>
                      <a:gd name="connsiteX161" fmla="*/ 231472 w 1000554"/>
                      <a:gd name="connsiteY161" fmla="*/ 760372 h 872374"/>
                      <a:gd name="connsiteX162" fmla="*/ 235205 w 1000554"/>
                      <a:gd name="connsiteY162" fmla="*/ 772817 h 872374"/>
                      <a:gd name="connsiteX163" fmla="*/ 222760 w 1000554"/>
                      <a:gd name="connsiteY163" fmla="*/ 779039 h 872374"/>
                      <a:gd name="connsiteX164" fmla="*/ 210316 w 1000554"/>
                      <a:gd name="connsiteY164" fmla="*/ 787750 h 872374"/>
                      <a:gd name="connsiteX165" fmla="*/ 201604 w 1000554"/>
                      <a:gd name="connsiteY165" fmla="*/ 793973 h 872374"/>
                      <a:gd name="connsiteX166" fmla="*/ 195382 w 1000554"/>
                      <a:gd name="connsiteY166" fmla="*/ 781528 h 872374"/>
                      <a:gd name="connsiteX167" fmla="*/ 187915 w 1000554"/>
                      <a:gd name="connsiteY167" fmla="*/ 762861 h 872374"/>
                      <a:gd name="connsiteX168" fmla="*/ 182937 w 1000554"/>
                      <a:gd name="connsiteY168" fmla="*/ 741705 h 872374"/>
                      <a:gd name="connsiteX169" fmla="*/ 175471 w 1000554"/>
                      <a:gd name="connsiteY169" fmla="*/ 737971 h 872374"/>
                      <a:gd name="connsiteX170" fmla="*/ 164270 w 1000554"/>
                      <a:gd name="connsiteY170" fmla="*/ 741705 h 872374"/>
                      <a:gd name="connsiteX171" fmla="*/ 153070 w 1000554"/>
                      <a:gd name="connsiteY171" fmla="*/ 752905 h 872374"/>
                      <a:gd name="connsiteX172" fmla="*/ 150581 w 1000554"/>
                      <a:gd name="connsiteY172" fmla="*/ 766594 h 872374"/>
                      <a:gd name="connsiteX173" fmla="*/ 154315 w 1000554"/>
                      <a:gd name="connsiteY173" fmla="*/ 781528 h 872374"/>
                      <a:gd name="connsiteX174" fmla="*/ 163026 w 1000554"/>
                      <a:gd name="connsiteY174" fmla="*/ 787750 h 872374"/>
                      <a:gd name="connsiteX175" fmla="*/ 154315 w 1000554"/>
                      <a:gd name="connsiteY175" fmla="*/ 790239 h 872374"/>
                      <a:gd name="connsiteX176" fmla="*/ 153070 w 1000554"/>
                      <a:gd name="connsiteY176" fmla="*/ 800195 h 872374"/>
                      <a:gd name="connsiteX177" fmla="*/ 156803 w 1000554"/>
                      <a:gd name="connsiteY177" fmla="*/ 810151 h 872374"/>
                      <a:gd name="connsiteX178" fmla="*/ 153070 w 1000554"/>
                      <a:gd name="connsiteY178" fmla="*/ 820106 h 872374"/>
                      <a:gd name="connsiteX179" fmla="*/ 153070 w 1000554"/>
                      <a:gd name="connsiteY179" fmla="*/ 832551 h 872374"/>
                      <a:gd name="connsiteX180" fmla="*/ 141870 w 1000554"/>
                      <a:gd name="connsiteY180" fmla="*/ 826329 h 872374"/>
                      <a:gd name="connsiteX181" fmla="*/ 140625 w 1000554"/>
                      <a:gd name="connsiteY181" fmla="*/ 837529 h 872374"/>
                      <a:gd name="connsiteX182" fmla="*/ 134403 w 1000554"/>
                      <a:gd name="connsiteY182" fmla="*/ 837529 h 872374"/>
                      <a:gd name="connsiteX183" fmla="*/ 119469 w 1000554"/>
                      <a:gd name="connsiteY183" fmla="*/ 826329 h 872374"/>
                      <a:gd name="connsiteX184" fmla="*/ 104536 w 1000554"/>
                      <a:gd name="connsiteY184" fmla="*/ 828818 h 872374"/>
                      <a:gd name="connsiteX185" fmla="*/ 90847 w 1000554"/>
                      <a:gd name="connsiteY185" fmla="*/ 843751 h 872374"/>
                      <a:gd name="connsiteX186" fmla="*/ 84624 w 1000554"/>
                      <a:gd name="connsiteY186" fmla="*/ 838774 h 872374"/>
                      <a:gd name="connsiteX187" fmla="*/ 78402 w 1000554"/>
                      <a:gd name="connsiteY187" fmla="*/ 847485 h 872374"/>
                      <a:gd name="connsiteX188" fmla="*/ 63468 w 1000554"/>
                      <a:gd name="connsiteY188" fmla="*/ 847485 h 872374"/>
                      <a:gd name="connsiteX189" fmla="*/ 48535 w 1000554"/>
                      <a:gd name="connsiteY189" fmla="*/ 857441 h 872374"/>
                      <a:gd name="connsiteX190" fmla="*/ 23645 w 1000554"/>
                      <a:gd name="connsiteY190" fmla="*/ 868641 h 872374"/>
                      <a:gd name="connsiteX191" fmla="*/ 0 w 1000554"/>
                      <a:gd name="connsiteY191" fmla="*/ 872374 h 872374"/>
                      <a:gd name="connsiteX192" fmla="*/ 1245 w 1000554"/>
                      <a:gd name="connsiteY192" fmla="*/ 859930 h 872374"/>
                      <a:gd name="connsiteX193" fmla="*/ 3734 w 1000554"/>
                      <a:gd name="connsiteY193" fmla="*/ 828818 h 872374"/>
                      <a:gd name="connsiteX194" fmla="*/ 19912 w 1000554"/>
                      <a:gd name="connsiteY194" fmla="*/ 822595 h 872374"/>
                      <a:gd name="connsiteX195" fmla="*/ 19912 w 1000554"/>
                      <a:gd name="connsiteY195" fmla="*/ 803928 h 872374"/>
                      <a:gd name="connsiteX196" fmla="*/ 18667 w 1000554"/>
                      <a:gd name="connsiteY196" fmla="*/ 791484 h 872374"/>
                      <a:gd name="connsiteX197" fmla="*/ 22401 w 1000554"/>
                      <a:gd name="connsiteY197" fmla="*/ 779039 h 872374"/>
                      <a:gd name="connsiteX198" fmla="*/ 53512 w 1000554"/>
                      <a:gd name="connsiteY198" fmla="*/ 775305 h 872374"/>
                      <a:gd name="connsiteX199" fmla="*/ 54757 w 1000554"/>
                      <a:gd name="connsiteY199" fmla="*/ 769083 h 872374"/>
                      <a:gd name="connsiteX200" fmla="*/ 79646 w 1000554"/>
                      <a:gd name="connsiteY200" fmla="*/ 737971 h 872374"/>
                      <a:gd name="connsiteX201" fmla="*/ 97069 w 1000554"/>
                      <a:gd name="connsiteY201" fmla="*/ 731749 h 872374"/>
                      <a:gd name="connsiteX202" fmla="*/ 78402 w 1000554"/>
                      <a:gd name="connsiteY202" fmla="*/ 721793 h 872374"/>
                      <a:gd name="connsiteX203" fmla="*/ 97069 w 1000554"/>
                      <a:gd name="connsiteY203" fmla="*/ 709349 h 872374"/>
                      <a:gd name="connsiteX204" fmla="*/ 110758 w 1000554"/>
                      <a:gd name="connsiteY204" fmla="*/ 706860 h 872374"/>
                      <a:gd name="connsiteX205" fmla="*/ 123203 w 1000554"/>
                      <a:gd name="connsiteY205" fmla="*/ 684459 h 872374"/>
                      <a:gd name="connsiteX206" fmla="*/ 138136 w 1000554"/>
                      <a:gd name="connsiteY206" fmla="*/ 662059 h 872374"/>
                      <a:gd name="connsiteX207" fmla="*/ 121958 w 1000554"/>
                      <a:gd name="connsiteY207" fmla="*/ 624725 h 872374"/>
                      <a:gd name="connsiteX208" fmla="*/ 125692 w 1000554"/>
                      <a:gd name="connsiteY208" fmla="*/ 576190 h 872374"/>
                      <a:gd name="connsiteX209" fmla="*/ 113247 w 1000554"/>
                      <a:gd name="connsiteY209" fmla="*/ 576190 h 872374"/>
                      <a:gd name="connsiteX210" fmla="*/ 107025 w 1000554"/>
                      <a:gd name="connsiteY210" fmla="*/ 560012 h 872374"/>
                      <a:gd name="connsiteX211" fmla="*/ 100802 w 1000554"/>
                      <a:gd name="connsiteY211" fmla="*/ 557523 h 872374"/>
                      <a:gd name="connsiteX212" fmla="*/ 100802 w 1000554"/>
                      <a:gd name="connsiteY212" fmla="*/ 512722 h 872374"/>
                      <a:gd name="connsiteX213" fmla="*/ 88358 w 1000554"/>
                      <a:gd name="connsiteY213" fmla="*/ 512722 h 872374"/>
                      <a:gd name="connsiteX214" fmla="*/ 85869 w 1000554"/>
                      <a:gd name="connsiteY214" fmla="*/ 497789 h 872374"/>
                      <a:gd name="connsiteX215" fmla="*/ 72180 w 1000554"/>
                      <a:gd name="connsiteY215" fmla="*/ 500277 h 872374"/>
                      <a:gd name="connsiteX216" fmla="*/ 67202 w 1000554"/>
                      <a:gd name="connsiteY216" fmla="*/ 491566 h 872374"/>
                      <a:gd name="connsiteX217" fmla="*/ 72180 w 1000554"/>
                      <a:gd name="connsiteY217" fmla="*/ 472899 h 872374"/>
                      <a:gd name="connsiteX218" fmla="*/ 79646 w 1000554"/>
                      <a:gd name="connsiteY218" fmla="*/ 456721 h 872374"/>
                      <a:gd name="connsiteX219" fmla="*/ 115736 w 1000554"/>
                      <a:gd name="connsiteY219" fmla="*/ 472899 h 872374"/>
                      <a:gd name="connsiteX220" fmla="*/ 141870 w 1000554"/>
                      <a:gd name="connsiteY220" fmla="*/ 477877 h 872374"/>
                      <a:gd name="connsiteX221" fmla="*/ 141870 w 1000554"/>
                      <a:gd name="connsiteY221" fmla="*/ 494055 h 872374"/>
                      <a:gd name="connsiteX222" fmla="*/ 150581 w 1000554"/>
                      <a:gd name="connsiteY222" fmla="*/ 504011 h 872374"/>
                      <a:gd name="connsiteX223" fmla="*/ 159292 w 1000554"/>
                      <a:gd name="connsiteY223" fmla="*/ 494055 h 872374"/>
                      <a:gd name="connsiteX224" fmla="*/ 179204 w 1000554"/>
                      <a:gd name="connsiteY224" fmla="*/ 494055 h 872374"/>
                      <a:gd name="connsiteX225" fmla="*/ 195382 w 1000554"/>
                      <a:gd name="connsiteY225" fmla="*/ 500277 h 872374"/>
                      <a:gd name="connsiteX226" fmla="*/ 195382 w 1000554"/>
                      <a:gd name="connsiteY226" fmla="*/ 516456 h 872374"/>
                      <a:gd name="connsiteX227" fmla="*/ 207827 w 1000554"/>
                      <a:gd name="connsiteY227" fmla="*/ 516456 h 872374"/>
                      <a:gd name="connsiteX228" fmla="*/ 214049 w 1000554"/>
                      <a:gd name="connsiteY228" fmla="*/ 504011 h 872374"/>
                      <a:gd name="connsiteX229" fmla="*/ 219027 w 1000554"/>
                      <a:gd name="connsiteY229" fmla="*/ 477877 h 872374"/>
                      <a:gd name="connsiteX230" fmla="*/ 195382 w 1000554"/>
                      <a:gd name="connsiteY230" fmla="*/ 477877 h 872374"/>
                      <a:gd name="connsiteX231" fmla="*/ 179204 w 1000554"/>
                      <a:gd name="connsiteY231" fmla="*/ 472899 h 872374"/>
                      <a:gd name="connsiteX232" fmla="*/ 163026 w 1000554"/>
                      <a:gd name="connsiteY232" fmla="*/ 469166 h 872374"/>
                      <a:gd name="connsiteX233" fmla="*/ 154315 w 1000554"/>
                      <a:gd name="connsiteY233" fmla="*/ 448010 h 872374"/>
                      <a:gd name="connsiteX234" fmla="*/ 164270 w 1000554"/>
                      <a:gd name="connsiteY234" fmla="*/ 423120 h 872374"/>
                      <a:gd name="connsiteX235" fmla="*/ 156803 w 1000554"/>
                      <a:gd name="connsiteY235" fmla="*/ 413165 h 872374"/>
                      <a:gd name="connsiteX236" fmla="*/ 163026 w 1000554"/>
                      <a:gd name="connsiteY236" fmla="*/ 396986 h 872374"/>
                      <a:gd name="connsiteX237" fmla="*/ 146848 w 1000554"/>
                      <a:gd name="connsiteY237" fmla="*/ 384542 h 872374"/>
                      <a:gd name="connsiteX238" fmla="*/ 146848 w 1000554"/>
                      <a:gd name="connsiteY238" fmla="*/ 375830 h 872374"/>
                      <a:gd name="connsiteX239" fmla="*/ 153070 w 1000554"/>
                      <a:gd name="connsiteY239" fmla="*/ 368363 h 872374"/>
                      <a:gd name="connsiteX240" fmla="*/ 154315 w 1000554"/>
                      <a:gd name="connsiteY240" fmla="*/ 353430 h 872374"/>
                      <a:gd name="connsiteX241" fmla="*/ 144359 w 1000554"/>
                      <a:gd name="connsiteY241" fmla="*/ 338496 h 872374"/>
                      <a:gd name="connsiteX242" fmla="*/ 148092 w 1000554"/>
                      <a:gd name="connsiteY242" fmla="*/ 322318 h 872374"/>
                      <a:gd name="connsiteX243" fmla="*/ 164270 w 1000554"/>
                      <a:gd name="connsiteY243" fmla="*/ 328540 h 872374"/>
                      <a:gd name="connsiteX244" fmla="*/ 175471 w 1000554"/>
                      <a:gd name="connsiteY244" fmla="*/ 322318 h 872374"/>
                      <a:gd name="connsiteX245" fmla="*/ 182937 w 1000554"/>
                      <a:gd name="connsiteY245" fmla="*/ 309873 h 872374"/>
                      <a:gd name="connsiteX246" fmla="*/ 176715 w 1000554"/>
                      <a:gd name="connsiteY246" fmla="*/ 301162 h 872374"/>
                      <a:gd name="connsiteX247" fmla="*/ 189160 w 1000554"/>
                      <a:gd name="connsiteY247" fmla="*/ 291206 h 872374"/>
                      <a:gd name="connsiteX248" fmla="*/ 201604 w 1000554"/>
                      <a:gd name="connsiteY248" fmla="*/ 282495 h 872374"/>
                      <a:gd name="connsiteX249" fmla="*/ 197871 w 1000554"/>
                      <a:gd name="connsiteY249" fmla="*/ 277517 h 872374"/>
                      <a:gd name="connsiteX250" fmla="*/ 200360 w 1000554"/>
                      <a:gd name="connsiteY250" fmla="*/ 265072 h 872374"/>
                      <a:gd name="connsiteX251" fmla="*/ 231472 w 1000554"/>
                      <a:gd name="connsiteY251" fmla="*/ 268806 h 872374"/>
                      <a:gd name="connsiteX252" fmla="*/ 243916 w 1000554"/>
                      <a:gd name="connsiteY252" fmla="*/ 260095 h 872374"/>
                      <a:gd name="connsiteX253" fmla="*/ 268806 w 1000554"/>
                      <a:gd name="connsiteY253" fmla="*/ 275028 h 872374"/>
                      <a:gd name="connsiteX254" fmla="*/ 287473 w 1000554"/>
                      <a:gd name="connsiteY254" fmla="*/ 271295 h 872374"/>
                      <a:gd name="connsiteX255" fmla="*/ 288717 w 1000554"/>
                      <a:gd name="connsiteY255" fmla="*/ 252628 h 872374"/>
                      <a:gd name="connsiteX256" fmla="*/ 301162 w 1000554"/>
                      <a:gd name="connsiteY256" fmla="*/ 241427 h 872374"/>
                      <a:gd name="connsiteX257" fmla="*/ 299918 w 1000554"/>
                      <a:gd name="connsiteY257" fmla="*/ 227738 h 872374"/>
                      <a:gd name="connsiteX258" fmla="*/ 311118 w 1000554"/>
                      <a:gd name="connsiteY258" fmla="*/ 225249 h 872374"/>
                      <a:gd name="connsiteX259" fmla="*/ 319829 w 1000554"/>
                      <a:gd name="connsiteY259" fmla="*/ 231472 h 872374"/>
                      <a:gd name="connsiteX260" fmla="*/ 323562 w 1000554"/>
                      <a:gd name="connsiteY260" fmla="*/ 225249 h 872374"/>
                      <a:gd name="connsiteX261" fmla="*/ 313607 w 1000554"/>
                      <a:gd name="connsiteY261" fmla="*/ 210316 h 872374"/>
                      <a:gd name="connsiteX262" fmla="*/ 317340 w 1000554"/>
                      <a:gd name="connsiteY262" fmla="*/ 194138 h 872374"/>
                      <a:gd name="connsiteX263" fmla="*/ 332274 w 1000554"/>
                      <a:gd name="connsiteY263" fmla="*/ 166759 h 872374"/>
                      <a:gd name="connsiteX264" fmla="*/ 332274 w 1000554"/>
                      <a:gd name="connsiteY264" fmla="*/ 153070 h 872374"/>
                      <a:gd name="connsiteX265" fmla="*/ 336007 w 1000554"/>
                      <a:gd name="connsiteY265" fmla="*/ 146848 h 872374"/>
                      <a:gd name="connsiteX266" fmla="*/ 344718 w 1000554"/>
                      <a:gd name="connsiteY266" fmla="*/ 150581 h 872374"/>
                      <a:gd name="connsiteX267" fmla="*/ 357163 w 1000554"/>
                      <a:gd name="connsiteY267" fmla="*/ 144359 h 872374"/>
                      <a:gd name="connsiteX268" fmla="*/ 357163 w 1000554"/>
                      <a:gd name="connsiteY268" fmla="*/ 128181 h 872374"/>
                      <a:gd name="connsiteX269" fmla="*/ 342230 w 1000554"/>
                      <a:gd name="connsiteY269" fmla="*/ 115736 h 872374"/>
                      <a:gd name="connsiteX270" fmla="*/ 348452 w 1000554"/>
                      <a:gd name="connsiteY270" fmla="*/ 97069 h 872374"/>
                      <a:gd name="connsiteX271" fmla="*/ 359652 w 1000554"/>
                      <a:gd name="connsiteY271" fmla="*/ 82135 h 872374"/>
                      <a:gd name="connsiteX272" fmla="*/ 378319 w 1000554"/>
                      <a:gd name="connsiteY272" fmla="*/ 74668 h 872374"/>
                      <a:gd name="connsiteX273" fmla="*/ 394497 w 1000554"/>
                      <a:gd name="connsiteY273" fmla="*/ 56001 h 872374"/>
                      <a:gd name="connsiteX274" fmla="*/ 406942 w 1000554"/>
                      <a:gd name="connsiteY274" fmla="*/ 57246 h 872374"/>
                      <a:gd name="connsiteX275" fmla="*/ 423120 w 1000554"/>
                      <a:gd name="connsiteY275" fmla="*/ 49779 h 872374"/>
                      <a:gd name="connsiteX276" fmla="*/ 428098 w 1000554"/>
                      <a:gd name="connsiteY276" fmla="*/ 41068 h 872374"/>
                      <a:gd name="connsiteX277" fmla="*/ 428098 w 1000554"/>
                      <a:gd name="connsiteY277" fmla="*/ 32356 h 872374"/>
                      <a:gd name="connsiteX278" fmla="*/ 423120 w 1000554"/>
                      <a:gd name="connsiteY278" fmla="*/ 19912 h 872374"/>
                      <a:gd name="connsiteX279" fmla="*/ 431831 w 1000554"/>
                      <a:gd name="connsiteY279" fmla="*/ 19912 h 872374"/>
                      <a:gd name="connsiteX280" fmla="*/ 454232 w 1000554"/>
                      <a:gd name="connsiteY280" fmla="*/ 43557 h 872374"/>
                      <a:gd name="connsiteX281" fmla="*/ 462943 w 1000554"/>
                      <a:gd name="connsiteY281" fmla="*/ 43557 h 872374"/>
                      <a:gd name="connsiteX282" fmla="*/ 470410 w 1000554"/>
                      <a:gd name="connsiteY282" fmla="*/ 51023 h 872374"/>
                      <a:gd name="connsiteX283" fmla="*/ 491566 w 1000554"/>
                      <a:gd name="connsiteY283" fmla="*/ 51023 h 872374"/>
                      <a:gd name="connsiteX284" fmla="*/ 494055 w 1000554"/>
                      <a:gd name="connsiteY284" fmla="*/ 43557 h 872374"/>
                      <a:gd name="connsiteX285" fmla="*/ 504011 w 1000554"/>
                      <a:gd name="connsiteY285" fmla="*/ 34845 h 872374"/>
                      <a:gd name="connsiteX286" fmla="*/ 525167 w 1000554"/>
                      <a:gd name="connsiteY286" fmla="*/ 32356 h 872374"/>
                      <a:gd name="connsiteX287" fmla="*/ 545078 w 1000554"/>
                      <a:gd name="connsiteY287" fmla="*/ 32356 h 872374"/>
                      <a:gd name="connsiteX288" fmla="*/ 560012 w 1000554"/>
                      <a:gd name="connsiteY288" fmla="*/ 26134 h 872374"/>
                      <a:gd name="connsiteX289" fmla="*/ 569968 w 1000554"/>
                      <a:gd name="connsiteY289" fmla="*/ 32356 h 872374"/>
                      <a:gd name="connsiteX290" fmla="*/ 576190 w 1000554"/>
                      <a:gd name="connsiteY290" fmla="*/ 22401 h 872374"/>
                      <a:gd name="connsiteX291" fmla="*/ 597346 w 1000554"/>
                      <a:gd name="connsiteY291" fmla="*/ 22401 h 872374"/>
                      <a:gd name="connsiteX292" fmla="*/ 603568 w 1000554"/>
                      <a:gd name="connsiteY292" fmla="*/ 62224 h 872374"/>
                      <a:gd name="connsiteX293" fmla="*/ 598590 w 1000554"/>
                      <a:gd name="connsiteY293" fmla="*/ 68446 h 872374"/>
                      <a:gd name="connsiteX294" fmla="*/ 582412 w 1000554"/>
                      <a:gd name="connsiteY294" fmla="*/ 88358 h 872374"/>
                      <a:gd name="connsiteX295" fmla="*/ 588635 w 1000554"/>
                      <a:gd name="connsiteY295" fmla="*/ 94580 h 872374"/>
                      <a:gd name="connsiteX296" fmla="*/ 598590 w 1000554"/>
                      <a:gd name="connsiteY296" fmla="*/ 93335 h 872374"/>
                      <a:gd name="connsiteX297" fmla="*/ 629702 w 1000554"/>
                      <a:gd name="connsiteY297" fmla="*/ 105780 h 872374"/>
                      <a:gd name="connsiteX298" fmla="*/ 644636 w 1000554"/>
                      <a:gd name="connsiteY298" fmla="*/ 87113 h 872374"/>
                      <a:gd name="connsiteX299" fmla="*/ 644636 w 1000554"/>
                      <a:gd name="connsiteY299" fmla="*/ 75913 h 872374"/>
                      <a:gd name="connsiteX300" fmla="*/ 663303 w 1000554"/>
                      <a:gd name="connsiteY300" fmla="*/ 78402 h 872374"/>
                      <a:gd name="connsiteX301" fmla="*/ 681970 w 1000554"/>
                      <a:gd name="connsiteY301" fmla="*/ 90846 h 872374"/>
                      <a:gd name="connsiteX302" fmla="*/ 715571 w 1000554"/>
                      <a:gd name="connsiteY302" fmla="*/ 88358 h 872374"/>
                      <a:gd name="connsiteX303" fmla="*/ 716815 w 1000554"/>
                      <a:gd name="connsiteY303" fmla="*/ 80891 h 872374"/>
                      <a:gd name="connsiteX304" fmla="*/ 725526 w 1000554"/>
                      <a:gd name="connsiteY304" fmla="*/ 82135 h 872374"/>
                      <a:gd name="connsiteX305" fmla="*/ 723037 w 1000554"/>
                      <a:gd name="connsiteY305" fmla="*/ 97069 h 872374"/>
                      <a:gd name="connsiteX306" fmla="*/ 715571 w 1000554"/>
                      <a:gd name="connsiteY306" fmla="*/ 100802 h 872374"/>
                      <a:gd name="connsiteX307" fmla="*/ 721793 w 1000554"/>
                      <a:gd name="connsiteY307" fmla="*/ 107025 h 872374"/>
                      <a:gd name="connsiteX308" fmla="*/ 728015 w 1000554"/>
                      <a:gd name="connsiteY308" fmla="*/ 105780 h 872374"/>
                      <a:gd name="connsiteX309" fmla="*/ 737971 w 1000554"/>
                      <a:gd name="connsiteY309" fmla="*/ 105780 h 872374"/>
                      <a:gd name="connsiteX310" fmla="*/ 751660 w 1000554"/>
                      <a:gd name="connsiteY310" fmla="*/ 93335 h 872374"/>
                      <a:gd name="connsiteX311" fmla="*/ 754149 w 1000554"/>
                      <a:gd name="connsiteY311" fmla="*/ 84624 h 872374"/>
                      <a:gd name="connsiteX312" fmla="*/ 760371 w 1000554"/>
                      <a:gd name="connsiteY312" fmla="*/ 68446 h 872374"/>
                      <a:gd name="connsiteX313" fmla="*/ 750416 w 1000554"/>
                      <a:gd name="connsiteY313" fmla="*/ 56001 h 872374"/>
                      <a:gd name="connsiteX314" fmla="*/ 756638 w 1000554"/>
                      <a:gd name="connsiteY314" fmla="*/ 49779 h 872374"/>
                      <a:gd name="connsiteX315" fmla="*/ 750416 w 1000554"/>
                      <a:gd name="connsiteY315" fmla="*/ 43557 h 872374"/>
                      <a:gd name="connsiteX316" fmla="*/ 757883 w 1000554"/>
                      <a:gd name="connsiteY316" fmla="*/ 37334 h 872374"/>
                      <a:gd name="connsiteX317" fmla="*/ 757883 w 1000554"/>
                      <a:gd name="connsiteY317" fmla="*/ 26134 h 872374"/>
                      <a:gd name="connsiteX318" fmla="*/ 741704 w 1000554"/>
                      <a:gd name="connsiteY318" fmla="*/ 19912 h 872374"/>
                      <a:gd name="connsiteX319" fmla="*/ 744193 w 1000554"/>
                      <a:gd name="connsiteY319" fmla="*/ 9956 h 872374"/>
                      <a:gd name="connsiteX320" fmla="*/ 754149 w 1000554"/>
                      <a:gd name="connsiteY320" fmla="*/ 6222 h 872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Lst>
                    <a:rect l="l" t="t" r="r" b="b"/>
                    <a:pathLst>
                      <a:path w="1000554" h="872374">
                        <a:moveTo>
                          <a:pt x="673366" y="479229"/>
                        </a:moveTo>
                        <a:lnTo>
                          <a:pt x="664655" y="485452"/>
                        </a:lnTo>
                        <a:lnTo>
                          <a:pt x="663411" y="489185"/>
                        </a:lnTo>
                        <a:lnTo>
                          <a:pt x="658433" y="491674"/>
                        </a:lnTo>
                        <a:lnTo>
                          <a:pt x="657188" y="494163"/>
                        </a:lnTo>
                        <a:lnTo>
                          <a:pt x="652210" y="497896"/>
                        </a:lnTo>
                        <a:lnTo>
                          <a:pt x="644744" y="500385"/>
                        </a:lnTo>
                        <a:lnTo>
                          <a:pt x="644744" y="504118"/>
                        </a:lnTo>
                        <a:lnTo>
                          <a:pt x="642255" y="506607"/>
                        </a:lnTo>
                        <a:lnTo>
                          <a:pt x="636032" y="506607"/>
                        </a:lnTo>
                        <a:lnTo>
                          <a:pt x="632299" y="510341"/>
                        </a:lnTo>
                        <a:lnTo>
                          <a:pt x="629810" y="514074"/>
                        </a:lnTo>
                        <a:lnTo>
                          <a:pt x="627321" y="526519"/>
                        </a:lnTo>
                        <a:lnTo>
                          <a:pt x="623588" y="532741"/>
                        </a:lnTo>
                        <a:lnTo>
                          <a:pt x="621099" y="537719"/>
                        </a:lnTo>
                        <a:lnTo>
                          <a:pt x="619854" y="543941"/>
                        </a:lnTo>
                        <a:lnTo>
                          <a:pt x="617365" y="548919"/>
                        </a:lnTo>
                        <a:lnTo>
                          <a:pt x="619854" y="553897"/>
                        </a:lnTo>
                        <a:lnTo>
                          <a:pt x="623588" y="557630"/>
                        </a:lnTo>
                        <a:lnTo>
                          <a:pt x="632299" y="557630"/>
                        </a:lnTo>
                        <a:lnTo>
                          <a:pt x="633543" y="545186"/>
                        </a:lnTo>
                        <a:lnTo>
                          <a:pt x="636032" y="535230"/>
                        </a:lnTo>
                        <a:lnTo>
                          <a:pt x="638521" y="531497"/>
                        </a:lnTo>
                        <a:lnTo>
                          <a:pt x="639766" y="529008"/>
                        </a:lnTo>
                        <a:lnTo>
                          <a:pt x="645988" y="529008"/>
                        </a:lnTo>
                        <a:lnTo>
                          <a:pt x="648477" y="531497"/>
                        </a:lnTo>
                        <a:lnTo>
                          <a:pt x="657188" y="535230"/>
                        </a:lnTo>
                        <a:lnTo>
                          <a:pt x="663411" y="532741"/>
                        </a:lnTo>
                        <a:lnTo>
                          <a:pt x="667144" y="531497"/>
                        </a:lnTo>
                        <a:lnTo>
                          <a:pt x="669633" y="525274"/>
                        </a:lnTo>
                        <a:lnTo>
                          <a:pt x="670877" y="522785"/>
                        </a:lnTo>
                        <a:lnTo>
                          <a:pt x="673366" y="514074"/>
                        </a:lnTo>
                        <a:lnTo>
                          <a:pt x="677100" y="510341"/>
                        </a:lnTo>
                        <a:lnTo>
                          <a:pt x="679589" y="507852"/>
                        </a:lnTo>
                        <a:lnTo>
                          <a:pt x="683322" y="506607"/>
                        </a:lnTo>
                        <a:lnTo>
                          <a:pt x="692033" y="501630"/>
                        </a:lnTo>
                        <a:lnTo>
                          <a:pt x="694522" y="495407"/>
                        </a:lnTo>
                        <a:lnTo>
                          <a:pt x="694522" y="489185"/>
                        </a:lnTo>
                        <a:lnTo>
                          <a:pt x="692033" y="482963"/>
                        </a:lnTo>
                        <a:lnTo>
                          <a:pt x="688300" y="481718"/>
                        </a:lnTo>
                        <a:lnTo>
                          <a:pt x="682078" y="479229"/>
                        </a:lnTo>
                        <a:close/>
                        <a:moveTo>
                          <a:pt x="754149" y="0"/>
                        </a:moveTo>
                        <a:lnTo>
                          <a:pt x="776550" y="13689"/>
                        </a:lnTo>
                        <a:lnTo>
                          <a:pt x="788994" y="16178"/>
                        </a:lnTo>
                        <a:lnTo>
                          <a:pt x="797706" y="22401"/>
                        </a:lnTo>
                        <a:lnTo>
                          <a:pt x="818862" y="43557"/>
                        </a:lnTo>
                        <a:lnTo>
                          <a:pt x="832551" y="34845"/>
                        </a:lnTo>
                        <a:lnTo>
                          <a:pt x="851218" y="43557"/>
                        </a:lnTo>
                        <a:lnTo>
                          <a:pt x="872374" y="56001"/>
                        </a:lnTo>
                        <a:lnTo>
                          <a:pt x="873618" y="72179"/>
                        </a:lnTo>
                        <a:lnTo>
                          <a:pt x="882330" y="65957"/>
                        </a:lnTo>
                        <a:lnTo>
                          <a:pt x="897263" y="75913"/>
                        </a:lnTo>
                        <a:lnTo>
                          <a:pt x="915930" y="78402"/>
                        </a:lnTo>
                        <a:lnTo>
                          <a:pt x="922153" y="88358"/>
                        </a:lnTo>
                        <a:lnTo>
                          <a:pt x="923397" y="112002"/>
                        </a:lnTo>
                        <a:lnTo>
                          <a:pt x="934597" y="118225"/>
                        </a:lnTo>
                        <a:lnTo>
                          <a:pt x="935842" y="109514"/>
                        </a:lnTo>
                        <a:lnTo>
                          <a:pt x="947042" y="107025"/>
                        </a:lnTo>
                        <a:lnTo>
                          <a:pt x="948286" y="99558"/>
                        </a:lnTo>
                        <a:lnTo>
                          <a:pt x="959487" y="99558"/>
                        </a:lnTo>
                        <a:lnTo>
                          <a:pt x="960731" y="115736"/>
                        </a:lnTo>
                        <a:lnTo>
                          <a:pt x="969442" y="124447"/>
                        </a:lnTo>
                        <a:lnTo>
                          <a:pt x="990598" y="130670"/>
                        </a:lnTo>
                        <a:lnTo>
                          <a:pt x="996821" y="134403"/>
                        </a:lnTo>
                        <a:lnTo>
                          <a:pt x="996821" y="140625"/>
                        </a:lnTo>
                        <a:lnTo>
                          <a:pt x="1000554" y="156803"/>
                        </a:lnTo>
                        <a:lnTo>
                          <a:pt x="991843" y="165515"/>
                        </a:lnTo>
                        <a:lnTo>
                          <a:pt x="985621" y="165515"/>
                        </a:lnTo>
                        <a:lnTo>
                          <a:pt x="981887" y="171737"/>
                        </a:lnTo>
                        <a:lnTo>
                          <a:pt x="954509" y="171737"/>
                        </a:lnTo>
                        <a:lnTo>
                          <a:pt x="929619" y="190404"/>
                        </a:lnTo>
                        <a:lnTo>
                          <a:pt x="900997" y="227738"/>
                        </a:lnTo>
                        <a:lnTo>
                          <a:pt x="898508" y="246405"/>
                        </a:lnTo>
                        <a:lnTo>
                          <a:pt x="904730" y="256361"/>
                        </a:lnTo>
                        <a:lnTo>
                          <a:pt x="915930" y="278762"/>
                        </a:lnTo>
                        <a:lnTo>
                          <a:pt x="929619" y="299918"/>
                        </a:lnTo>
                        <a:lnTo>
                          <a:pt x="923397" y="307384"/>
                        </a:lnTo>
                        <a:lnTo>
                          <a:pt x="917175" y="309873"/>
                        </a:lnTo>
                        <a:lnTo>
                          <a:pt x="928375" y="309873"/>
                        </a:lnTo>
                        <a:lnTo>
                          <a:pt x="934597" y="316096"/>
                        </a:lnTo>
                        <a:lnTo>
                          <a:pt x="934597" y="322318"/>
                        </a:lnTo>
                        <a:lnTo>
                          <a:pt x="928375" y="331029"/>
                        </a:lnTo>
                        <a:lnTo>
                          <a:pt x="907219" y="347207"/>
                        </a:lnTo>
                        <a:lnTo>
                          <a:pt x="888552" y="365875"/>
                        </a:lnTo>
                        <a:lnTo>
                          <a:pt x="891041" y="380808"/>
                        </a:lnTo>
                        <a:lnTo>
                          <a:pt x="897263" y="378319"/>
                        </a:lnTo>
                        <a:lnTo>
                          <a:pt x="897263" y="365875"/>
                        </a:lnTo>
                        <a:lnTo>
                          <a:pt x="900997" y="362141"/>
                        </a:lnTo>
                        <a:lnTo>
                          <a:pt x="903486" y="372097"/>
                        </a:lnTo>
                        <a:lnTo>
                          <a:pt x="900997" y="390764"/>
                        </a:lnTo>
                        <a:lnTo>
                          <a:pt x="879841" y="406942"/>
                        </a:lnTo>
                        <a:lnTo>
                          <a:pt x="856196" y="425609"/>
                        </a:lnTo>
                        <a:lnTo>
                          <a:pt x="841262" y="448010"/>
                        </a:lnTo>
                        <a:lnTo>
                          <a:pt x="841262" y="456721"/>
                        </a:lnTo>
                        <a:lnTo>
                          <a:pt x="825084" y="466677"/>
                        </a:lnTo>
                        <a:lnTo>
                          <a:pt x="781527" y="484099"/>
                        </a:lnTo>
                        <a:lnTo>
                          <a:pt x="754149" y="497789"/>
                        </a:lnTo>
                        <a:lnTo>
                          <a:pt x="725526" y="502766"/>
                        </a:lnTo>
                        <a:lnTo>
                          <a:pt x="704370" y="510233"/>
                        </a:lnTo>
                        <a:lnTo>
                          <a:pt x="690681" y="515211"/>
                        </a:lnTo>
                        <a:lnTo>
                          <a:pt x="684459" y="518945"/>
                        </a:lnTo>
                        <a:lnTo>
                          <a:pt x="700637" y="518945"/>
                        </a:lnTo>
                        <a:lnTo>
                          <a:pt x="696904" y="525167"/>
                        </a:lnTo>
                        <a:lnTo>
                          <a:pt x="681970" y="528900"/>
                        </a:lnTo>
                        <a:lnTo>
                          <a:pt x="657080" y="546323"/>
                        </a:lnTo>
                        <a:lnTo>
                          <a:pt x="623480" y="568723"/>
                        </a:lnTo>
                        <a:lnTo>
                          <a:pt x="591124" y="593613"/>
                        </a:lnTo>
                        <a:lnTo>
                          <a:pt x="582412" y="606057"/>
                        </a:lnTo>
                        <a:lnTo>
                          <a:pt x="566234" y="618502"/>
                        </a:lnTo>
                        <a:lnTo>
                          <a:pt x="547567" y="624725"/>
                        </a:lnTo>
                        <a:lnTo>
                          <a:pt x="537611" y="625969"/>
                        </a:lnTo>
                        <a:lnTo>
                          <a:pt x="545078" y="632191"/>
                        </a:lnTo>
                        <a:lnTo>
                          <a:pt x="541345" y="637169"/>
                        </a:lnTo>
                        <a:lnTo>
                          <a:pt x="526411" y="640903"/>
                        </a:lnTo>
                        <a:lnTo>
                          <a:pt x="512722" y="647125"/>
                        </a:lnTo>
                        <a:lnTo>
                          <a:pt x="506500" y="650858"/>
                        </a:lnTo>
                        <a:lnTo>
                          <a:pt x="507744" y="657081"/>
                        </a:lnTo>
                        <a:lnTo>
                          <a:pt x="510233" y="668281"/>
                        </a:lnTo>
                        <a:lnTo>
                          <a:pt x="495299" y="668281"/>
                        </a:lnTo>
                        <a:lnTo>
                          <a:pt x="491566" y="674503"/>
                        </a:lnTo>
                        <a:lnTo>
                          <a:pt x="489077" y="680726"/>
                        </a:lnTo>
                        <a:lnTo>
                          <a:pt x="491566" y="684459"/>
                        </a:lnTo>
                        <a:lnTo>
                          <a:pt x="485344" y="691926"/>
                        </a:lnTo>
                        <a:lnTo>
                          <a:pt x="466677" y="691926"/>
                        </a:lnTo>
                        <a:lnTo>
                          <a:pt x="456721" y="696904"/>
                        </a:lnTo>
                        <a:lnTo>
                          <a:pt x="441787" y="685704"/>
                        </a:lnTo>
                        <a:lnTo>
                          <a:pt x="429342" y="684459"/>
                        </a:lnTo>
                        <a:lnTo>
                          <a:pt x="419387" y="685704"/>
                        </a:lnTo>
                        <a:lnTo>
                          <a:pt x="413164" y="678237"/>
                        </a:lnTo>
                        <a:lnTo>
                          <a:pt x="406942" y="668281"/>
                        </a:lnTo>
                        <a:lnTo>
                          <a:pt x="403209" y="659570"/>
                        </a:lnTo>
                        <a:lnTo>
                          <a:pt x="398231" y="649614"/>
                        </a:lnTo>
                        <a:lnTo>
                          <a:pt x="392008" y="655836"/>
                        </a:lnTo>
                        <a:lnTo>
                          <a:pt x="396986" y="663303"/>
                        </a:lnTo>
                        <a:lnTo>
                          <a:pt x="396986" y="672014"/>
                        </a:lnTo>
                        <a:lnTo>
                          <a:pt x="390764" y="662059"/>
                        </a:lnTo>
                        <a:lnTo>
                          <a:pt x="379564" y="644636"/>
                        </a:lnTo>
                        <a:lnTo>
                          <a:pt x="372097" y="624725"/>
                        </a:lnTo>
                        <a:lnTo>
                          <a:pt x="365874" y="637169"/>
                        </a:lnTo>
                        <a:lnTo>
                          <a:pt x="354674" y="644636"/>
                        </a:lnTo>
                        <a:lnTo>
                          <a:pt x="344718" y="644636"/>
                        </a:lnTo>
                        <a:lnTo>
                          <a:pt x="342230" y="659570"/>
                        </a:lnTo>
                        <a:lnTo>
                          <a:pt x="336007" y="657081"/>
                        </a:lnTo>
                        <a:lnTo>
                          <a:pt x="326051" y="650858"/>
                        </a:lnTo>
                        <a:lnTo>
                          <a:pt x="319829" y="659570"/>
                        </a:lnTo>
                        <a:lnTo>
                          <a:pt x="319829" y="668281"/>
                        </a:lnTo>
                        <a:lnTo>
                          <a:pt x="326051" y="663303"/>
                        </a:lnTo>
                        <a:lnTo>
                          <a:pt x="329785" y="669525"/>
                        </a:lnTo>
                        <a:lnTo>
                          <a:pt x="336007" y="680726"/>
                        </a:lnTo>
                        <a:lnTo>
                          <a:pt x="322318" y="688193"/>
                        </a:lnTo>
                        <a:lnTo>
                          <a:pt x="304895" y="703126"/>
                        </a:lnTo>
                        <a:lnTo>
                          <a:pt x="301162" y="696904"/>
                        </a:lnTo>
                        <a:lnTo>
                          <a:pt x="291206" y="696904"/>
                        </a:lnTo>
                        <a:lnTo>
                          <a:pt x="281250" y="709349"/>
                        </a:lnTo>
                        <a:lnTo>
                          <a:pt x="263828" y="731749"/>
                        </a:lnTo>
                        <a:lnTo>
                          <a:pt x="275028" y="729260"/>
                        </a:lnTo>
                        <a:lnTo>
                          <a:pt x="278762" y="746683"/>
                        </a:lnTo>
                        <a:lnTo>
                          <a:pt x="272539" y="756638"/>
                        </a:lnTo>
                        <a:lnTo>
                          <a:pt x="281250" y="766594"/>
                        </a:lnTo>
                        <a:lnTo>
                          <a:pt x="256361" y="771572"/>
                        </a:lnTo>
                        <a:lnTo>
                          <a:pt x="241427" y="759127"/>
                        </a:lnTo>
                        <a:lnTo>
                          <a:pt x="231472" y="760372"/>
                        </a:lnTo>
                        <a:lnTo>
                          <a:pt x="235205" y="772817"/>
                        </a:lnTo>
                        <a:lnTo>
                          <a:pt x="222760" y="779039"/>
                        </a:lnTo>
                        <a:lnTo>
                          <a:pt x="210316" y="787750"/>
                        </a:lnTo>
                        <a:lnTo>
                          <a:pt x="201604" y="793973"/>
                        </a:lnTo>
                        <a:lnTo>
                          <a:pt x="195382" y="781528"/>
                        </a:lnTo>
                        <a:lnTo>
                          <a:pt x="187915" y="762861"/>
                        </a:lnTo>
                        <a:lnTo>
                          <a:pt x="182937" y="741705"/>
                        </a:lnTo>
                        <a:lnTo>
                          <a:pt x="175471" y="737971"/>
                        </a:lnTo>
                        <a:lnTo>
                          <a:pt x="164270" y="741705"/>
                        </a:lnTo>
                        <a:lnTo>
                          <a:pt x="153070" y="752905"/>
                        </a:lnTo>
                        <a:lnTo>
                          <a:pt x="150581" y="766594"/>
                        </a:lnTo>
                        <a:lnTo>
                          <a:pt x="154315" y="781528"/>
                        </a:lnTo>
                        <a:lnTo>
                          <a:pt x="163026" y="787750"/>
                        </a:lnTo>
                        <a:lnTo>
                          <a:pt x="154315" y="790239"/>
                        </a:lnTo>
                        <a:lnTo>
                          <a:pt x="153070" y="800195"/>
                        </a:lnTo>
                        <a:lnTo>
                          <a:pt x="156803" y="810151"/>
                        </a:lnTo>
                        <a:lnTo>
                          <a:pt x="153070" y="820106"/>
                        </a:lnTo>
                        <a:lnTo>
                          <a:pt x="153070" y="832551"/>
                        </a:lnTo>
                        <a:lnTo>
                          <a:pt x="141870" y="826329"/>
                        </a:lnTo>
                        <a:lnTo>
                          <a:pt x="140625" y="837529"/>
                        </a:lnTo>
                        <a:lnTo>
                          <a:pt x="134403" y="837529"/>
                        </a:lnTo>
                        <a:lnTo>
                          <a:pt x="119469" y="826329"/>
                        </a:lnTo>
                        <a:lnTo>
                          <a:pt x="104536" y="828818"/>
                        </a:lnTo>
                        <a:lnTo>
                          <a:pt x="90847" y="843751"/>
                        </a:lnTo>
                        <a:lnTo>
                          <a:pt x="84624" y="838774"/>
                        </a:lnTo>
                        <a:lnTo>
                          <a:pt x="78402" y="847485"/>
                        </a:lnTo>
                        <a:lnTo>
                          <a:pt x="63468" y="847485"/>
                        </a:lnTo>
                        <a:lnTo>
                          <a:pt x="48535" y="857441"/>
                        </a:lnTo>
                        <a:lnTo>
                          <a:pt x="23645" y="868641"/>
                        </a:lnTo>
                        <a:lnTo>
                          <a:pt x="0" y="872374"/>
                        </a:lnTo>
                        <a:lnTo>
                          <a:pt x="1245" y="859930"/>
                        </a:lnTo>
                        <a:lnTo>
                          <a:pt x="3734" y="828818"/>
                        </a:lnTo>
                        <a:lnTo>
                          <a:pt x="19912" y="822595"/>
                        </a:lnTo>
                        <a:lnTo>
                          <a:pt x="19912" y="803928"/>
                        </a:lnTo>
                        <a:lnTo>
                          <a:pt x="18667" y="791484"/>
                        </a:lnTo>
                        <a:lnTo>
                          <a:pt x="22401" y="779039"/>
                        </a:lnTo>
                        <a:lnTo>
                          <a:pt x="53512" y="775305"/>
                        </a:lnTo>
                        <a:lnTo>
                          <a:pt x="54757" y="769083"/>
                        </a:lnTo>
                        <a:lnTo>
                          <a:pt x="79646" y="737971"/>
                        </a:lnTo>
                        <a:lnTo>
                          <a:pt x="97069" y="731749"/>
                        </a:lnTo>
                        <a:lnTo>
                          <a:pt x="78402" y="721793"/>
                        </a:lnTo>
                        <a:lnTo>
                          <a:pt x="97069" y="709349"/>
                        </a:lnTo>
                        <a:lnTo>
                          <a:pt x="110758" y="706860"/>
                        </a:lnTo>
                        <a:lnTo>
                          <a:pt x="123203" y="684459"/>
                        </a:lnTo>
                        <a:lnTo>
                          <a:pt x="138136" y="662059"/>
                        </a:lnTo>
                        <a:lnTo>
                          <a:pt x="121958" y="624725"/>
                        </a:lnTo>
                        <a:lnTo>
                          <a:pt x="125692" y="576190"/>
                        </a:lnTo>
                        <a:lnTo>
                          <a:pt x="113247" y="576190"/>
                        </a:lnTo>
                        <a:lnTo>
                          <a:pt x="107025" y="560012"/>
                        </a:lnTo>
                        <a:lnTo>
                          <a:pt x="100802" y="557523"/>
                        </a:lnTo>
                        <a:lnTo>
                          <a:pt x="100802" y="512722"/>
                        </a:lnTo>
                        <a:lnTo>
                          <a:pt x="88358" y="512722"/>
                        </a:lnTo>
                        <a:lnTo>
                          <a:pt x="85869" y="497789"/>
                        </a:lnTo>
                        <a:lnTo>
                          <a:pt x="72180" y="500277"/>
                        </a:lnTo>
                        <a:lnTo>
                          <a:pt x="67202" y="491566"/>
                        </a:lnTo>
                        <a:lnTo>
                          <a:pt x="72180" y="472899"/>
                        </a:lnTo>
                        <a:lnTo>
                          <a:pt x="79646" y="456721"/>
                        </a:lnTo>
                        <a:lnTo>
                          <a:pt x="115736" y="472899"/>
                        </a:lnTo>
                        <a:lnTo>
                          <a:pt x="141870" y="477877"/>
                        </a:lnTo>
                        <a:lnTo>
                          <a:pt x="141870" y="494055"/>
                        </a:lnTo>
                        <a:lnTo>
                          <a:pt x="150581" y="504011"/>
                        </a:lnTo>
                        <a:lnTo>
                          <a:pt x="159292" y="494055"/>
                        </a:lnTo>
                        <a:lnTo>
                          <a:pt x="179204" y="494055"/>
                        </a:lnTo>
                        <a:lnTo>
                          <a:pt x="195382" y="500277"/>
                        </a:lnTo>
                        <a:lnTo>
                          <a:pt x="195382" y="516456"/>
                        </a:lnTo>
                        <a:lnTo>
                          <a:pt x="207827" y="516456"/>
                        </a:lnTo>
                        <a:lnTo>
                          <a:pt x="214049" y="504011"/>
                        </a:lnTo>
                        <a:lnTo>
                          <a:pt x="219027" y="477877"/>
                        </a:lnTo>
                        <a:lnTo>
                          <a:pt x="195382" y="477877"/>
                        </a:lnTo>
                        <a:lnTo>
                          <a:pt x="179204" y="472899"/>
                        </a:lnTo>
                        <a:lnTo>
                          <a:pt x="163026" y="469166"/>
                        </a:lnTo>
                        <a:lnTo>
                          <a:pt x="154315" y="448010"/>
                        </a:lnTo>
                        <a:lnTo>
                          <a:pt x="164270" y="423120"/>
                        </a:lnTo>
                        <a:lnTo>
                          <a:pt x="156803" y="413165"/>
                        </a:lnTo>
                        <a:lnTo>
                          <a:pt x="163026" y="396986"/>
                        </a:lnTo>
                        <a:lnTo>
                          <a:pt x="146848" y="384542"/>
                        </a:lnTo>
                        <a:lnTo>
                          <a:pt x="146848" y="375830"/>
                        </a:lnTo>
                        <a:lnTo>
                          <a:pt x="153070" y="368363"/>
                        </a:lnTo>
                        <a:lnTo>
                          <a:pt x="154315" y="353430"/>
                        </a:lnTo>
                        <a:lnTo>
                          <a:pt x="144359" y="338496"/>
                        </a:lnTo>
                        <a:lnTo>
                          <a:pt x="148092" y="322318"/>
                        </a:lnTo>
                        <a:lnTo>
                          <a:pt x="164270" y="328540"/>
                        </a:lnTo>
                        <a:lnTo>
                          <a:pt x="175471" y="322318"/>
                        </a:lnTo>
                        <a:lnTo>
                          <a:pt x="182937" y="309873"/>
                        </a:lnTo>
                        <a:lnTo>
                          <a:pt x="176715" y="301162"/>
                        </a:lnTo>
                        <a:lnTo>
                          <a:pt x="189160" y="291206"/>
                        </a:lnTo>
                        <a:lnTo>
                          <a:pt x="201604" y="282495"/>
                        </a:lnTo>
                        <a:lnTo>
                          <a:pt x="197871" y="277517"/>
                        </a:lnTo>
                        <a:lnTo>
                          <a:pt x="200360" y="265072"/>
                        </a:lnTo>
                        <a:lnTo>
                          <a:pt x="231472" y="268806"/>
                        </a:lnTo>
                        <a:lnTo>
                          <a:pt x="243916" y="260095"/>
                        </a:lnTo>
                        <a:lnTo>
                          <a:pt x="268806" y="275028"/>
                        </a:lnTo>
                        <a:lnTo>
                          <a:pt x="287473" y="271295"/>
                        </a:lnTo>
                        <a:lnTo>
                          <a:pt x="288717" y="252628"/>
                        </a:lnTo>
                        <a:lnTo>
                          <a:pt x="301162" y="241427"/>
                        </a:lnTo>
                        <a:lnTo>
                          <a:pt x="299918" y="227738"/>
                        </a:lnTo>
                        <a:lnTo>
                          <a:pt x="311118" y="225249"/>
                        </a:lnTo>
                        <a:lnTo>
                          <a:pt x="319829" y="231472"/>
                        </a:lnTo>
                        <a:lnTo>
                          <a:pt x="323562" y="225249"/>
                        </a:lnTo>
                        <a:lnTo>
                          <a:pt x="313607" y="210316"/>
                        </a:lnTo>
                        <a:lnTo>
                          <a:pt x="317340" y="194138"/>
                        </a:lnTo>
                        <a:lnTo>
                          <a:pt x="332274" y="166759"/>
                        </a:lnTo>
                        <a:lnTo>
                          <a:pt x="332274" y="153070"/>
                        </a:lnTo>
                        <a:lnTo>
                          <a:pt x="336007" y="146848"/>
                        </a:lnTo>
                        <a:lnTo>
                          <a:pt x="344718" y="150581"/>
                        </a:lnTo>
                        <a:lnTo>
                          <a:pt x="357163" y="144359"/>
                        </a:lnTo>
                        <a:lnTo>
                          <a:pt x="357163" y="128181"/>
                        </a:lnTo>
                        <a:lnTo>
                          <a:pt x="342230" y="115736"/>
                        </a:lnTo>
                        <a:lnTo>
                          <a:pt x="348452" y="97069"/>
                        </a:lnTo>
                        <a:lnTo>
                          <a:pt x="359652" y="82135"/>
                        </a:lnTo>
                        <a:lnTo>
                          <a:pt x="378319" y="74668"/>
                        </a:lnTo>
                        <a:lnTo>
                          <a:pt x="394497" y="56001"/>
                        </a:lnTo>
                        <a:lnTo>
                          <a:pt x="406942" y="57246"/>
                        </a:lnTo>
                        <a:lnTo>
                          <a:pt x="423120" y="49779"/>
                        </a:lnTo>
                        <a:lnTo>
                          <a:pt x="428098" y="41068"/>
                        </a:lnTo>
                        <a:lnTo>
                          <a:pt x="428098" y="32356"/>
                        </a:lnTo>
                        <a:lnTo>
                          <a:pt x="423120" y="19912"/>
                        </a:lnTo>
                        <a:lnTo>
                          <a:pt x="431831" y="19912"/>
                        </a:lnTo>
                        <a:lnTo>
                          <a:pt x="454232" y="43557"/>
                        </a:lnTo>
                        <a:lnTo>
                          <a:pt x="462943" y="43557"/>
                        </a:lnTo>
                        <a:lnTo>
                          <a:pt x="470410" y="51023"/>
                        </a:lnTo>
                        <a:lnTo>
                          <a:pt x="491566" y="51023"/>
                        </a:lnTo>
                        <a:lnTo>
                          <a:pt x="494055" y="43557"/>
                        </a:lnTo>
                        <a:lnTo>
                          <a:pt x="504011" y="34845"/>
                        </a:lnTo>
                        <a:lnTo>
                          <a:pt x="525167" y="32356"/>
                        </a:lnTo>
                        <a:lnTo>
                          <a:pt x="545078" y="32356"/>
                        </a:lnTo>
                        <a:lnTo>
                          <a:pt x="560012" y="26134"/>
                        </a:lnTo>
                        <a:lnTo>
                          <a:pt x="569968" y="32356"/>
                        </a:lnTo>
                        <a:lnTo>
                          <a:pt x="576190" y="22401"/>
                        </a:lnTo>
                        <a:lnTo>
                          <a:pt x="597346" y="22401"/>
                        </a:lnTo>
                        <a:lnTo>
                          <a:pt x="603568" y="62224"/>
                        </a:lnTo>
                        <a:lnTo>
                          <a:pt x="598590" y="68446"/>
                        </a:lnTo>
                        <a:lnTo>
                          <a:pt x="582412" y="88358"/>
                        </a:lnTo>
                        <a:lnTo>
                          <a:pt x="588635" y="94580"/>
                        </a:lnTo>
                        <a:lnTo>
                          <a:pt x="598590" y="93335"/>
                        </a:lnTo>
                        <a:lnTo>
                          <a:pt x="629702" y="105780"/>
                        </a:lnTo>
                        <a:lnTo>
                          <a:pt x="644636" y="87113"/>
                        </a:lnTo>
                        <a:lnTo>
                          <a:pt x="644636" y="75913"/>
                        </a:lnTo>
                        <a:lnTo>
                          <a:pt x="663303" y="78402"/>
                        </a:lnTo>
                        <a:lnTo>
                          <a:pt x="681970" y="90846"/>
                        </a:lnTo>
                        <a:lnTo>
                          <a:pt x="715571" y="88358"/>
                        </a:lnTo>
                        <a:lnTo>
                          <a:pt x="716815" y="80891"/>
                        </a:lnTo>
                        <a:lnTo>
                          <a:pt x="725526" y="82135"/>
                        </a:lnTo>
                        <a:lnTo>
                          <a:pt x="723037" y="97069"/>
                        </a:lnTo>
                        <a:lnTo>
                          <a:pt x="715571" y="100802"/>
                        </a:lnTo>
                        <a:lnTo>
                          <a:pt x="721793" y="107025"/>
                        </a:lnTo>
                        <a:lnTo>
                          <a:pt x="728015" y="105780"/>
                        </a:lnTo>
                        <a:lnTo>
                          <a:pt x="737971" y="105780"/>
                        </a:lnTo>
                        <a:lnTo>
                          <a:pt x="751660" y="93335"/>
                        </a:lnTo>
                        <a:lnTo>
                          <a:pt x="754149" y="84624"/>
                        </a:lnTo>
                        <a:lnTo>
                          <a:pt x="760371" y="68446"/>
                        </a:lnTo>
                        <a:lnTo>
                          <a:pt x="750416" y="56001"/>
                        </a:lnTo>
                        <a:lnTo>
                          <a:pt x="756638" y="49779"/>
                        </a:lnTo>
                        <a:lnTo>
                          <a:pt x="750416" y="43557"/>
                        </a:lnTo>
                        <a:lnTo>
                          <a:pt x="757883" y="37334"/>
                        </a:lnTo>
                        <a:lnTo>
                          <a:pt x="757883" y="26134"/>
                        </a:lnTo>
                        <a:lnTo>
                          <a:pt x="741704" y="19912"/>
                        </a:lnTo>
                        <a:lnTo>
                          <a:pt x="744193" y="9956"/>
                        </a:lnTo>
                        <a:lnTo>
                          <a:pt x="754149" y="6222"/>
                        </a:lnTo>
                        <a:close/>
                      </a:path>
                    </a:pathLst>
                  </a:custGeom>
                  <a:solidFill>
                    <a:schemeClr val="accent1">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a:endParaRPr lang="en-IN">
                      <a:solidFill>
                        <a:schemeClr val="tx1">
                          <a:lumMod val="85000"/>
                          <a:lumOff val="15000"/>
                        </a:schemeClr>
                      </a:solidFill>
                    </a:endParaRPr>
                  </a:p>
                </p:txBody>
              </p:sp>
              <p:sp>
                <p:nvSpPr>
                  <p:cNvPr id="36" name="Freeform 1152">
                    <a:extLst>
                      <a:ext uri="{FF2B5EF4-FFF2-40B4-BE49-F238E27FC236}">
                        <a16:creationId xmlns:a16="http://schemas.microsoft.com/office/drawing/2014/main" id="{236DD929-980E-4554-93C8-11A16444CB9D}"/>
                      </a:ext>
                    </a:extLst>
                  </p:cNvPr>
                  <p:cNvSpPr>
                    <a:spLocks/>
                  </p:cNvSpPr>
                  <p:nvPr/>
                </p:nvSpPr>
                <p:spPr bwMode="auto">
                  <a:xfrm>
                    <a:off x="3701169" y="4317206"/>
                    <a:ext cx="772816" cy="750416"/>
                  </a:xfrm>
                  <a:custGeom>
                    <a:avLst/>
                    <a:gdLst>
                      <a:gd name="T0" fmla="*/ 345 w 621"/>
                      <a:gd name="T1" fmla="*/ 475 h 603"/>
                      <a:gd name="T2" fmla="*/ 377 w 621"/>
                      <a:gd name="T3" fmla="*/ 457 h 603"/>
                      <a:gd name="T4" fmla="*/ 412 w 621"/>
                      <a:gd name="T5" fmla="*/ 435 h 603"/>
                      <a:gd name="T6" fmla="*/ 432 w 621"/>
                      <a:gd name="T7" fmla="*/ 457 h 603"/>
                      <a:gd name="T8" fmla="*/ 458 w 621"/>
                      <a:gd name="T9" fmla="*/ 450 h 603"/>
                      <a:gd name="T10" fmla="*/ 432 w 621"/>
                      <a:gd name="T11" fmla="*/ 443 h 603"/>
                      <a:gd name="T12" fmla="*/ 447 w 621"/>
                      <a:gd name="T13" fmla="*/ 417 h 603"/>
                      <a:gd name="T14" fmla="*/ 480 w 621"/>
                      <a:gd name="T15" fmla="*/ 428 h 603"/>
                      <a:gd name="T16" fmla="*/ 511 w 621"/>
                      <a:gd name="T17" fmla="*/ 405 h 603"/>
                      <a:gd name="T18" fmla="*/ 543 w 621"/>
                      <a:gd name="T19" fmla="*/ 388 h 603"/>
                      <a:gd name="T20" fmla="*/ 585 w 621"/>
                      <a:gd name="T21" fmla="*/ 373 h 603"/>
                      <a:gd name="T22" fmla="*/ 599 w 621"/>
                      <a:gd name="T23" fmla="*/ 325 h 603"/>
                      <a:gd name="T24" fmla="*/ 609 w 621"/>
                      <a:gd name="T25" fmla="*/ 289 h 603"/>
                      <a:gd name="T26" fmla="*/ 551 w 621"/>
                      <a:gd name="T27" fmla="*/ 305 h 603"/>
                      <a:gd name="T28" fmla="*/ 513 w 621"/>
                      <a:gd name="T29" fmla="*/ 310 h 603"/>
                      <a:gd name="T30" fmla="*/ 503 w 621"/>
                      <a:gd name="T31" fmla="*/ 267 h 603"/>
                      <a:gd name="T32" fmla="*/ 488 w 621"/>
                      <a:gd name="T33" fmla="*/ 254 h 603"/>
                      <a:gd name="T34" fmla="*/ 480 w 621"/>
                      <a:gd name="T35" fmla="*/ 256 h 603"/>
                      <a:gd name="T36" fmla="*/ 471 w 621"/>
                      <a:gd name="T37" fmla="*/ 219 h 603"/>
                      <a:gd name="T38" fmla="*/ 413 w 621"/>
                      <a:gd name="T39" fmla="*/ 189 h 603"/>
                      <a:gd name="T40" fmla="*/ 358 w 621"/>
                      <a:gd name="T41" fmla="*/ 167 h 603"/>
                      <a:gd name="T42" fmla="*/ 352 w 621"/>
                      <a:gd name="T43" fmla="*/ 118 h 603"/>
                      <a:gd name="T44" fmla="*/ 363 w 621"/>
                      <a:gd name="T45" fmla="*/ 66 h 603"/>
                      <a:gd name="T46" fmla="*/ 319 w 621"/>
                      <a:gd name="T47" fmla="*/ 54 h 603"/>
                      <a:gd name="T48" fmla="*/ 284 w 621"/>
                      <a:gd name="T49" fmla="*/ 54 h 603"/>
                      <a:gd name="T50" fmla="*/ 264 w 621"/>
                      <a:gd name="T51" fmla="*/ 68 h 603"/>
                      <a:gd name="T52" fmla="*/ 222 w 621"/>
                      <a:gd name="T53" fmla="*/ 54 h 603"/>
                      <a:gd name="T54" fmla="*/ 186 w 621"/>
                      <a:gd name="T55" fmla="*/ 21 h 603"/>
                      <a:gd name="T56" fmla="*/ 141 w 621"/>
                      <a:gd name="T57" fmla="*/ 0 h 603"/>
                      <a:gd name="T58" fmla="*/ 136 w 621"/>
                      <a:gd name="T59" fmla="*/ 31 h 603"/>
                      <a:gd name="T60" fmla="*/ 137 w 621"/>
                      <a:gd name="T61" fmla="*/ 64 h 603"/>
                      <a:gd name="T62" fmla="*/ 114 w 621"/>
                      <a:gd name="T63" fmla="*/ 76 h 603"/>
                      <a:gd name="T64" fmla="*/ 108 w 621"/>
                      <a:gd name="T65" fmla="*/ 99 h 603"/>
                      <a:gd name="T66" fmla="*/ 78 w 621"/>
                      <a:gd name="T67" fmla="*/ 88 h 603"/>
                      <a:gd name="T68" fmla="*/ 76 w 621"/>
                      <a:gd name="T69" fmla="*/ 109 h 603"/>
                      <a:gd name="T70" fmla="*/ 64 w 621"/>
                      <a:gd name="T71" fmla="*/ 133 h 603"/>
                      <a:gd name="T72" fmla="*/ 68 w 621"/>
                      <a:gd name="T73" fmla="*/ 166 h 603"/>
                      <a:gd name="T74" fmla="*/ 48 w 621"/>
                      <a:gd name="T75" fmla="*/ 192 h 603"/>
                      <a:gd name="T76" fmla="*/ 31 w 621"/>
                      <a:gd name="T77" fmla="*/ 216 h 603"/>
                      <a:gd name="T78" fmla="*/ 36 w 621"/>
                      <a:gd name="T79" fmla="*/ 244 h 603"/>
                      <a:gd name="T80" fmla="*/ 34 w 621"/>
                      <a:gd name="T81" fmla="*/ 279 h 603"/>
                      <a:gd name="T82" fmla="*/ 28 w 621"/>
                      <a:gd name="T83" fmla="*/ 302 h 603"/>
                      <a:gd name="T84" fmla="*/ 14 w 621"/>
                      <a:gd name="T85" fmla="*/ 329 h 603"/>
                      <a:gd name="T86" fmla="*/ 43 w 621"/>
                      <a:gd name="T87" fmla="*/ 345 h 603"/>
                      <a:gd name="T88" fmla="*/ 16 w 621"/>
                      <a:gd name="T89" fmla="*/ 380 h 603"/>
                      <a:gd name="T90" fmla="*/ 19 w 621"/>
                      <a:gd name="T91" fmla="*/ 410 h 603"/>
                      <a:gd name="T92" fmla="*/ 14 w 621"/>
                      <a:gd name="T93" fmla="*/ 437 h 603"/>
                      <a:gd name="T94" fmla="*/ 16 w 621"/>
                      <a:gd name="T95" fmla="*/ 468 h 603"/>
                      <a:gd name="T96" fmla="*/ 24 w 621"/>
                      <a:gd name="T97" fmla="*/ 491 h 603"/>
                      <a:gd name="T98" fmla="*/ 0 w 621"/>
                      <a:gd name="T99" fmla="*/ 508 h 603"/>
                      <a:gd name="T100" fmla="*/ 29 w 621"/>
                      <a:gd name="T101" fmla="*/ 515 h 603"/>
                      <a:gd name="T102" fmla="*/ 18 w 621"/>
                      <a:gd name="T103" fmla="*/ 546 h 603"/>
                      <a:gd name="T104" fmla="*/ 39 w 621"/>
                      <a:gd name="T105" fmla="*/ 584 h 603"/>
                      <a:gd name="T106" fmla="*/ 104 w 621"/>
                      <a:gd name="T107" fmla="*/ 603 h 603"/>
                      <a:gd name="T108" fmla="*/ 154 w 621"/>
                      <a:gd name="T109" fmla="*/ 571 h 603"/>
                      <a:gd name="T110" fmla="*/ 222 w 621"/>
                      <a:gd name="T111" fmla="*/ 556 h 603"/>
                      <a:gd name="T112" fmla="*/ 275 w 621"/>
                      <a:gd name="T113" fmla="*/ 520 h 603"/>
                      <a:gd name="T114" fmla="*/ 327 w 621"/>
                      <a:gd name="T115" fmla="*/ 485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1" h="603">
                        <a:moveTo>
                          <a:pt x="327" y="485"/>
                        </a:moveTo>
                        <a:lnTo>
                          <a:pt x="329" y="486"/>
                        </a:lnTo>
                        <a:lnTo>
                          <a:pt x="334" y="480"/>
                        </a:lnTo>
                        <a:lnTo>
                          <a:pt x="345" y="475"/>
                        </a:lnTo>
                        <a:lnTo>
                          <a:pt x="365" y="481"/>
                        </a:lnTo>
                        <a:lnTo>
                          <a:pt x="377" y="480"/>
                        </a:lnTo>
                        <a:lnTo>
                          <a:pt x="382" y="475"/>
                        </a:lnTo>
                        <a:lnTo>
                          <a:pt x="377" y="457"/>
                        </a:lnTo>
                        <a:lnTo>
                          <a:pt x="382" y="443"/>
                        </a:lnTo>
                        <a:lnTo>
                          <a:pt x="393" y="437"/>
                        </a:lnTo>
                        <a:lnTo>
                          <a:pt x="400" y="430"/>
                        </a:lnTo>
                        <a:lnTo>
                          <a:pt x="412" y="435"/>
                        </a:lnTo>
                        <a:lnTo>
                          <a:pt x="412" y="450"/>
                        </a:lnTo>
                        <a:lnTo>
                          <a:pt x="412" y="457"/>
                        </a:lnTo>
                        <a:lnTo>
                          <a:pt x="422" y="457"/>
                        </a:lnTo>
                        <a:lnTo>
                          <a:pt x="432" y="457"/>
                        </a:lnTo>
                        <a:lnTo>
                          <a:pt x="440" y="465"/>
                        </a:lnTo>
                        <a:lnTo>
                          <a:pt x="448" y="465"/>
                        </a:lnTo>
                        <a:lnTo>
                          <a:pt x="458" y="465"/>
                        </a:lnTo>
                        <a:lnTo>
                          <a:pt x="458" y="450"/>
                        </a:lnTo>
                        <a:lnTo>
                          <a:pt x="455" y="450"/>
                        </a:lnTo>
                        <a:lnTo>
                          <a:pt x="442" y="450"/>
                        </a:lnTo>
                        <a:lnTo>
                          <a:pt x="437" y="450"/>
                        </a:lnTo>
                        <a:lnTo>
                          <a:pt x="432" y="443"/>
                        </a:lnTo>
                        <a:lnTo>
                          <a:pt x="430" y="430"/>
                        </a:lnTo>
                        <a:lnTo>
                          <a:pt x="432" y="425"/>
                        </a:lnTo>
                        <a:lnTo>
                          <a:pt x="443" y="425"/>
                        </a:lnTo>
                        <a:lnTo>
                          <a:pt x="447" y="417"/>
                        </a:lnTo>
                        <a:lnTo>
                          <a:pt x="458" y="417"/>
                        </a:lnTo>
                        <a:lnTo>
                          <a:pt x="463" y="417"/>
                        </a:lnTo>
                        <a:lnTo>
                          <a:pt x="463" y="428"/>
                        </a:lnTo>
                        <a:lnTo>
                          <a:pt x="480" y="428"/>
                        </a:lnTo>
                        <a:lnTo>
                          <a:pt x="493" y="428"/>
                        </a:lnTo>
                        <a:lnTo>
                          <a:pt x="500" y="422"/>
                        </a:lnTo>
                        <a:lnTo>
                          <a:pt x="500" y="412"/>
                        </a:lnTo>
                        <a:lnTo>
                          <a:pt x="511" y="405"/>
                        </a:lnTo>
                        <a:lnTo>
                          <a:pt x="521" y="405"/>
                        </a:lnTo>
                        <a:lnTo>
                          <a:pt x="536" y="405"/>
                        </a:lnTo>
                        <a:lnTo>
                          <a:pt x="543" y="397"/>
                        </a:lnTo>
                        <a:lnTo>
                          <a:pt x="543" y="388"/>
                        </a:lnTo>
                        <a:lnTo>
                          <a:pt x="558" y="383"/>
                        </a:lnTo>
                        <a:lnTo>
                          <a:pt x="566" y="380"/>
                        </a:lnTo>
                        <a:lnTo>
                          <a:pt x="576" y="380"/>
                        </a:lnTo>
                        <a:lnTo>
                          <a:pt x="585" y="373"/>
                        </a:lnTo>
                        <a:lnTo>
                          <a:pt x="589" y="367"/>
                        </a:lnTo>
                        <a:lnTo>
                          <a:pt x="589" y="352"/>
                        </a:lnTo>
                        <a:lnTo>
                          <a:pt x="589" y="340"/>
                        </a:lnTo>
                        <a:lnTo>
                          <a:pt x="599" y="325"/>
                        </a:lnTo>
                        <a:lnTo>
                          <a:pt x="609" y="325"/>
                        </a:lnTo>
                        <a:lnTo>
                          <a:pt x="621" y="312"/>
                        </a:lnTo>
                        <a:lnTo>
                          <a:pt x="621" y="302"/>
                        </a:lnTo>
                        <a:lnTo>
                          <a:pt x="609" y="289"/>
                        </a:lnTo>
                        <a:lnTo>
                          <a:pt x="606" y="290"/>
                        </a:lnTo>
                        <a:lnTo>
                          <a:pt x="586" y="299"/>
                        </a:lnTo>
                        <a:lnTo>
                          <a:pt x="566" y="302"/>
                        </a:lnTo>
                        <a:lnTo>
                          <a:pt x="551" y="305"/>
                        </a:lnTo>
                        <a:lnTo>
                          <a:pt x="536" y="300"/>
                        </a:lnTo>
                        <a:lnTo>
                          <a:pt x="528" y="299"/>
                        </a:lnTo>
                        <a:lnTo>
                          <a:pt x="523" y="305"/>
                        </a:lnTo>
                        <a:lnTo>
                          <a:pt x="513" y="310"/>
                        </a:lnTo>
                        <a:lnTo>
                          <a:pt x="508" y="302"/>
                        </a:lnTo>
                        <a:lnTo>
                          <a:pt x="510" y="287"/>
                        </a:lnTo>
                        <a:lnTo>
                          <a:pt x="506" y="279"/>
                        </a:lnTo>
                        <a:lnTo>
                          <a:pt x="503" y="267"/>
                        </a:lnTo>
                        <a:lnTo>
                          <a:pt x="508" y="257"/>
                        </a:lnTo>
                        <a:lnTo>
                          <a:pt x="501" y="256"/>
                        </a:lnTo>
                        <a:lnTo>
                          <a:pt x="491" y="257"/>
                        </a:lnTo>
                        <a:lnTo>
                          <a:pt x="488" y="254"/>
                        </a:lnTo>
                        <a:lnTo>
                          <a:pt x="491" y="249"/>
                        </a:lnTo>
                        <a:lnTo>
                          <a:pt x="491" y="242"/>
                        </a:lnTo>
                        <a:lnTo>
                          <a:pt x="485" y="242"/>
                        </a:lnTo>
                        <a:lnTo>
                          <a:pt x="480" y="256"/>
                        </a:lnTo>
                        <a:lnTo>
                          <a:pt x="475" y="254"/>
                        </a:lnTo>
                        <a:lnTo>
                          <a:pt x="480" y="239"/>
                        </a:lnTo>
                        <a:lnTo>
                          <a:pt x="473" y="234"/>
                        </a:lnTo>
                        <a:lnTo>
                          <a:pt x="471" y="219"/>
                        </a:lnTo>
                        <a:lnTo>
                          <a:pt x="452" y="199"/>
                        </a:lnTo>
                        <a:lnTo>
                          <a:pt x="437" y="187"/>
                        </a:lnTo>
                        <a:lnTo>
                          <a:pt x="430" y="192"/>
                        </a:lnTo>
                        <a:lnTo>
                          <a:pt x="413" y="189"/>
                        </a:lnTo>
                        <a:lnTo>
                          <a:pt x="412" y="177"/>
                        </a:lnTo>
                        <a:lnTo>
                          <a:pt x="403" y="174"/>
                        </a:lnTo>
                        <a:lnTo>
                          <a:pt x="388" y="177"/>
                        </a:lnTo>
                        <a:lnTo>
                          <a:pt x="358" y="167"/>
                        </a:lnTo>
                        <a:lnTo>
                          <a:pt x="363" y="159"/>
                        </a:lnTo>
                        <a:lnTo>
                          <a:pt x="362" y="134"/>
                        </a:lnTo>
                        <a:lnTo>
                          <a:pt x="354" y="129"/>
                        </a:lnTo>
                        <a:lnTo>
                          <a:pt x="352" y="118"/>
                        </a:lnTo>
                        <a:lnTo>
                          <a:pt x="362" y="111"/>
                        </a:lnTo>
                        <a:lnTo>
                          <a:pt x="362" y="103"/>
                        </a:lnTo>
                        <a:lnTo>
                          <a:pt x="367" y="91"/>
                        </a:lnTo>
                        <a:lnTo>
                          <a:pt x="363" y="66"/>
                        </a:lnTo>
                        <a:lnTo>
                          <a:pt x="347" y="58"/>
                        </a:lnTo>
                        <a:lnTo>
                          <a:pt x="345" y="53"/>
                        </a:lnTo>
                        <a:lnTo>
                          <a:pt x="327" y="48"/>
                        </a:lnTo>
                        <a:lnTo>
                          <a:pt x="319" y="54"/>
                        </a:lnTo>
                        <a:lnTo>
                          <a:pt x="314" y="61"/>
                        </a:lnTo>
                        <a:lnTo>
                          <a:pt x="309" y="58"/>
                        </a:lnTo>
                        <a:lnTo>
                          <a:pt x="297" y="63"/>
                        </a:lnTo>
                        <a:lnTo>
                          <a:pt x="284" y="54"/>
                        </a:lnTo>
                        <a:lnTo>
                          <a:pt x="274" y="54"/>
                        </a:lnTo>
                        <a:lnTo>
                          <a:pt x="265" y="48"/>
                        </a:lnTo>
                        <a:lnTo>
                          <a:pt x="264" y="58"/>
                        </a:lnTo>
                        <a:lnTo>
                          <a:pt x="264" y="68"/>
                        </a:lnTo>
                        <a:lnTo>
                          <a:pt x="254" y="68"/>
                        </a:lnTo>
                        <a:lnTo>
                          <a:pt x="247" y="63"/>
                        </a:lnTo>
                        <a:lnTo>
                          <a:pt x="231" y="56"/>
                        </a:lnTo>
                        <a:lnTo>
                          <a:pt x="222" y="54"/>
                        </a:lnTo>
                        <a:lnTo>
                          <a:pt x="216" y="43"/>
                        </a:lnTo>
                        <a:lnTo>
                          <a:pt x="207" y="38"/>
                        </a:lnTo>
                        <a:lnTo>
                          <a:pt x="202" y="23"/>
                        </a:lnTo>
                        <a:lnTo>
                          <a:pt x="186" y="21"/>
                        </a:lnTo>
                        <a:lnTo>
                          <a:pt x="174" y="18"/>
                        </a:lnTo>
                        <a:lnTo>
                          <a:pt x="156" y="20"/>
                        </a:lnTo>
                        <a:lnTo>
                          <a:pt x="151" y="8"/>
                        </a:lnTo>
                        <a:lnTo>
                          <a:pt x="141" y="0"/>
                        </a:lnTo>
                        <a:lnTo>
                          <a:pt x="136" y="5"/>
                        </a:lnTo>
                        <a:lnTo>
                          <a:pt x="137" y="15"/>
                        </a:lnTo>
                        <a:lnTo>
                          <a:pt x="147" y="30"/>
                        </a:lnTo>
                        <a:lnTo>
                          <a:pt x="136" y="31"/>
                        </a:lnTo>
                        <a:lnTo>
                          <a:pt x="134" y="38"/>
                        </a:lnTo>
                        <a:lnTo>
                          <a:pt x="139" y="48"/>
                        </a:lnTo>
                        <a:lnTo>
                          <a:pt x="136" y="58"/>
                        </a:lnTo>
                        <a:lnTo>
                          <a:pt x="137" y="64"/>
                        </a:lnTo>
                        <a:lnTo>
                          <a:pt x="132" y="73"/>
                        </a:lnTo>
                        <a:lnTo>
                          <a:pt x="124" y="74"/>
                        </a:lnTo>
                        <a:lnTo>
                          <a:pt x="118" y="71"/>
                        </a:lnTo>
                        <a:lnTo>
                          <a:pt x="114" y="76"/>
                        </a:lnTo>
                        <a:lnTo>
                          <a:pt x="116" y="84"/>
                        </a:lnTo>
                        <a:lnTo>
                          <a:pt x="121" y="94"/>
                        </a:lnTo>
                        <a:lnTo>
                          <a:pt x="121" y="99"/>
                        </a:lnTo>
                        <a:lnTo>
                          <a:pt x="108" y="99"/>
                        </a:lnTo>
                        <a:lnTo>
                          <a:pt x="96" y="91"/>
                        </a:lnTo>
                        <a:lnTo>
                          <a:pt x="96" y="86"/>
                        </a:lnTo>
                        <a:lnTo>
                          <a:pt x="83" y="86"/>
                        </a:lnTo>
                        <a:lnTo>
                          <a:pt x="78" y="88"/>
                        </a:lnTo>
                        <a:lnTo>
                          <a:pt x="76" y="93"/>
                        </a:lnTo>
                        <a:lnTo>
                          <a:pt x="83" y="98"/>
                        </a:lnTo>
                        <a:lnTo>
                          <a:pt x="73" y="101"/>
                        </a:lnTo>
                        <a:lnTo>
                          <a:pt x="76" y="109"/>
                        </a:lnTo>
                        <a:lnTo>
                          <a:pt x="74" y="114"/>
                        </a:lnTo>
                        <a:lnTo>
                          <a:pt x="68" y="121"/>
                        </a:lnTo>
                        <a:lnTo>
                          <a:pt x="63" y="121"/>
                        </a:lnTo>
                        <a:lnTo>
                          <a:pt x="64" y="133"/>
                        </a:lnTo>
                        <a:lnTo>
                          <a:pt x="73" y="138"/>
                        </a:lnTo>
                        <a:lnTo>
                          <a:pt x="74" y="151"/>
                        </a:lnTo>
                        <a:lnTo>
                          <a:pt x="78" y="157"/>
                        </a:lnTo>
                        <a:lnTo>
                          <a:pt x="68" y="166"/>
                        </a:lnTo>
                        <a:lnTo>
                          <a:pt x="63" y="181"/>
                        </a:lnTo>
                        <a:lnTo>
                          <a:pt x="64" y="192"/>
                        </a:lnTo>
                        <a:lnTo>
                          <a:pt x="56" y="196"/>
                        </a:lnTo>
                        <a:lnTo>
                          <a:pt x="48" y="192"/>
                        </a:lnTo>
                        <a:lnTo>
                          <a:pt x="43" y="192"/>
                        </a:lnTo>
                        <a:lnTo>
                          <a:pt x="34" y="196"/>
                        </a:lnTo>
                        <a:lnTo>
                          <a:pt x="38" y="204"/>
                        </a:lnTo>
                        <a:lnTo>
                          <a:pt x="31" y="216"/>
                        </a:lnTo>
                        <a:lnTo>
                          <a:pt x="28" y="222"/>
                        </a:lnTo>
                        <a:lnTo>
                          <a:pt x="34" y="231"/>
                        </a:lnTo>
                        <a:lnTo>
                          <a:pt x="38" y="236"/>
                        </a:lnTo>
                        <a:lnTo>
                          <a:pt x="36" y="244"/>
                        </a:lnTo>
                        <a:lnTo>
                          <a:pt x="39" y="259"/>
                        </a:lnTo>
                        <a:lnTo>
                          <a:pt x="33" y="265"/>
                        </a:lnTo>
                        <a:lnTo>
                          <a:pt x="28" y="274"/>
                        </a:lnTo>
                        <a:lnTo>
                          <a:pt x="34" y="279"/>
                        </a:lnTo>
                        <a:lnTo>
                          <a:pt x="43" y="275"/>
                        </a:lnTo>
                        <a:lnTo>
                          <a:pt x="48" y="282"/>
                        </a:lnTo>
                        <a:lnTo>
                          <a:pt x="38" y="295"/>
                        </a:lnTo>
                        <a:lnTo>
                          <a:pt x="28" y="302"/>
                        </a:lnTo>
                        <a:lnTo>
                          <a:pt x="24" y="307"/>
                        </a:lnTo>
                        <a:lnTo>
                          <a:pt x="31" y="317"/>
                        </a:lnTo>
                        <a:lnTo>
                          <a:pt x="19" y="320"/>
                        </a:lnTo>
                        <a:lnTo>
                          <a:pt x="14" y="329"/>
                        </a:lnTo>
                        <a:lnTo>
                          <a:pt x="18" y="339"/>
                        </a:lnTo>
                        <a:lnTo>
                          <a:pt x="23" y="342"/>
                        </a:lnTo>
                        <a:lnTo>
                          <a:pt x="38" y="340"/>
                        </a:lnTo>
                        <a:lnTo>
                          <a:pt x="43" y="345"/>
                        </a:lnTo>
                        <a:lnTo>
                          <a:pt x="49" y="349"/>
                        </a:lnTo>
                        <a:lnTo>
                          <a:pt x="36" y="355"/>
                        </a:lnTo>
                        <a:lnTo>
                          <a:pt x="21" y="367"/>
                        </a:lnTo>
                        <a:lnTo>
                          <a:pt x="16" y="380"/>
                        </a:lnTo>
                        <a:lnTo>
                          <a:pt x="5" y="388"/>
                        </a:lnTo>
                        <a:lnTo>
                          <a:pt x="3" y="400"/>
                        </a:lnTo>
                        <a:lnTo>
                          <a:pt x="16" y="403"/>
                        </a:lnTo>
                        <a:lnTo>
                          <a:pt x="19" y="410"/>
                        </a:lnTo>
                        <a:lnTo>
                          <a:pt x="14" y="415"/>
                        </a:lnTo>
                        <a:lnTo>
                          <a:pt x="18" y="420"/>
                        </a:lnTo>
                        <a:lnTo>
                          <a:pt x="16" y="427"/>
                        </a:lnTo>
                        <a:lnTo>
                          <a:pt x="14" y="437"/>
                        </a:lnTo>
                        <a:lnTo>
                          <a:pt x="18" y="450"/>
                        </a:lnTo>
                        <a:lnTo>
                          <a:pt x="11" y="458"/>
                        </a:lnTo>
                        <a:lnTo>
                          <a:pt x="18" y="463"/>
                        </a:lnTo>
                        <a:lnTo>
                          <a:pt x="16" y="468"/>
                        </a:lnTo>
                        <a:lnTo>
                          <a:pt x="10" y="470"/>
                        </a:lnTo>
                        <a:lnTo>
                          <a:pt x="16" y="473"/>
                        </a:lnTo>
                        <a:lnTo>
                          <a:pt x="23" y="485"/>
                        </a:lnTo>
                        <a:lnTo>
                          <a:pt x="24" y="491"/>
                        </a:lnTo>
                        <a:lnTo>
                          <a:pt x="11" y="498"/>
                        </a:lnTo>
                        <a:lnTo>
                          <a:pt x="10" y="503"/>
                        </a:lnTo>
                        <a:lnTo>
                          <a:pt x="13" y="506"/>
                        </a:lnTo>
                        <a:lnTo>
                          <a:pt x="0" y="508"/>
                        </a:lnTo>
                        <a:lnTo>
                          <a:pt x="0" y="516"/>
                        </a:lnTo>
                        <a:lnTo>
                          <a:pt x="10" y="516"/>
                        </a:lnTo>
                        <a:lnTo>
                          <a:pt x="18" y="513"/>
                        </a:lnTo>
                        <a:lnTo>
                          <a:pt x="29" y="515"/>
                        </a:lnTo>
                        <a:lnTo>
                          <a:pt x="34" y="523"/>
                        </a:lnTo>
                        <a:lnTo>
                          <a:pt x="24" y="528"/>
                        </a:lnTo>
                        <a:lnTo>
                          <a:pt x="18" y="538"/>
                        </a:lnTo>
                        <a:lnTo>
                          <a:pt x="18" y="546"/>
                        </a:lnTo>
                        <a:lnTo>
                          <a:pt x="19" y="556"/>
                        </a:lnTo>
                        <a:lnTo>
                          <a:pt x="16" y="566"/>
                        </a:lnTo>
                        <a:lnTo>
                          <a:pt x="19" y="573"/>
                        </a:lnTo>
                        <a:lnTo>
                          <a:pt x="39" y="584"/>
                        </a:lnTo>
                        <a:lnTo>
                          <a:pt x="54" y="603"/>
                        </a:lnTo>
                        <a:lnTo>
                          <a:pt x="64" y="598"/>
                        </a:lnTo>
                        <a:lnTo>
                          <a:pt x="84" y="598"/>
                        </a:lnTo>
                        <a:lnTo>
                          <a:pt x="104" y="603"/>
                        </a:lnTo>
                        <a:lnTo>
                          <a:pt x="118" y="603"/>
                        </a:lnTo>
                        <a:lnTo>
                          <a:pt x="134" y="591"/>
                        </a:lnTo>
                        <a:lnTo>
                          <a:pt x="134" y="578"/>
                        </a:lnTo>
                        <a:lnTo>
                          <a:pt x="154" y="571"/>
                        </a:lnTo>
                        <a:lnTo>
                          <a:pt x="194" y="571"/>
                        </a:lnTo>
                        <a:lnTo>
                          <a:pt x="204" y="581"/>
                        </a:lnTo>
                        <a:lnTo>
                          <a:pt x="217" y="571"/>
                        </a:lnTo>
                        <a:lnTo>
                          <a:pt x="222" y="556"/>
                        </a:lnTo>
                        <a:lnTo>
                          <a:pt x="245" y="548"/>
                        </a:lnTo>
                        <a:lnTo>
                          <a:pt x="269" y="548"/>
                        </a:lnTo>
                        <a:lnTo>
                          <a:pt x="270" y="530"/>
                        </a:lnTo>
                        <a:lnTo>
                          <a:pt x="275" y="520"/>
                        </a:lnTo>
                        <a:lnTo>
                          <a:pt x="275" y="505"/>
                        </a:lnTo>
                        <a:lnTo>
                          <a:pt x="285" y="496"/>
                        </a:lnTo>
                        <a:lnTo>
                          <a:pt x="312" y="491"/>
                        </a:lnTo>
                        <a:lnTo>
                          <a:pt x="327" y="485"/>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37" name="Freeform 1153">
                    <a:extLst>
                      <a:ext uri="{FF2B5EF4-FFF2-40B4-BE49-F238E27FC236}">
                        <a16:creationId xmlns:a16="http://schemas.microsoft.com/office/drawing/2014/main" id="{33839F37-5EA6-4285-8F40-4B77C3317C34}"/>
                      </a:ext>
                    </a:extLst>
                  </p:cNvPr>
                  <p:cNvSpPr>
                    <a:spLocks/>
                  </p:cNvSpPr>
                  <p:nvPr/>
                </p:nvSpPr>
                <p:spPr bwMode="auto">
                  <a:xfrm>
                    <a:off x="3590411" y="4426719"/>
                    <a:ext cx="1398785" cy="1207136"/>
                  </a:xfrm>
                  <a:custGeom>
                    <a:avLst/>
                    <a:gdLst>
                      <a:gd name="T0" fmla="*/ 1062 w 1124"/>
                      <a:gd name="T1" fmla="*/ 38 h 970"/>
                      <a:gd name="T2" fmla="*/ 1021 w 1124"/>
                      <a:gd name="T3" fmla="*/ 74 h 970"/>
                      <a:gd name="T4" fmla="*/ 974 w 1124"/>
                      <a:gd name="T5" fmla="*/ 53 h 970"/>
                      <a:gd name="T6" fmla="*/ 918 w 1124"/>
                      <a:gd name="T7" fmla="*/ 38 h 970"/>
                      <a:gd name="T8" fmla="*/ 900 w 1124"/>
                      <a:gd name="T9" fmla="*/ 74 h 970"/>
                      <a:gd name="T10" fmla="*/ 848 w 1124"/>
                      <a:gd name="T11" fmla="*/ 124 h 970"/>
                      <a:gd name="T12" fmla="*/ 785 w 1124"/>
                      <a:gd name="T13" fmla="*/ 111 h 970"/>
                      <a:gd name="T14" fmla="*/ 778 w 1124"/>
                      <a:gd name="T15" fmla="*/ 172 h 970"/>
                      <a:gd name="T16" fmla="*/ 725 w 1124"/>
                      <a:gd name="T17" fmla="*/ 187 h 970"/>
                      <a:gd name="T18" fmla="*/ 678 w 1124"/>
                      <a:gd name="T19" fmla="*/ 252 h 970"/>
                      <a:gd name="T20" fmla="*/ 632 w 1124"/>
                      <a:gd name="T21" fmla="*/ 309 h 970"/>
                      <a:gd name="T22" fmla="*/ 552 w 1124"/>
                      <a:gd name="T23" fmla="*/ 340 h 970"/>
                      <a:gd name="T24" fmla="*/ 526 w 1124"/>
                      <a:gd name="T25" fmla="*/ 362 h 970"/>
                      <a:gd name="T26" fmla="*/ 511 w 1124"/>
                      <a:gd name="T27" fmla="*/ 369 h 970"/>
                      <a:gd name="T28" fmla="*/ 471 w 1124"/>
                      <a:gd name="T29" fmla="*/ 387 h 970"/>
                      <a:gd name="T30" fmla="*/ 374 w 1124"/>
                      <a:gd name="T31" fmla="*/ 408 h 970"/>
                      <a:gd name="T32" fmla="*/ 293 w 1124"/>
                      <a:gd name="T33" fmla="*/ 493 h 970"/>
                      <a:gd name="T34" fmla="*/ 153 w 1124"/>
                      <a:gd name="T35" fmla="*/ 510 h 970"/>
                      <a:gd name="T36" fmla="*/ 42 w 1124"/>
                      <a:gd name="T37" fmla="*/ 500 h 970"/>
                      <a:gd name="T38" fmla="*/ 35 w 1124"/>
                      <a:gd name="T39" fmla="*/ 556 h 970"/>
                      <a:gd name="T40" fmla="*/ 40 w 1124"/>
                      <a:gd name="T41" fmla="*/ 614 h 970"/>
                      <a:gd name="T42" fmla="*/ 5 w 1124"/>
                      <a:gd name="T43" fmla="*/ 626 h 970"/>
                      <a:gd name="T44" fmla="*/ 2 w 1124"/>
                      <a:gd name="T45" fmla="*/ 684 h 970"/>
                      <a:gd name="T46" fmla="*/ 19 w 1124"/>
                      <a:gd name="T47" fmla="*/ 721 h 970"/>
                      <a:gd name="T48" fmla="*/ 54 w 1124"/>
                      <a:gd name="T49" fmla="*/ 716 h 970"/>
                      <a:gd name="T50" fmla="*/ 85 w 1124"/>
                      <a:gd name="T51" fmla="*/ 726 h 970"/>
                      <a:gd name="T52" fmla="*/ 87 w 1124"/>
                      <a:gd name="T53" fmla="*/ 754 h 970"/>
                      <a:gd name="T54" fmla="*/ 22 w 1124"/>
                      <a:gd name="T55" fmla="*/ 741 h 970"/>
                      <a:gd name="T56" fmla="*/ 27 w 1124"/>
                      <a:gd name="T57" fmla="*/ 804 h 970"/>
                      <a:gd name="T58" fmla="*/ 60 w 1124"/>
                      <a:gd name="T59" fmla="*/ 787 h 970"/>
                      <a:gd name="T60" fmla="*/ 92 w 1124"/>
                      <a:gd name="T61" fmla="*/ 781 h 970"/>
                      <a:gd name="T62" fmla="*/ 103 w 1124"/>
                      <a:gd name="T63" fmla="*/ 804 h 970"/>
                      <a:gd name="T64" fmla="*/ 157 w 1124"/>
                      <a:gd name="T65" fmla="*/ 782 h 970"/>
                      <a:gd name="T66" fmla="*/ 187 w 1124"/>
                      <a:gd name="T67" fmla="*/ 807 h 970"/>
                      <a:gd name="T68" fmla="*/ 228 w 1124"/>
                      <a:gd name="T69" fmla="*/ 837 h 970"/>
                      <a:gd name="T70" fmla="*/ 251 w 1124"/>
                      <a:gd name="T71" fmla="*/ 887 h 970"/>
                      <a:gd name="T72" fmla="*/ 221 w 1124"/>
                      <a:gd name="T73" fmla="*/ 922 h 970"/>
                      <a:gd name="T74" fmla="*/ 240 w 1124"/>
                      <a:gd name="T75" fmla="*/ 953 h 970"/>
                      <a:gd name="T76" fmla="*/ 305 w 1124"/>
                      <a:gd name="T77" fmla="*/ 910 h 970"/>
                      <a:gd name="T78" fmla="*/ 348 w 1124"/>
                      <a:gd name="T79" fmla="*/ 892 h 970"/>
                      <a:gd name="T80" fmla="*/ 373 w 1124"/>
                      <a:gd name="T81" fmla="*/ 872 h 970"/>
                      <a:gd name="T82" fmla="*/ 416 w 1124"/>
                      <a:gd name="T83" fmla="*/ 879 h 970"/>
                      <a:gd name="T84" fmla="*/ 452 w 1124"/>
                      <a:gd name="T85" fmla="*/ 855 h 970"/>
                      <a:gd name="T86" fmla="*/ 491 w 1124"/>
                      <a:gd name="T87" fmla="*/ 830 h 970"/>
                      <a:gd name="T88" fmla="*/ 491 w 1124"/>
                      <a:gd name="T89" fmla="*/ 786 h 970"/>
                      <a:gd name="T90" fmla="*/ 479 w 1124"/>
                      <a:gd name="T91" fmla="*/ 726 h 970"/>
                      <a:gd name="T92" fmla="*/ 466 w 1124"/>
                      <a:gd name="T93" fmla="*/ 634 h 970"/>
                      <a:gd name="T94" fmla="*/ 486 w 1124"/>
                      <a:gd name="T95" fmla="*/ 553 h 970"/>
                      <a:gd name="T96" fmla="*/ 557 w 1124"/>
                      <a:gd name="T97" fmla="*/ 495 h 970"/>
                      <a:gd name="T98" fmla="*/ 600 w 1124"/>
                      <a:gd name="T99" fmla="*/ 500 h 970"/>
                      <a:gd name="T100" fmla="*/ 644 w 1124"/>
                      <a:gd name="T101" fmla="*/ 427 h 970"/>
                      <a:gd name="T102" fmla="*/ 772 w 1124"/>
                      <a:gd name="T103" fmla="*/ 397 h 970"/>
                      <a:gd name="T104" fmla="*/ 785 w 1124"/>
                      <a:gd name="T105" fmla="*/ 335 h 970"/>
                      <a:gd name="T106" fmla="*/ 830 w 1124"/>
                      <a:gd name="T107" fmla="*/ 282 h 970"/>
                      <a:gd name="T108" fmla="*/ 1019 w 1124"/>
                      <a:gd name="T109" fmla="*/ 141 h 970"/>
                      <a:gd name="T110" fmla="*/ 1114 w 1124"/>
                      <a:gd name="T111" fmla="*/ 21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4" h="970">
                        <a:moveTo>
                          <a:pt x="1109" y="11"/>
                        </a:moveTo>
                        <a:lnTo>
                          <a:pt x="1094" y="15"/>
                        </a:lnTo>
                        <a:lnTo>
                          <a:pt x="1089" y="16"/>
                        </a:lnTo>
                        <a:lnTo>
                          <a:pt x="1094" y="21"/>
                        </a:lnTo>
                        <a:lnTo>
                          <a:pt x="1091" y="26"/>
                        </a:lnTo>
                        <a:lnTo>
                          <a:pt x="1079" y="28"/>
                        </a:lnTo>
                        <a:lnTo>
                          <a:pt x="1069" y="33"/>
                        </a:lnTo>
                        <a:lnTo>
                          <a:pt x="1062" y="38"/>
                        </a:lnTo>
                        <a:lnTo>
                          <a:pt x="1066" y="50"/>
                        </a:lnTo>
                        <a:lnTo>
                          <a:pt x="1054" y="51"/>
                        </a:lnTo>
                        <a:lnTo>
                          <a:pt x="1049" y="60"/>
                        </a:lnTo>
                        <a:lnTo>
                          <a:pt x="1052" y="61"/>
                        </a:lnTo>
                        <a:lnTo>
                          <a:pt x="1051" y="64"/>
                        </a:lnTo>
                        <a:lnTo>
                          <a:pt x="1046" y="69"/>
                        </a:lnTo>
                        <a:lnTo>
                          <a:pt x="1029" y="71"/>
                        </a:lnTo>
                        <a:lnTo>
                          <a:pt x="1021" y="74"/>
                        </a:lnTo>
                        <a:lnTo>
                          <a:pt x="1011" y="66"/>
                        </a:lnTo>
                        <a:lnTo>
                          <a:pt x="1001" y="63"/>
                        </a:lnTo>
                        <a:lnTo>
                          <a:pt x="993" y="64"/>
                        </a:lnTo>
                        <a:lnTo>
                          <a:pt x="983" y="51"/>
                        </a:lnTo>
                        <a:lnTo>
                          <a:pt x="976" y="35"/>
                        </a:lnTo>
                        <a:lnTo>
                          <a:pt x="971" y="40"/>
                        </a:lnTo>
                        <a:lnTo>
                          <a:pt x="976" y="48"/>
                        </a:lnTo>
                        <a:lnTo>
                          <a:pt x="974" y="53"/>
                        </a:lnTo>
                        <a:lnTo>
                          <a:pt x="969" y="43"/>
                        </a:lnTo>
                        <a:lnTo>
                          <a:pt x="961" y="33"/>
                        </a:lnTo>
                        <a:lnTo>
                          <a:pt x="954" y="15"/>
                        </a:lnTo>
                        <a:lnTo>
                          <a:pt x="948" y="26"/>
                        </a:lnTo>
                        <a:lnTo>
                          <a:pt x="941" y="33"/>
                        </a:lnTo>
                        <a:lnTo>
                          <a:pt x="933" y="33"/>
                        </a:lnTo>
                        <a:lnTo>
                          <a:pt x="933" y="43"/>
                        </a:lnTo>
                        <a:lnTo>
                          <a:pt x="918" y="38"/>
                        </a:lnTo>
                        <a:lnTo>
                          <a:pt x="911" y="43"/>
                        </a:lnTo>
                        <a:lnTo>
                          <a:pt x="913" y="51"/>
                        </a:lnTo>
                        <a:lnTo>
                          <a:pt x="919" y="48"/>
                        </a:lnTo>
                        <a:lnTo>
                          <a:pt x="921" y="53"/>
                        </a:lnTo>
                        <a:lnTo>
                          <a:pt x="926" y="61"/>
                        </a:lnTo>
                        <a:lnTo>
                          <a:pt x="914" y="66"/>
                        </a:lnTo>
                        <a:lnTo>
                          <a:pt x="903" y="78"/>
                        </a:lnTo>
                        <a:lnTo>
                          <a:pt x="900" y="74"/>
                        </a:lnTo>
                        <a:lnTo>
                          <a:pt x="890" y="74"/>
                        </a:lnTo>
                        <a:lnTo>
                          <a:pt x="866" y="101"/>
                        </a:lnTo>
                        <a:lnTo>
                          <a:pt x="876" y="99"/>
                        </a:lnTo>
                        <a:lnTo>
                          <a:pt x="880" y="114"/>
                        </a:lnTo>
                        <a:lnTo>
                          <a:pt x="873" y="121"/>
                        </a:lnTo>
                        <a:lnTo>
                          <a:pt x="881" y="131"/>
                        </a:lnTo>
                        <a:lnTo>
                          <a:pt x="861" y="134"/>
                        </a:lnTo>
                        <a:lnTo>
                          <a:pt x="848" y="124"/>
                        </a:lnTo>
                        <a:lnTo>
                          <a:pt x="841" y="124"/>
                        </a:lnTo>
                        <a:lnTo>
                          <a:pt x="845" y="134"/>
                        </a:lnTo>
                        <a:lnTo>
                          <a:pt x="818" y="151"/>
                        </a:lnTo>
                        <a:lnTo>
                          <a:pt x="811" y="134"/>
                        </a:lnTo>
                        <a:lnTo>
                          <a:pt x="806" y="126"/>
                        </a:lnTo>
                        <a:lnTo>
                          <a:pt x="803" y="108"/>
                        </a:lnTo>
                        <a:lnTo>
                          <a:pt x="795" y="108"/>
                        </a:lnTo>
                        <a:lnTo>
                          <a:pt x="785" y="111"/>
                        </a:lnTo>
                        <a:lnTo>
                          <a:pt x="777" y="119"/>
                        </a:lnTo>
                        <a:lnTo>
                          <a:pt x="777" y="129"/>
                        </a:lnTo>
                        <a:lnTo>
                          <a:pt x="780" y="139"/>
                        </a:lnTo>
                        <a:lnTo>
                          <a:pt x="787" y="146"/>
                        </a:lnTo>
                        <a:lnTo>
                          <a:pt x="780" y="148"/>
                        </a:lnTo>
                        <a:lnTo>
                          <a:pt x="778" y="158"/>
                        </a:lnTo>
                        <a:lnTo>
                          <a:pt x="782" y="166"/>
                        </a:lnTo>
                        <a:lnTo>
                          <a:pt x="778" y="172"/>
                        </a:lnTo>
                        <a:lnTo>
                          <a:pt x="778" y="182"/>
                        </a:lnTo>
                        <a:lnTo>
                          <a:pt x="772" y="177"/>
                        </a:lnTo>
                        <a:lnTo>
                          <a:pt x="768" y="186"/>
                        </a:lnTo>
                        <a:lnTo>
                          <a:pt x="762" y="187"/>
                        </a:lnTo>
                        <a:lnTo>
                          <a:pt x="753" y="179"/>
                        </a:lnTo>
                        <a:lnTo>
                          <a:pt x="740" y="181"/>
                        </a:lnTo>
                        <a:lnTo>
                          <a:pt x="728" y="192"/>
                        </a:lnTo>
                        <a:lnTo>
                          <a:pt x="725" y="187"/>
                        </a:lnTo>
                        <a:lnTo>
                          <a:pt x="717" y="196"/>
                        </a:lnTo>
                        <a:lnTo>
                          <a:pt x="707" y="196"/>
                        </a:lnTo>
                        <a:lnTo>
                          <a:pt x="698" y="201"/>
                        </a:lnTo>
                        <a:lnTo>
                          <a:pt x="710" y="214"/>
                        </a:lnTo>
                        <a:lnTo>
                          <a:pt x="710" y="224"/>
                        </a:lnTo>
                        <a:lnTo>
                          <a:pt x="698" y="237"/>
                        </a:lnTo>
                        <a:lnTo>
                          <a:pt x="688" y="237"/>
                        </a:lnTo>
                        <a:lnTo>
                          <a:pt x="678" y="252"/>
                        </a:lnTo>
                        <a:lnTo>
                          <a:pt x="678" y="264"/>
                        </a:lnTo>
                        <a:lnTo>
                          <a:pt x="678" y="279"/>
                        </a:lnTo>
                        <a:lnTo>
                          <a:pt x="674" y="285"/>
                        </a:lnTo>
                        <a:lnTo>
                          <a:pt x="665" y="292"/>
                        </a:lnTo>
                        <a:lnTo>
                          <a:pt x="655" y="292"/>
                        </a:lnTo>
                        <a:lnTo>
                          <a:pt x="647" y="295"/>
                        </a:lnTo>
                        <a:lnTo>
                          <a:pt x="632" y="300"/>
                        </a:lnTo>
                        <a:lnTo>
                          <a:pt x="632" y="309"/>
                        </a:lnTo>
                        <a:lnTo>
                          <a:pt x="625" y="317"/>
                        </a:lnTo>
                        <a:lnTo>
                          <a:pt x="610" y="317"/>
                        </a:lnTo>
                        <a:lnTo>
                          <a:pt x="600" y="317"/>
                        </a:lnTo>
                        <a:lnTo>
                          <a:pt x="589" y="324"/>
                        </a:lnTo>
                        <a:lnTo>
                          <a:pt x="589" y="334"/>
                        </a:lnTo>
                        <a:lnTo>
                          <a:pt x="582" y="340"/>
                        </a:lnTo>
                        <a:lnTo>
                          <a:pt x="569" y="340"/>
                        </a:lnTo>
                        <a:lnTo>
                          <a:pt x="552" y="340"/>
                        </a:lnTo>
                        <a:lnTo>
                          <a:pt x="552" y="329"/>
                        </a:lnTo>
                        <a:lnTo>
                          <a:pt x="547" y="329"/>
                        </a:lnTo>
                        <a:lnTo>
                          <a:pt x="536" y="329"/>
                        </a:lnTo>
                        <a:lnTo>
                          <a:pt x="532" y="337"/>
                        </a:lnTo>
                        <a:lnTo>
                          <a:pt x="521" y="337"/>
                        </a:lnTo>
                        <a:lnTo>
                          <a:pt x="519" y="342"/>
                        </a:lnTo>
                        <a:lnTo>
                          <a:pt x="521" y="355"/>
                        </a:lnTo>
                        <a:lnTo>
                          <a:pt x="526" y="362"/>
                        </a:lnTo>
                        <a:lnTo>
                          <a:pt x="531" y="362"/>
                        </a:lnTo>
                        <a:lnTo>
                          <a:pt x="544" y="362"/>
                        </a:lnTo>
                        <a:lnTo>
                          <a:pt x="547" y="362"/>
                        </a:lnTo>
                        <a:lnTo>
                          <a:pt x="547" y="377"/>
                        </a:lnTo>
                        <a:lnTo>
                          <a:pt x="537" y="377"/>
                        </a:lnTo>
                        <a:lnTo>
                          <a:pt x="529" y="377"/>
                        </a:lnTo>
                        <a:lnTo>
                          <a:pt x="521" y="369"/>
                        </a:lnTo>
                        <a:lnTo>
                          <a:pt x="511" y="369"/>
                        </a:lnTo>
                        <a:lnTo>
                          <a:pt x="501" y="369"/>
                        </a:lnTo>
                        <a:lnTo>
                          <a:pt x="501" y="362"/>
                        </a:lnTo>
                        <a:lnTo>
                          <a:pt x="501" y="347"/>
                        </a:lnTo>
                        <a:lnTo>
                          <a:pt x="489" y="342"/>
                        </a:lnTo>
                        <a:lnTo>
                          <a:pt x="482" y="349"/>
                        </a:lnTo>
                        <a:lnTo>
                          <a:pt x="471" y="355"/>
                        </a:lnTo>
                        <a:lnTo>
                          <a:pt x="466" y="369"/>
                        </a:lnTo>
                        <a:lnTo>
                          <a:pt x="471" y="387"/>
                        </a:lnTo>
                        <a:lnTo>
                          <a:pt x="466" y="392"/>
                        </a:lnTo>
                        <a:lnTo>
                          <a:pt x="454" y="393"/>
                        </a:lnTo>
                        <a:lnTo>
                          <a:pt x="434" y="387"/>
                        </a:lnTo>
                        <a:lnTo>
                          <a:pt x="423" y="392"/>
                        </a:lnTo>
                        <a:lnTo>
                          <a:pt x="418" y="398"/>
                        </a:lnTo>
                        <a:lnTo>
                          <a:pt x="416" y="397"/>
                        </a:lnTo>
                        <a:lnTo>
                          <a:pt x="401" y="403"/>
                        </a:lnTo>
                        <a:lnTo>
                          <a:pt x="374" y="408"/>
                        </a:lnTo>
                        <a:lnTo>
                          <a:pt x="364" y="417"/>
                        </a:lnTo>
                        <a:lnTo>
                          <a:pt x="364" y="432"/>
                        </a:lnTo>
                        <a:lnTo>
                          <a:pt x="359" y="442"/>
                        </a:lnTo>
                        <a:lnTo>
                          <a:pt x="358" y="460"/>
                        </a:lnTo>
                        <a:lnTo>
                          <a:pt x="334" y="460"/>
                        </a:lnTo>
                        <a:lnTo>
                          <a:pt x="311" y="468"/>
                        </a:lnTo>
                        <a:lnTo>
                          <a:pt x="306" y="483"/>
                        </a:lnTo>
                        <a:lnTo>
                          <a:pt x="293" y="493"/>
                        </a:lnTo>
                        <a:lnTo>
                          <a:pt x="283" y="483"/>
                        </a:lnTo>
                        <a:lnTo>
                          <a:pt x="243" y="483"/>
                        </a:lnTo>
                        <a:lnTo>
                          <a:pt x="223" y="490"/>
                        </a:lnTo>
                        <a:lnTo>
                          <a:pt x="223" y="503"/>
                        </a:lnTo>
                        <a:lnTo>
                          <a:pt x="207" y="515"/>
                        </a:lnTo>
                        <a:lnTo>
                          <a:pt x="193" y="515"/>
                        </a:lnTo>
                        <a:lnTo>
                          <a:pt x="173" y="510"/>
                        </a:lnTo>
                        <a:lnTo>
                          <a:pt x="153" y="510"/>
                        </a:lnTo>
                        <a:lnTo>
                          <a:pt x="143" y="515"/>
                        </a:lnTo>
                        <a:lnTo>
                          <a:pt x="128" y="496"/>
                        </a:lnTo>
                        <a:lnTo>
                          <a:pt x="108" y="485"/>
                        </a:lnTo>
                        <a:lnTo>
                          <a:pt x="90" y="483"/>
                        </a:lnTo>
                        <a:lnTo>
                          <a:pt x="64" y="480"/>
                        </a:lnTo>
                        <a:lnTo>
                          <a:pt x="49" y="485"/>
                        </a:lnTo>
                        <a:lnTo>
                          <a:pt x="54" y="493"/>
                        </a:lnTo>
                        <a:lnTo>
                          <a:pt x="42" y="500"/>
                        </a:lnTo>
                        <a:lnTo>
                          <a:pt x="44" y="513"/>
                        </a:lnTo>
                        <a:lnTo>
                          <a:pt x="52" y="526"/>
                        </a:lnTo>
                        <a:lnTo>
                          <a:pt x="44" y="525"/>
                        </a:lnTo>
                        <a:lnTo>
                          <a:pt x="40" y="530"/>
                        </a:lnTo>
                        <a:lnTo>
                          <a:pt x="40" y="545"/>
                        </a:lnTo>
                        <a:lnTo>
                          <a:pt x="32" y="546"/>
                        </a:lnTo>
                        <a:lnTo>
                          <a:pt x="30" y="551"/>
                        </a:lnTo>
                        <a:lnTo>
                          <a:pt x="35" y="556"/>
                        </a:lnTo>
                        <a:lnTo>
                          <a:pt x="42" y="566"/>
                        </a:lnTo>
                        <a:lnTo>
                          <a:pt x="44" y="575"/>
                        </a:lnTo>
                        <a:lnTo>
                          <a:pt x="55" y="583"/>
                        </a:lnTo>
                        <a:lnTo>
                          <a:pt x="57" y="601"/>
                        </a:lnTo>
                        <a:lnTo>
                          <a:pt x="55" y="616"/>
                        </a:lnTo>
                        <a:lnTo>
                          <a:pt x="49" y="623"/>
                        </a:lnTo>
                        <a:lnTo>
                          <a:pt x="40" y="623"/>
                        </a:lnTo>
                        <a:lnTo>
                          <a:pt x="40" y="614"/>
                        </a:lnTo>
                        <a:lnTo>
                          <a:pt x="34" y="618"/>
                        </a:lnTo>
                        <a:lnTo>
                          <a:pt x="24" y="618"/>
                        </a:lnTo>
                        <a:lnTo>
                          <a:pt x="17" y="618"/>
                        </a:lnTo>
                        <a:lnTo>
                          <a:pt x="12" y="611"/>
                        </a:lnTo>
                        <a:lnTo>
                          <a:pt x="7" y="611"/>
                        </a:lnTo>
                        <a:lnTo>
                          <a:pt x="4" y="621"/>
                        </a:lnTo>
                        <a:lnTo>
                          <a:pt x="0" y="624"/>
                        </a:lnTo>
                        <a:lnTo>
                          <a:pt x="5" y="626"/>
                        </a:lnTo>
                        <a:lnTo>
                          <a:pt x="15" y="626"/>
                        </a:lnTo>
                        <a:lnTo>
                          <a:pt x="17" y="633"/>
                        </a:lnTo>
                        <a:lnTo>
                          <a:pt x="15" y="643"/>
                        </a:lnTo>
                        <a:lnTo>
                          <a:pt x="14" y="651"/>
                        </a:lnTo>
                        <a:lnTo>
                          <a:pt x="7" y="653"/>
                        </a:lnTo>
                        <a:lnTo>
                          <a:pt x="4" y="664"/>
                        </a:lnTo>
                        <a:lnTo>
                          <a:pt x="0" y="674"/>
                        </a:lnTo>
                        <a:lnTo>
                          <a:pt x="2" y="684"/>
                        </a:lnTo>
                        <a:lnTo>
                          <a:pt x="10" y="691"/>
                        </a:lnTo>
                        <a:lnTo>
                          <a:pt x="17" y="698"/>
                        </a:lnTo>
                        <a:lnTo>
                          <a:pt x="24" y="691"/>
                        </a:lnTo>
                        <a:lnTo>
                          <a:pt x="29" y="698"/>
                        </a:lnTo>
                        <a:lnTo>
                          <a:pt x="27" y="704"/>
                        </a:lnTo>
                        <a:lnTo>
                          <a:pt x="20" y="709"/>
                        </a:lnTo>
                        <a:lnTo>
                          <a:pt x="15" y="712"/>
                        </a:lnTo>
                        <a:lnTo>
                          <a:pt x="19" y="721"/>
                        </a:lnTo>
                        <a:lnTo>
                          <a:pt x="24" y="722"/>
                        </a:lnTo>
                        <a:lnTo>
                          <a:pt x="24" y="729"/>
                        </a:lnTo>
                        <a:lnTo>
                          <a:pt x="32" y="731"/>
                        </a:lnTo>
                        <a:lnTo>
                          <a:pt x="40" y="732"/>
                        </a:lnTo>
                        <a:lnTo>
                          <a:pt x="49" y="734"/>
                        </a:lnTo>
                        <a:lnTo>
                          <a:pt x="50" y="727"/>
                        </a:lnTo>
                        <a:lnTo>
                          <a:pt x="50" y="721"/>
                        </a:lnTo>
                        <a:lnTo>
                          <a:pt x="54" y="716"/>
                        </a:lnTo>
                        <a:lnTo>
                          <a:pt x="64" y="721"/>
                        </a:lnTo>
                        <a:lnTo>
                          <a:pt x="74" y="721"/>
                        </a:lnTo>
                        <a:lnTo>
                          <a:pt x="74" y="726"/>
                        </a:lnTo>
                        <a:lnTo>
                          <a:pt x="85" y="732"/>
                        </a:lnTo>
                        <a:lnTo>
                          <a:pt x="82" y="739"/>
                        </a:lnTo>
                        <a:lnTo>
                          <a:pt x="92" y="739"/>
                        </a:lnTo>
                        <a:lnTo>
                          <a:pt x="89" y="731"/>
                        </a:lnTo>
                        <a:lnTo>
                          <a:pt x="85" y="726"/>
                        </a:lnTo>
                        <a:lnTo>
                          <a:pt x="87" y="717"/>
                        </a:lnTo>
                        <a:lnTo>
                          <a:pt x="92" y="719"/>
                        </a:lnTo>
                        <a:lnTo>
                          <a:pt x="103" y="732"/>
                        </a:lnTo>
                        <a:lnTo>
                          <a:pt x="107" y="742"/>
                        </a:lnTo>
                        <a:lnTo>
                          <a:pt x="102" y="746"/>
                        </a:lnTo>
                        <a:lnTo>
                          <a:pt x="90" y="742"/>
                        </a:lnTo>
                        <a:lnTo>
                          <a:pt x="82" y="752"/>
                        </a:lnTo>
                        <a:lnTo>
                          <a:pt x="87" y="754"/>
                        </a:lnTo>
                        <a:lnTo>
                          <a:pt x="77" y="766"/>
                        </a:lnTo>
                        <a:lnTo>
                          <a:pt x="70" y="764"/>
                        </a:lnTo>
                        <a:lnTo>
                          <a:pt x="55" y="766"/>
                        </a:lnTo>
                        <a:lnTo>
                          <a:pt x="42" y="761"/>
                        </a:lnTo>
                        <a:lnTo>
                          <a:pt x="34" y="761"/>
                        </a:lnTo>
                        <a:lnTo>
                          <a:pt x="35" y="747"/>
                        </a:lnTo>
                        <a:lnTo>
                          <a:pt x="30" y="741"/>
                        </a:lnTo>
                        <a:lnTo>
                          <a:pt x="22" y="741"/>
                        </a:lnTo>
                        <a:lnTo>
                          <a:pt x="12" y="746"/>
                        </a:lnTo>
                        <a:lnTo>
                          <a:pt x="20" y="749"/>
                        </a:lnTo>
                        <a:lnTo>
                          <a:pt x="25" y="757"/>
                        </a:lnTo>
                        <a:lnTo>
                          <a:pt x="20" y="764"/>
                        </a:lnTo>
                        <a:lnTo>
                          <a:pt x="29" y="767"/>
                        </a:lnTo>
                        <a:lnTo>
                          <a:pt x="37" y="782"/>
                        </a:lnTo>
                        <a:lnTo>
                          <a:pt x="25" y="794"/>
                        </a:lnTo>
                        <a:lnTo>
                          <a:pt x="27" y="804"/>
                        </a:lnTo>
                        <a:lnTo>
                          <a:pt x="35" y="802"/>
                        </a:lnTo>
                        <a:lnTo>
                          <a:pt x="40" y="806"/>
                        </a:lnTo>
                        <a:lnTo>
                          <a:pt x="45" y="799"/>
                        </a:lnTo>
                        <a:lnTo>
                          <a:pt x="50" y="804"/>
                        </a:lnTo>
                        <a:lnTo>
                          <a:pt x="55" y="797"/>
                        </a:lnTo>
                        <a:lnTo>
                          <a:pt x="50" y="789"/>
                        </a:lnTo>
                        <a:lnTo>
                          <a:pt x="54" y="779"/>
                        </a:lnTo>
                        <a:lnTo>
                          <a:pt x="60" y="787"/>
                        </a:lnTo>
                        <a:lnTo>
                          <a:pt x="62" y="782"/>
                        </a:lnTo>
                        <a:lnTo>
                          <a:pt x="69" y="791"/>
                        </a:lnTo>
                        <a:lnTo>
                          <a:pt x="77" y="789"/>
                        </a:lnTo>
                        <a:lnTo>
                          <a:pt x="82" y="781"/>
                        </a:lnTo>
                        <a:lnTo>
                          <a:pt x="82" y="774"/>
                        </a:lnTo>
                        <a:lnTo>
                          <a:pt x="84" y="767"/>
                        </a:lnTo>
                        <a:lnTo>
                          <a:pt x="94" y="772"/>
                        </a:lnTo>
                        <a:lnTo>
                          <a:pt x="92" y="781"/>
                        </a:lnTo>
                        <a:lnTo>
                          <a:pt x="84" y="784"/>
                        </a:lnTo>
                        <a:lnTo>
                          <a:pt x="82" y="791"/>
                        </a:lnTo>
                        <a:lnTo>
                          <a:pt x="89" y="789"/>
                        </a:lnTo>
                        <a:lnTo>
                          <a:pt x="90" y="796"/>
                        </a:lnTo>
                        <a:lnTo>
                          <a:pt x="95" y="801"/>
                        </a:lnTo>
                        <a:lnTo>
                          <a:pt x="89" y="811"/>
                        </a:lnTo>
                        <a:lnTo>
                          <a:pt x="100" y="812"/>
                        </a:lnTo>
                        <a:lnTo>
                          <a:pt x="103" y="804"/>
                        </a:lnTo>
                        <a:lnTo>
                          <a:pt x="108" y="811"/>
                        </a:lnTo>
                        <a:lnTo>
                          <a:pt x="122" y="806"/>
                        </a:lnTo>
                        <a:lnTo>
                          <a:pt x="123" y="801"/>
                        </a:lnTo>
                        <a:lnTo>
                          <a:pt x="140" y="794"/>
                        </a:lnTo>
                        <a:lnTo>
                          <a:pt x="148" y="786"/>
                        </a:lnTo>
                        <a:lnTo>
                          <a:pt x="143" y="784"/>
                        </a:lnTo>
                        <a:lnTo>
                          <a:pt x="148" y="776"/>
                        </a:lnTo>
                        <a:lnTo>
                          <a:pt x="157" y="782"/>
                        </a:lnTo>
                        <a:lnTo>
                          <a:pt x="167" y="776"/>
                        </a:lnTo>
                        <a:lnTo>
                          <a:pt x="165" y="787"/>
                        </a:lnTo>
                        <a:lnTo>
                          <a:pt x="160" y="796"/>
                        </a:lnTo>
                        <a:lnTo>
                          <a:pt x="170" y="794"/>
                        </a:lnTo>
                        <a:lnTo>
                          <a:pt x="177" y="787"/>
                        </a:lnTo>
                        <a:lnTo>
                          <a:pt x="187" y="787"/>
                        </a:lnTo>
                        <a:lnTo>
                          <a:pt x="193" y="797"/>
                        </a:lnTo>
                        <a:lnTo>
                          <a:pt x="187" y="807"/>
                        </a:lnTo>
                        <a:lnTo>
                          <a:pt x="187" y="814"/>
                        </a:lnTo>
                        <a:lnTo>
                          <a:pt x="180" y="817"/>
                        </a:lnTo>
                        <a:lnTo>
                          <a:pt x="195" y="822"/>
                        </a:lnTo>
                        <a:lnTo>
                          <a:pt x="203" y="827"/>
                        </a:lnTo>
                        <a:lnTo>
                          <a:pt x="200" y="835"/>
                        </a:lnTo>
                        <a:lnTo>
                          <a:pt x="215" y="829"/>
                        </a:lnTo>
                        <a:lnTo>
                          <a:pt x="226" y="832"/>
                        </a:lnTo>
                        <a:lnTo>
                          <a:pt x="228" y="837"/>
                        </a:lnTo>
                        <a:lnTo>
                          <a:pt x="226" y="860"/>
                        </a:lnTo>
                        <a:lnTo>
                          <a:pt x="226" y="869"/>
                        </a:lnTo>
                        <a:lnTo>
                          <a:pt x="236" y="870"/>
                        </a:lnTo>
                        <a:lnTo>
                          <a:pt x="241" y="869"/>
                        </a:lnTo>
                        <a:lnTo>
                          <a:pt x="245" y="877"/>
                        </a:lnTo>
                        <a:lnTo>
                          <a:pt x="255" y="872"/>
                        </a:lnTo>
                        <a:lnTo>
                          <a:pt x="256" y="880"/>
                        </a:lnTo>
                        <a:lnTo>
                          <a:pt x="251" y="887"/>
                        </a:lnTo>
                        <a:lnTo>
                          <a:pt x="253" y="894"/>
                        </a:lnTo>
                        <a:lnTo>
                          <a:pt x="250" y="902"/>
                        </a:lnTo>
                        <a:lnTo>
                          <a:pt x="240" y="909"/>
                        </a:lnTo>
                        <a:lnTo>
                          <a:pt x="238" y="920"/>
                        </a:lnTo>
                        <a:lnTo>
                          <a:pt x="231" y="922"/>
                        </a:lnTo>
                        <a:lnTo>
                          <a:pt x="241" y="932"/>
                        </a:lnTo>
                        <a:lnTo>
                          <a:pt x="230" y="930"/>
                        </a:lnTo>
                        <a:lnTo>
                          <a:pt x="221" y="922"/>
                        </a:lnTo>
                        <a:lnTo>
                          <a:pt x="218" y="928"/>
                        </a:lnTo>
                        <a:lnTo>
                          <a:pt x="208" y="942"/>
                        </a:lnTo>
                        <a:lnTo>
                          <a:pt x="207" y="950"/>
                        </a:lnTo>
                        <a:lnTo>
                          <a:pt x="210" y="955"/>
                        </a:lnTo>
                        <a:lnTo>
                          <a:pt x="223" y="965"/>
                        </a:lnTo>
                        <a:lnTo>
                          <a:pt x="231" y="970"/>
                        </a:lnTo>
                        <a:lnTo>
                          <a:pt x="238" y="963"/>
                        </a:lnTo>
                        <a:lnTo>
                          <a:pt x="240" y="953"/>
                        </a:lnTo>
                        <a:lnTo>
                          <a:pt x="250" y="945"/>
                        </a:lnTo>
                        <a:lnTo>
                          <a:pt x="255" y="935"/>
                        </a:lnTo>
                        <a:lnTo>
                          <a:pt x="261" y="920"/>
                        </a:lnTo>
                        <a:lnTo>
                          <a:pt x="258" y="914"/>
                        </a:lnTo>
                        <a:lnTo>
                          <a:pt x="278" y="904"/>
                        </a:lnTo>
                        <a:lnTo>
                          <a:pt x="291" y="900"/>
                        </a:lnTo>
                        <a:lnTo>
                          <a:pt x="300" y="902"/>
                        </a:lnTo>
                        <a:lnTo>
                          <a:pt x="305" y="910"/>
                        </a:lnTo>
                        <a:lnTo>
                          <a:pt x="306" y="902"/>
                        </a:lnTo>
                        <a:lnTo>
                          <a:pt x="316" y="905"/>
                        </a:lnTo>
                        <a:lnTo>
                          <a:pt x="321" y="910"/>
                        </a:lnTo>
                        <a:lnTo>
                          <a:pt x="330" y="909"/>
                        </a:lnTo>
                        <a:lnTo>
                          <a:pt x="334" y="910"/>
                        </a:lnTo>
                        <a:lnTo>
                          <a:pt x="344" y="905"/>
                        </a:lnTo>
                        <a:lnTo>
                          <a:pt x="344" y="899"/>
                        </a:lnTo>
                        <a:lnTo>
                          <a:pt x="348" y="892"/>
                        </a:lnTo>
                        <a:lnTo>
                          <a:pt x="354" y="895"/>
                        </a:lnTo>
                        <a:lnTo>
                          <a:pt x="371" y="895"/>
                        </a:lnTo>
                        <a:lnTo>
                          <a:pt x="371" y="887"/>
                        </a:lnTo>
                        <a:lnTo>
                          <a:pt x="378" y="887"/>
                        </a:lnTo>
                        <a:lnTo>
                          <a:pt x="381" y="882"/>
                        </a:lnTo>
                        <a:lnTo>
                          <a:pt x="378" y="879"/>
                        </a:lnTo>
                        <a:lnTo>
                          <a:pt x="378" y="872"/>
                        </a:lnTo>
                        <a:lnTo>
                          <a:pt x="373" y="872"/>
                        </a:lnTo>
                        <a:lnTo>
                          <a:pt x="373" y="867"/>
                        </a:lnTo>
                        <a:lnTo>
                          <a:pt x="384" y="865"/>
                        </a:lnTo>
                        <a:lnTo>
                          <a:pt x="396" y="867"/>
                        </a:lnTo>
                        <a:lnTo>
                          <a:pt x="396" y="874"/>
                        </a:lnTo>
                        <a:lnTo>
                          <a:pt x="399" y="877"/>
                        </a:lnTo>
                        <a:lnTo>
                          <a:pt x="406" y="874"/>
                        </a:lnTo>
                        <a:lnTo>
                          <a:pt x="416" y="874"/>
                        </a:lnTo>
                        <a:lnTo>
                          <a:pt x="416" y="879"/>
                        </a:lnTo>
                        <a:lnTo>
                          <a:pt x="426" y="885"/>
                        </a:lnTo>
                        <a:lnTo>
                          <a:pt x="426" y="880"/>
                        </a:lnTo>
                        <a:lnTo>
                          <a:pt x="421" y="875"/>
                        </a:lnTo>
                        <a:lnTo>
                          <a:pt x="421" y="869"/>
                        </a:lnTo>
                        <a:lnTo>
                          <a:pt x="428" y="869"/>
                        </a:lnTo>
                        <a:lnTo>
                          <a:pt x="438" y="870"/>
                        </a:lnTo>
                        <a:lnTo>
                          <a:pt x="452" y="862"/>
                        </a:lnTo>
                        <a:lnTo>
                          <a:pt x="452" y="855"/>
                        </a:lnTo>
                        <a:lnTo>
                          <a:pt x="466" y="847"/>
                        </a:lnTo>
                        <a:lnTo>
                          <a:pt x="466" y="832"/>
                        </a:lnTo>
                        <a:lnTo>
                          <a:pt x="472" y="817"/>
                        </a:lnTo>
                        <a:lnTo>
                          <a:pt x="477" y="824"/>
                        </a:lnTo>
                        <a:lnTo>
                          <a:pt x="482" y="822"/>
                        </a:lnTo>
                        <a:lnTo>
                          <a:pt x="481" y="817"/>
                        </a:lnTo>
                        <a:lnTo>
                          <a:pt x="487" y="822"/>
                        </a:lnTo>
                        <a:lnTo>
                          <a:pt x="491" y="830"/>
                        </a:lnTo>
                        <a:lnTo>
                          <a:pt x="496" y="839"/>
                        </a:lnTo>
                        <a:lnTo>
                          <a:pt x="502" y="850"/>
                        </a:lnTo>
                        <a:lnTo>
                          <a:pt x="501" y="840"/>
                        </a:lnTo>
                        <a:lnTo>
                          <a:pt x="492" y="827"/>
                        </a:lnTo>
                        <a:lnTo>
                          <a:pt x="492" y="817"/>
                        </a:lnTo>
                        <a:lnTo>
                          <a:pt x="496" y="801"/>
                        </a:lnTo>
                        <a:lnTo>
                          <a:pt x="491" y="794"/>
                        </a:lnTo>
                        <a:lnTo>
                          <a:pt x="491" y="786"/>
                        </a:lnTo>
                        <a:lnTo>
                          <a:pt x="477" y="764"/>
                        </a:lnTo>
                        <a:lnTo>
                          <a:pt x="477" y="741"/>
                        </a:lnTo>
                        <a:lnTo>
                          <a:pt x="471" y="741"/>
                        </a:lnTo>
                        <a:lnTo>
                          <a:pt x="464" y="746"/>
                        </a:lnTo>
                        <a:lnTo>
                          <a:pt x="464" y="741"/>
                        </a:lnTo>
                        <a:lnTo>
                          <a:pt x="471" y="732"/>
                        </a:lnTo>
                        <a:lnTo>
                          <a:pt x="474" y="736"/>
                        </a:lnTo>
                        <a:lnTo>
                          <a:pt x="479" y="726"/>
                        </a:lnTo>
                        <a:lnTo>
                          <a:pt x="482" y="721"/>
                        </a:lnTo>
                        <a:lnTo>
                          <a:pt x="482" y="704"/>
                        </a:lnTo>
                        <a:lnTo>
                          <a:pt x="484" y="686"/>
                        </a:lnTo>
                        <a:lnTo>
                          <a:pt x="479" y="676"/>
                        </a:lnTo>
                        <a:lnTo>
                          <a:pt x="477" y="668"/>
                        </a:lnTo>
                        <a:lnTo>
                          <a:pt x="471" y="663"/>
                        </a:lnTo>
                        <a:lnTo>
                          <a:pt x="471" y="646"/>
                        </a:lnTo>
                        <a:lnTo>
                          <a:pt x="466" y="634"/>
                        </a:lnTo>
                        <a:lnTo>
                          <a:pt x="466" y="614"/>
                        </a:lnTo>
                        <a:lnTo>
                          <a:pt x="467" y="603"/>
                        </a:lnTo>
                        <a:lnTo>
                          <a:pt x="466" y="596"/>
                        </a:lnTo>
                        <a:lnTo>
                          <a:pt x="472" y="595"/>
                        </a:lnTo>
                        <a:lnTo>
                          <a:pt x="471" y="583"/>
                        </a:lnTo>
                        <a:lnTo>
                          <a:pt x="482" y="565"/>
                        </a:lnTo>
                        <a:lnTo>
                          <a:pt x="491" y="556"/>
                        </a:lnTo>
                        <a:lnTo>
                          <a:pt x="486" y="553"/>
                        </a:lnTo>
                        <a:lnTo>
                          <a:pt x="492" y="548"/>
                        </a:lnTo>
                        <a:lnTo>
                          <a:pt x="496" y="535"/>
                        </a:lnTo>
                        <a:lnTo>
                          <a:pt x="502" y="520"/>
                        </a:lnTo>
                        <a:lnTo>
                          <a:pt x="529" y="505"/>
                        </a:lnTo>
                        <a:lnTo>
                          <a:pt x="541" y="496"/>
                        </a:lnTo>
                        <a:lnTo>
                          <a:pt x="544" y="500"/>
                        </a:lnTo>
                        <a:lnTo>
                          <a:pt x="554" y="498"/>
                        </a:lnTo>
                        <a:lnTo>
                          <a:pt x="557" y="495"/>
                        </a:lnTo>
                        <a:lnTo>
                          <a:pt x="569" y="500"/>
                        </a:lnTo>
                        <a:lnTo>
                          <a:pt x="574" y="506"/>
                        </a:lnTo>
                        <a:lnTo>
                          <a:pt x="572" y="516"/>
                        </a:lnTo>
                        <a:lnTo>
                          <a:pt x="572" y="521"/>
                        </a:lnTo>
                        <a:lnTo>
                          <a:pt x="587" y="520"/>
                        </a:lnTo>
                        <a:lnTo>
                          <a:pt x="602" y="515"/>
                        </a:lnTo>
                        <a:lnTo>
                          <a:pt x="599" y="505"/>
                        </a:lnTo>
                        <a:lnTo>
                          <a:pt x="600" y="500"/>
                        </a:lnTo>
                        <a:lnTo>
                          <a:pt x="614" y="488"/>
                        </a:lnTo>
                        <a:lnTo>
                          <a:pt x="622" y="483"/>
                        </a:lnTo>
                        <a:lnTo>
                          <a:pt x="620" y="472"/>
                        </a:lnTo>
                        <a:lnTo>
                          <a:pt x="627" y="463"/>
                        </a:lnTo>
                        <a:lnTo>
                          <a:pt x="629" y="450"/>
                        </a:lnTo>
                        <a:lnTo>
                          <a:pt x="637" y="435"/>
                        </a:lnTo>
                        <a:lnTo>
                          <a:pt x="635" y="433"/>
                        </a:lnTo>
                        <a:lnTo>
                          <a:pt x="644" y="427"/>
                        </a:lnTo>
                        <a:lnTo>
                          <a:pt x="652" y="423"/>
                        </a:lnTo>
                        <a:lnTo>
                          <a:pt x="659" y="422"/>
                        </a:lnTo>
                        <a:lnTo>
                          <a:pt x="659" y="427"/>
                        </a:lnTo>
                        <a:lnTo>
                          <a:pt x="672" y="425"/>
                        </a:lnTo>
                        <a:lnTo>
                          <a:pt x="695" y="428"/>
                        </a:lnTo>
                        <a:lnTo>
                          <a:pt x="703" y="428"/>
                        </a:lnTo>
                        <a:lnTo>
                          <a:pt x="748" y="408"/>
                        </a:lnTo>
                        <a:lnTo>
                          <a:pt x="772" y="397"/>
                        </a:lnTo>
                        <a:lnTo>
                          <a:pt x="778" y="395"/>
                        </a:lnTo>
                        <a:lnTo>
                          <a:pt x="785" y="387"/>
                        </a:lnTo>
                        <a:lnTo>
                          <a:pt x="782" y="377"/>
                        </a:lnTo>
                        <a:lnTo>
                          <a:pt x="787" y="372"/>
                        </a:lnTo>
                        <a:lnTo>
                          <a:pt x="782" y="369"/>
                        </a:lnTo>
                        <a:lnTo>
                          <a:pt x="790" y="357"/>
                        </a:lnTo>
                        <a:lnTo>
                          <a:pt x="791" y="339"/>
                        </a:lnTo>
                        <a:lnTo>
                          <a:pt x="785" y="335"/>
                        </a:lnTo>
                        <a:lnTo>
                          <a:pt x="788" y="345"/>
                        </a:lnTo>
                        <a:lnTo>
                          <a:pt x="783" y="350"/>
                        </a:lnTo>
                        <a:lnTo>
                          <a:pt x="773" y="349"/>
                        </a:lnTo>
                        <a:lnTo>
                          <a:pt x="770" y="344"/>
                        </a:lnTo>
                        <a:lnTo>
                          <a:pt x="777" y="335"/>
                        </a:lnTo>
                        <a:lnTo>
                          <a:pt x="775" y="330"/>
                        </a:lnTo>
                        <a:lnTo>
                          <a:pt x="796" y="307"/>
                        </a:lnTo>
                        <a:lnTo>
                          <a:pt x="830" y="282"/>
                        </a:lnTo>
                        <a:lnTo>
                          <a:pt x="848" y="272"/>
                        </a:lnTo>
                        <a:lnTo>
                          <a:pt x="890" y="249"/>
                        </a:lnTo>
                        <a:lnTo>
                          <a:pt x="900" y="246"/>
                        </a:lnTo>
                        <a:lnTo>
                          <a:pt x="918" y="229"/>
                        </a:lnTo>
                        <a:lnTo>
                          <a:pt x="928" y="212"/>
                        </a:lnTo>
                        <a:lnTo>
                          <a:pt x="931" y="201"/>
                        </a:lnTo>
                        <a:lnTo>
                          <a:pt x="959" y="176"/>
                        </a:lnTo>
                        <a:lnTo>
                          <a:pt x="1019" y="141"/>
                        </a:lnTo>
                        <a:lnTo>
                          <a:pt x="1026" y="134"/>
                        </a:lnTo>
                        <a:lnTo>
                          <a:pt x="1026" y="128"/>
                        </a:lnTo>
                        <a:lnTo>
                          <a:pt x="1052" y="99"/>
                        </a:lnTo>
                        <a:lnTo>
                          <a:pt x="1077" y="73"/>
                        </a:lnTo>
                        <a:lnTo>
                          <a:pt x="1087" y="56"/>
                        </a:lnTo>
                        <a:lnTo>
                          <a:pt x="1089" y="51"/>
                        </a:lnTo>
                        <a:lnTo>
                          <a:pt x="1097" y="46"/>
                        </a:lnTo>
                        <a:lnTo>
                          <a:pt x="1114" y="21"/>
                        </a:lnTo>
                        <a:lnTo>
                          <a:pt x="1124" y="0"/>
                        </a:lnTo>
                        <a:lnTo>
                          <a:pt x="1109" y="11"/>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38" name="Freeform 1120">
                    <a:extLst>
                      <a:ext uri="{FF2B5EF4-FFF2-40B4-BE49-F238E27FC236}">
                        <a16:creationId xmlns:a16="http://schemas.microsoft.com/office/drawing/2014/main" id="{8F670CE6-ACE6-44D6-87B6-8843512D2BAA}"/>
                      </a:ext>
                    </a:extLst>
                  </p:cNvPr>
                  <p:cNvSpPr>
                    <a:spLocks/>
                  </p:cNvSpPr>
                  <p:nvPr/>
                </p:nvSpPr>
                <p:spPr bwMode="auto">
                  <a:xfrm>
                    <a:off x="4205179" y="3565545"/>
                    <a:ext cx="684459" cy="1136201"/>
                  </a:xfrm>
                  <a:custGeom>
                    <a:avLst/>
                    <a:gdLst>
                      <a:gd name="T0" fmla="*/ 286 w 550"/>
                      <a:gd name="T1" fmla="*/ 489 h 913"/>
                      <a:gd name="T2" fmla="*/ 306 w 550"/>
                      <a:gd name="T3" fmla="*/ 447 h 913"/>
                      <a:gd name="T4" fmla="*/ 324 w 550"/>
                      <a:gd name="T5" fmla="*/ 419 h 913"/>
                      <a:gd name="T6" fmla="*/ 394 w 550"/>
                      <a:gd name="T7" fmla="*/ 423 h 913"/>
                      <a:gd name="T8" fmla="*/ 414 w 550"/>
                      <a:gd name="T9" fmla="*/ 388 h 913"/>
                      <a:gd name="T10" fmla="*/ 424 w 550"/>
                      <a:gd name="T11" fmla="*/ 349 h 913"/>
                      <a:gd name="T12" fmla="*/ 449 w 550"/>
                      <a:gd name="T13" fmla="*/ 311 h 913"/>
                      <a:gd name="T14" fmla="*/ 452 w 550"/>
                      <a:gd name="T15" fmla="*/ 271 h 913"/>
                      <a:gd name="T16" fmla="*/ 507 w 550"/>
                      <a:gd name="T17" fmla="*/ 240 h 913"/>
                      <a:gd name="T18" fmla="*/ 538 w 550"/>
                      <a:gd name="T19" fmla="*/ 180 h 913"/>
                      <a:gd name="T20" fmla="*/ 528 w 550"/>
                      <a:gd name="T21" fmla="*/ 157 h 913"/>
                      <a:gd name="T22" fmla="*/ 502 w 550"/>
                      <a:gd name="T23" fmla="*/ 127 h 913"/>
                      <a:gd name="T24" fmla="*/ 495 w 550"/>
                      <a:gd name="T25" fmla="*/ 85 h 913"/>
                      <a:gd name="T26" fmla="*/ 489 w 550"/>
                      <a:gd name="T27" fmla="*/ 67 h 913"/>
                      <a:gd name="T28" fmla="*/ 437 w 550"/>
                      <a:gd name="T29" fmla="*/ 22 h 913"/>
                      <a:gd name="T30" fmla="*/ 389 w 550"/>
                      <a:gd name="T31" fmla="*/ 25 h 913"/>
                      <a:gd name="T32" fmla="*/ 327 w 550"/>
                      <a:gd name="T33" fmla="*/ 25 h 913"/>
                      <a:gd name="T34" fmla="*/ 284 w 550"/>
                      <a:gd name="T35" fmla="*/ 42 h 913"/>
                      <a:gd name="T36" fmla="*/ 241 w 550"/>
                      <a:gd name="T37" fmla="*/ 42 h 913"/>
                      <a:gd name="T38" fmla="*/ 208 w 550"/>
                      <a:gd name="T39" fmla="*/ 45 h 913"/>
                      <a:gd name="T40" fmla="*/ 186 w 550"/>
                      <a:gd name="T41" fmla="*/ 50 h 913"/>
                      <a:gd name="T42" fmla="*/ 194 w 550"/>
                      <a:gd name="T43" fmla="*/ 84 h 913"/>
                      <a:gd name="T44" fmla="*/ 236 w 550"/>
                      <a:gd name="T45" fmla="*/ 107 h 913"/>
                      <a:gd name="T46" fmla="*/ 248 w 550"/>
                      <a:gd name="T47" fmla="*/ 145 h 913"/>
                      <a:gd name="T48" fmla="*/ 223 w 550"/>
                      <a:gd name="T49" fmla="*/ 175 h 913"/>
                      <a:gd name="T50" fmla="*/ 155 w 550"/>
                      <a:gd name="T51" fmla="*/ 243 h 913"/>
                      <a:gd name="T52" fmla="*/ 115 w 550"/>
                      <a:gd name="T53" fmla="*/ 263 h 913"/>
                      <a:gd name="T54" fmla="*/ 81 w 550"/>
                      <a:gd name="T55" fmla="*/ 306 h 913"/>
                      <a:gd name="T56" fmla="*/ 66 w 550"/>
                      <a:gd name="T57" fmla="*/ 383 h 913"/>
                      <a:gd name="T58" fmla="*/ 27 w 550"/>
                      <a:gd name="T59" fmla="*/ 452 h 913"/>
                      <a:gd name="T60" fmla="*/ 38 w 550"/>
                      <a:gd name="T61" fmla="*/ 499 h 913"/>
                      <a:gd name="T62" fmla="*/ 47 w 550"/>
                      <a:gd name="T63" fmla="*/ 529 h 913"/>
                      <a:gd name="T64" fmla="*/ 23 w 550"/>
                      <a:gd name="T65" fmla="*/ 567 h 913"/>
                      <a:gd name="T66" fmla="*/ 42 w 550"/>
                      <a:gd name="T67" fmla="*/ 590 h 913"/>
                      <a:gd name="T68" fmla="*/ 33 w 550"/>
                      <a:gd name="T69" fmla="*/ 610 h 913"/>
                      <a:gd name="T70" fmla="*/ 33 w 550"/>
                      <a:gd name="T71" fmla="*/ 620 h 913"/>
                      <a:gd name="T72" fmla="*/ 63 w 550"/>
                      <a:gd name="T73" fmla="*/ 648 h 913"/>
                      <a:gd name="T74" fmla="*/ 85 w 550"/>
                      <a:gd name="T75" fmla="*/ 685 h 913"/>
                      <a:gd name="T76" fmla="*/ 7 w 550"/>
                      <a:gd name="T77" fmla="*/ 737 h 913"/>
                      <a:gd name="T78" fmla="*/ 10 w 550"/>
                      <a:gd name="T79" fmla="*/ 780 h 913"/>
                      <a:gd name="T80" fmla="*/ 68 w 550"/>
                      <a:gd name="T81" fmla="*/ 821 h 913"/>
                      <a:gd name="T82" fmla="*/ 80 w 550"/>
                      <a:gd name="T83" fmla="*/ 851 h 913"/>
                      <a:gd name="T84" fmla="*/ 98 w 550"/>
                      <a:gd name="T85" fmla="*/ 858 h 913"/>
                      <a:gd name="T86" fmla="*/ 111 w 550"/>
                      <a:gd name="T87" fmla="*/ 913 h 913"/>
                      <a:gd name="T88" fmla="*/ 165 w 550"/>
                      <a:gd name="T89" fmla="*/ 906 h 913"/>
                      <a:gd name="T90" fmla="*/ 176 w 550"/>
                      <a:gd name="T91" fmla="*/ 840 h 913"/>
                      <a:gd name="T92" fmla="*/ 229 w 550"/>
                      <a:gd name="T93" fmla="*/ 796 h 913"/>
                      <a:gd name="T94" fmla="*/ 274 w 550"/>
                      <a:gd name="T95" fmla="*/ 735 h 913"/>
                      <a:gd name="T96" fmla="*/ 244 w 550"/>
                      <a:gd name="T97" fmla="*/ 630 h 913"/>
                      <a:gd name="T98" fmla="*/ 221 w 550"/>
                      <a:gd name="T99" fmla="*/ 587 h 913"/>
                      <a:gd name="T100" fmla="*/ 286 w 550"/>
                      <a:gd name="T101" fmla="*/ 609 h 913"/>
                      <a:gd name="T102" fmla="*/ 337 w 550"/>
                      <a:gd name="T103" fmla="*/ 610 h 913"/>
                      <a:gd name="T104" fmla="*/ 296 w 550"/>
                      <a:gd name="T105" fmla="*/ 545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0" h="913">
                        <a:moveTo>
                          <a:pt x="289" y="537"/>
                        </a:moveTo>
                        <a:lnTo>
                          <a:pt x="293" y="524"/>
                        </a:lnTo>
                        <a:lnTo>
                          <a:pt x="283" y="514"/>
                        </a:lnTo>
                        <a:lnTo>
                          <a:pt x="283" y="507"/>
                        </a:lnTo>
                        <a:lnTo>
                          <a:pt x="286" y="501"/>
                        </a:lnTo>
                        <a:lnTo>
                          <a:pt x="286" y="489"/>
                        </a:lnTo>
                        <a:lnTo>
                          <a:pt x="281" y="479"/>
                        </a:lnTo>
                        <a:lnTo>
                          <a:pt x="283" y="464"/>
                        </a:lnTo>
                        <a:lnTo>
                          <a:pt x="294" y="469"/>
                        </a:lnTo>
                        <a:lnTo>
                          <a:pt x="304" y="464"/>
                        </a:lnTo>
                        <a:lnTo>
                          <a:pt x="312" y="456"/>
                        </a:lnTo>
                        <a:lnTo>
                          <a:pt x="306" y="447"/>
                        </a:lnTo>
                        <a:lnTo>
                          <a:pt x="311" y="444"/>
                        </a:lnTo>
                        <a:lnTo>
                          <a:pt x="316" y="441"/>
                        </a:lnTo>
                        <a:lnTo>
                          <a:pt x="321" y="437"/>
                        </a:lnTo>
                        <a:lnTo>
                          <a:pt x="326" y="434"/>
                        </a:lnTo>
                        <a:lnTo>
                          <a:pt x="322" y="428"/>
                        </a:lnTo>
                        <a:lnTo>
                          <a:pt x="324" y="419"/>
                        </a:lnTo>
                        <a:lnTo>
                          <a:pt x="349" y="421"/>
                        </a:lnTo>
                        <a:lnTo>
                          <a:pt x="361" y="416"/>
                        </a:lnTo>
                        <a:lnTo>
                          <a:pt x="369" y="421"/>
                        </a:lnTo>
                        <a:lnTo>
                          <a:pt x="379" y="426"/>
                        </a:lnTo>
                        <a:lnTo>
                          <a:pt x="387" y="424"/>
                        </a:lnTo>
                        <a:lnTo>
                          <a:pt x="394" y="423"/>
                        </a:lnTo>
                        <a:lnTo>
                          <a:pt x="396" y="414"/>
                        </a:lnTo>
                        <a:lnTo>
                          <a:pt x="397" y="408"/>
                        </a:lnTo>
                        <a:lnTo>
                          <a:pt x="404" y="403"/>
                        </a:lnTo>
                        <a:lnTo>
                          <a:pt x="404" y="394"/>
                        </a:lnTo>
                        <a:lnTo>
                          <a:pt x="404" y="389"/>
                        </a:lnTo>
                        <a:lnTo>
                          <a:pt x="414" y="388"/>
                        </a:lnTo>
                        <a:lnTo>
                          <a:pt x="419" y="393"/>
                        </a:lnTo>
                        <a:lnTo>
                          <a:pt x="422" y="386"/>
                        </a:lnTo>
                        <a:lnTo>
                          <a:pt x="419" y="379"/>
                        </a:lnTo>
                        <a:lnTo>
                          <a:pt x="415" y="374"/>
                        </a:lnTo>
                        <a:lnTo>
                          <a:pt x="415" y="363"/>
                        </a:lnTo>
                        <a:lnTo>
                          <a:pt x="424" y="349"/>
                        </a:lnTo>
                        <a:lnTo>
                          <a:pt x="430" y="339"/>
                        </a:lnTo>
                        <a:lnTo>
                          <a:pt x="432" y="328"/>
                        </a:lnTo>
                        <a:lnTo>
                          <a:pt x="434" y="324"/>
                        </a:lnTo>
                        <a:lnTo>
                          <a:pt x="440" y="328"/>
                        </a:lnTo>
                        <a:lnTo>
                          <a:pt x="449" y="321"/>
                        </a:lnTo>
                        <a:lnTo>
                          <a:pt x="449" y="311"/>
                        </a:lnTo>
                        <a:lnTo>
                          <a:pt x="444" y="306"/>
                        </a:lnTo>
                        <a:lnTo>
                          <a:pt x="440" y="301"/>
                        </a:lnTo>
                        <a:lnTo>
                          <a:pt x="440" y="295"/>
                        </a:lnTo>
                        <a:lnTo>
                          <a:pt x="442" y="290"/>
                        </a:lnTo>
                        <a:lnTo>
                          <a:pt x="444" y="285"/>
                        </a:lnTo>
                        <a:lnTo>
                          <a:pt x="452" y="271"/>
                        </a:lnTo>
                        <a:lnTo>
                          <a:pt x="462" y="268"/>
                        </a:lnTo>
                        <a:lnTo>
                          <a:pt x="472" y="263"/>
                        </a:lnTo>
                        <a:lnTo>
                          <a:pt x="479" y="253"/>
                        </a:lnTo>
                        <a:lnTo>
                          <a:pt x="489" y="253"/>
                        </a:lnTo>
                        <a:lnTo>
                          <a:pt x="500" y="246"/>
                        </a:lnTo>
                        <a:lnTo>
                          <a:pt x="507" y="240"/>
                        </a:lnTo>
                        <a:lnTo>
                          <a:pt x="507" y="233"/>
                        </a:lnTo>
                        <a:lnTo>
                          <a:pt x="504" y="225"/>
                        </a:lnTo>
                        <a:lnTo>
                          <a:pt x="499" y="220"/>
                        </a:lnTo>
                        <a:lnTo>
                          <a:pt x="504" y="213"/>
                        </a:lnTo>
                        <a:lnTo>
                          <a:pt x="533" y="195"/>
                        </a:lnTo>
                        <a:lnTo>
                          <a:pt x="538" y="180"/>
                        </a:lnTo>
                        <a:lnTo>
                          <a:pt x="545" y="177"/>
                        </a:lnTo>
                        <a:lnTo>
                          <a:pt x="550" y="160"/>
                        </a:lnTo>
                        <a:lnTo>
                          <a:pt x="545" y="157"/>
                        </a:lnTo>
                        <a:lnTo>
                          <a:pt x="540" y="155"/>
                        </a:lnTo>
                        <a:lnTo>
                          <a:pt x="533" y="158"/>
                        </a:lnTo>
                        <a:lnTo>
                          <a:pt x="528" y="157"/>
                        </a:lnTo>
                        <a:lnTo>
                          <a:pt x="522" y="148"/>
                        </a:lnTo>
                        <a:lnTo>
                          <a:pt x="522" y="155"/>
                        </a:lnTo>
                        <a:lnTo>
                          <a:pt x="517" y="157"/>
                        </a:lnTo>
                        <a:lnTo>
                          <a:pt x="517" y="143"/>
                        </a:lnTo>
                        <a:lnTo>
                          <a:pt x="505" y="137"/>
                        </a:lnTo>
                        <a:lnTo>
                          <a:pt x="502" y="127"/>
                        </a:lnTo>
                        <a:lnTo>
                          <a:pt x="509" y="112"/>
                        </a:lnTo>
                        <a:lnTo>
                          <a:pt x="507" y="99"/>
                        </a:lnTo>
                        <a:lnTo>
                          <a:pt x="490" y="105"/>
                        </a:lnTo>
                        <a:lnTo>
                          <a:pt x="489" y="99"/>
                        </a:lnTo>
                        <a:lnTo>
                          <a:pt x="494" y="94"/>
                        </a:lnTo>
                        <a:lnTo>
                          <a:pt x="495" y="85"/>
                        </a:lnTo>
                        <a:lnTo>
                          <a:pt x="497" y="80"/>
                        </a:lnTo>
                        <a:lnTo>
                          <a:pt x="504" y="75"/>
                        </a:lnTo>
                        <a:lnTo>
                          <a:pt x="504" y="67"/>
                        </a:lnTo>
                        <a:lnTo>
                          <a:pt x="499" y="60"/>
                        </a:lnTo>
                        <a:lnTo>
                          <a:pt x="492" y="62"/>
                        </a:lnTo>
                        <a:lnTo>
                          <a:pt x="489" y="67"/>
                        </a:lnTo>
                        <a:lnTo>
                          <a:pt x="477" y="70"/>
                        </a:lnTo>
                        <a:lnTo>
                          <a:pt x="467" y="65"/>
                        </a:lnTo>
                        <a:lnTo>
                          <a:pt x="462" y="49"/>
                        </a:lnTo>
                        <a:lnTo>
                          <a:pt x="454" y="35"/>
                        </a:lnTo>
                        <a:lnTo>
                          <a:pt x="442" y="30"/>
                        </a:lnTo>
                        <a:lnTo>
                          <a:pt x="437" y="22"/>
                        </a:lnTo>
                        <a:lnTo>
                          <a:pt x="429" y="14"/>
                        </a:lnTo>
                        <a:lnTo>
                          <a:pt x="419" y="2"/>
                        </a:lnTo>
                        <a:lnTo>
                          <a:pt x="404" y="0"/>
                        </a:lnTo>
                        <a:lnTo>
                          <a:pt x="401" y="9"/>
                        </a:lnTo>
                        <a:lnTo>
                          <a:pt x="394" y="15"/>
                        </a:lnTo>
                        <a:lnTo>
                          <a:pt x="389" y="25"/>
                        </a:lnTo>
                        <a:lnTo>
                          <a:pt x="379" y="32"/>
                        </a:lnTo>
                        <a:lnTo>
                          <a:pt x="369" y="32"/>
                        </a:lnTo>
                        <a:lnTo>
                          <a:pt x="351" y="34"/>
                        </a:lnTo>
                        <a:lnTo>
                          <a:pt x="342" y="25"/>
                        </a:lnTo>
                        <a:lnTo>
                          <a:pt x="337" y="19"/>
                        </a:lnTo>
                        <a:lnTo>
                          <a:pt x="327" y="25"/>
                        </a:lnTo>
                        <a:lnTo>
                          <a:pt x="319" y="27"/>
                        </a:lnTo>
                        <a:lnTo>
                          <a:pt x="316" y="34"/>
                        </a:lnTo>
                        <a:lnTo>
                          <a:pt x="311" y="39"/>
                        </a:lnTo>
                        <a:lnTo>
                          <a:pt x="304" y="45"/>
                        </a:lnTo>
                        <a:lnTo>
                          <a:pt x="296" y="44"/>
                        </a:lnTo>
                        <a:lnTo>
                          <a:pt x="284" y="42"/>
                        </a:lnTo>
                        <a:lnTo>
                          <a:pt x="278" y="40"/>
                        </a:lnTo>
                        <a:lnTo>
                          <a:pt x="273" y="44"/>
                        </a:lnTo>
                        <a:lnTo>
                          <a:pt x="259" y="37"/>
                        </a:lnTo>
                        <a:lnTo>
                          <a:pt x="254" y="44"/>
                        </a:lnTo>
                        <a:lnTo>
                          <a:pt x="251" y="44"/>
                        </a:lnTo>
                        <a:lnTo>
                          <a:pt x="241" y="42"/>
                        </a:lnTo>
                        <a:lnTo>
                          <a:pt x="236" y="37"/>
                        </a:lnTo>
                        <a:lnTo>
                          <a:pt x="228" y="37"/>
                        </a:lnTo>
                        <a:lnTo>
                          <a:pt x="221" y="32"/>
                        </a:lnTo>
                        <a:lnTo>
                          <a:pt x="218" y="40"/>
                        </a:lnTo>
                        <a:lnTo>
                          <a:pt x="214" y="45"/>
                        </a:lnTo>
                        <a:lnTo>
                          <a:pt x="208" y="45"/>
                        </a:lnTo>
                        <a:lnTo>
                          <a:pt x="201" y="44"/>
                        </a:lnTo>
                        <a:lnTo>
                          <a:pt x="191" y="32"/>
                        </a:lnTo>
                        <a:lnTo>
                          <a:pt x="181" y="30"/>
                        </a:lnTo>
                        <a:lnTo>
                          <a:pt x="176" y="35"/>
                        </a:lnTo>
                        <a:lnTo>
                          <a:pt x="184" y="42"/>
                        </a:lnTo>
                        <a:lnTo>
                          <a:pt x="186" y="50"/>
                        </a:lnTo>
                        <a:lnTo>
                          <a:pt x="193" y="57"/>
                        </a:lnTo>
                        <a:lnTo>
                          <a:pt x="189" y="62"/>
                        </a:lnTo>
                        <a:lnTo>
                          <a:pt x="178" y="79"/>
                        </a:lnTo>
                        <a:lnTo>
                          <a:pt x="180" y="89"/>
                        </a:lnTo>
                        <a:lnTo>
                          <a:pt x="191" y="90"/>
                        </a:lnTo>
                        <a:lnTo>
                          <a:pt x="194" y="84"/>
                        </a:lnTo>
                        <a:lnTo>
                          <a:pt x="199" y="80"/>
                        </a:lnTo>
                        <a:lnTo>
                          <a:pt x="206" y="87"/>
                        </a:lnTo>
                        <a:lnTo>
                          <a:pt x="219" y="92"/>
                        </a:lnTo>
                        <a:lnTo>
                          <a:pt x="223" y="82"/>
                        </a:lnTo>
                        <a:lnTo>
                          <a:pt x="226" y="95"/>
                        </a:lnTo>
                        <a:lnTo>
                          <a:pt x="236" y="107"/>
                        </a:lnTo>
                        <a:lnTo>
                          <a:pt x="246" y="105"/>
                        </a:lnTo>
                        <a:lnTo>
                          <a:pt x="259" y="117"/>
                        </a:lnTo>
                        <a:lnTo>
                          <a:pt x="251" y="122"/>
                        </a:lnTo>
                        <a:lnTo>
                          <a:pt x="251" y="132"/>
                        </a:lnTo>
                        <a:lnTo>
                          <a:pt x="253" y="140"/>
                        </a:lnTo>
                        <a:lnTo>
                          <a:pt x="248" y="145"/>
                        </a:lnTo>
                        <a:lnTo>
                          <a:pt x="241" y="143"/>
                        </a:lnTo>
                        <a:lnTo>
                          <a:pt x="238" y="152"/>
                        </a:lnTo>
                        <a:lnTo>
                          <a:pt x="233" y="148"/>
                        </a:lnTo>
                        <a:lnTo>
                          <a:pt x="224" y="155"/>
                        </a:lnTo>
                        <a:lnTo>
                          <a:pt x="226" y="162"/>
                        </a:lnTo>
                        <a:lnTo>
                          <a:pt x="223" y="175"/>
                        </a:lnTo>
                        <a:lnTo>
                          <a:pt x="204" y="178"/>
                        </a:lnTo>
                        <a:lnTo>
                          <a:pt x="206" y="192"/>
                        </a:lnTo>
                        <a:lnTo>
                          <a:pt x="194" y="202"/>
                        </a:lnTo>
                        <a:lnTo>
                          <a:pt x="189" y="223"/>
                        </a:lnTo>
                        <a:lnTo>
                          <a:pt x="161" y="233"/>
                        </a:lnTo>
                        <a:lnTo>
                          <a:pt x="155" y="243"/>
                        </a:lnTo>
                        <a:lnTo>
                          <a:pt x="146" y="228"/>
                        </a:lnTo>
                        <a:lnTo>
                          <a:pt x="141" y="235"/>
                        </a:lnTo>
                        <a:lnTo>
                          <a:pt x="130" y="236"/>
                        </a:lnTo>
                        <a:lnTo>
                          <a:pt x="120" y="236"/>
                        </a:lnTo>
                        <a:lnTo>
                          <a:pt x="115" y="245"/>
                        </a:lnTo>
                        <a:lnTo>
                          <a:pt x="115" y="263"/>
                        </a:lnTo>
                        <a:lnTo>
                          <a:pt x="103" y="273"/>
                        </a:lnTo>
                        <a:lnTo>
                          <a:pt x="98" y="295"/>
                        </a:lnTo>
                        <a:lnTo>
                          <a:pt x="90" y="286"/>
                        </a:lnTo>
                        <a:lnTo>
                          <a:pt x="86" y="293"/>
                        </a:lnTo>
                        <a:lnTo>
                          <a:pt x="86" y="300"/>
                        </a:lnTo>
                        <a:lnTo>
                          <a:pt x="81" y="306"/>
                        </a:lnTo>
                        <a:lnTo>
                          <a:pt x="80" y="311"/>
                        </a:lnTo>
                        <a:lnTo>
                          <a:pt x="85" y="326"/>
                        </a:lnTo>
                        <a:lnTo>
                          <a:pt x="78" y="338"/>
                        </a:lnTo>
                        <a:lnTo>
                          <a:pt x="68" y="341"/>
                        </a:lnTo>
                        <a:lnTo>
                          <a:pt x="66" y="359"/>
                        </a:lnTo>
                        <a:lnTo>
                          <a:pt x="66" y="383"/>
                        </a:lnTo>
                        <a:lnTo>
                          <a:pt x="60" y="398"/>
                        </a:lnTo>
                        <a:lnTo>
                          <a:pt x="60" y="408"/>
                        </a:lnTo>
                        <a:lnTo>
                          <a:pt x="30" y="428"/>
                        </a:lnTo>
                        <a:lnTo>
                          <a:pt x="30" y="437"/>
                        </a:lnTo>
                        <a:lnTo>
                          <a:pt x="33" y="444"/>
                        </a:lnTo>
                        <a:lnTo>
                          <a:pt x="27" y="452"/>
                        </a:lnTo>
                        <a:lnTo>
                          <a:pt x="35" y="459"/>
                        </a:lnTo>
                        <a:lnTo>
                          <a:pt x="40" y="457"/>
                        </a:lnTo>
                        <a:lnTo>
                          <a:pt x="43" y="474"/>
                        </a:lnTo>
                        <a:lnTo>
                          <a:pt x="43" y="491"/>
                        </a:lnTo>
                        <a:lnTo>
                          <a:pt x="47" y="494"/>
                        </a:lnTo>
                        <a:lnTo>
                          <a:pt x="38" y="499"/>
                        </a:lnTo>
                        <a:lnTo>
                          <a:pt x="30" y="502"/>
                        </a:lnTo>
                        <a:lnTo>
                          <a:pt x="35" y="507"/>
                        </a:lnTo>
                        <a:lnTo>
                          <a:pt x="42" y="507"/>
                        </a:lnTo>
                        <a:lnTo>
                          <a:pt x="48" y="507"/>
                        </a:lnTo>
                        <a:lnTo>
                          <a:pt x="48" y="521"/>
                        </a:lnTo>
                        <a:lnTo>
                          <a:pt x="47" y="529"/>
                        </a:lnTo>
                        <a:lnTo>
                          <a:pt x="50" y="542"/>
                        </a:lnTo>
                        <a:lnTo>
                          <a:pt x="48" y="547"/>
                        </a:lnTo>
                        <a:lnTo>
                          <a:pt x="33" y="552"/>
                        </a:lnTo>
                        <a:lnTo>
                          <a:pt x="23" y="554"/>
                        </a:lnTo>
                        <a:lnTo>
                          <a:pt x="18" y="557"/>
                        </a:lnTo>
                        <a:lnTo>
                          <a:pt x="23" y="567"/>
                        </a:lnTo>
                        <a:lnTo>
                          <a:pt x="20" y="572"/>
                        </a:lnTo>
                        <a:lnTo>
                          <a:pt x="22" y="575"/>
                        </a:lnTo>
                        <a:lnTo>
                          <a:pt x="27" y="575"/>
                        </a:lnTo>
                        <a:lnTo>
                          <a:pt x="37" y="572"/>
                        </a:lnTo>
                        <a:lnTo>
                          <a:pt x="43" y="580"/>
                        </a:lnTo>
                        <a:lnTo>
                          <a:pt x="42" y="590"/>
                        </a:lnTo>
                        <a:lnTo>
                          <a:pt x="42" y="599"/>
                        </a:lnTo>
                        <a:lnTo>
                          <a:pt x="37" y="605"/>
                        </a:lnTo>
                        <a:lnTo>
                          <a:pt x="32" y="600"/>
                        </a:lnTo>
                        <a:lnTo>
                          <a:pt x="22" y="602"/>
                        </a:lnTo>
                        <a:lnTo>
                          <a:pt x="22" y="609"/>
                        </a:lnTo>
                        <a:lnTo>
                          <a:pt x="33" y="610"/>
                        </a:lnTo>
                        <a:lnTo>
                          <a:pt x="37" y="612"/>
                        </a:lnTo>
                        <a:lnTo>
                          <a:pt x="28" y="619"/>
                        </a:lnTo>
                        <a:lnTo>
                          <a:pt x="22" y="620"/>
                        </a:lnTo>
                        <a:lnTo>
                          <a:pt x="22" y="625"/>
                        </a:lnTo>
                        <a:lnTo>
                          <a:pt x="32" y="625"/>
                        </a:lnTo>
                        <a:lnTo>
                          <a:pt x="33" y="620"/>
                        </a:lnTo>
                        <a:lnTo>
                          <a:pt x="40" y="619"/>
                        </a:lnTo>
                        <a:lnTo>
                          <a:pt x="43" y="624"/>
                        </a:lnTo>
                        <a:lnTo>
                          <a:pt x="48" y="632"/>
                        </a:lnTo>
                        <a:lnTo>
                          <a:pt x="58" y="639"/>
                        </a:lnTo>
                        <a:lnTo>
                          <a:pt x="57" y="647"/>
                        </a:lnTo>
                        <a:lnTo>
                          <a:pt x="63" y="648"/>
                        </a:lnTo>
                        <a:lnTo>
                          <a:pt x="73" y="655"/>
                        </a:lnTo>
                        <a:lnTo>
                          <a:pt x="85" y="662"/>
                        </a:lnTo>
                        <a:lnTo>
                          <a:pt x="88" y="668"/>
                        </a:lnTo>
                        <a:lnTo>
                          <a:pt x="80" y="675"/>
                        </a:lnTo>
                        <a:lnTo>
                          <a:pt x="78" y="682"/>
                        </a:lnTo>
                        <a:lnTo>
                          <a:pt x="85" y="685"/>
                        </a:lnTo>
                        <a:lnTo>
                          <a:pt x="63" y="698"/>
                        </a:lnTo>
                        <a:lnTo>
                          <a:pt x="53" y="688"/>
                        </a:lnTo>
                        <a:lnTo>
                          <a:pt x="43" y="685"/>
                        </a:lnTo>
                        <a:lnTo>
                          <a:pt x="32" y="692"/>
                        </a:lnTo>
                        <a:lnTo>
                          <a:pt x="15" y="715"/>
                        </a:lnTo>
                        <a:lnTo>
                          <a:pt x="7" y="737"/>
                        </a:lnTo>
                        <a:lnTo>
                          <a:pt x="3" y="745"/>
                        </a:lnTo>
                        <a:lnTo>
                          <a:pt x="8" y="755"/>
                        </a:lnTo>
                        <a:lnTo>
                          <a:pt x="12" y="766"/>
                        </a:lnTo>
                        <a:lnTo>
                          <a:pt x="2" y="770"/>
                        </a:lnTo>
                        <a:lnTo>
                          <a:pt x="0" y="778"/>
                        </a:lnTo>
                        <a:lnTo>
                          <a:pt x="10" y="780"/>
                        </a:lnTo>
                        <a:lnTo>
                          <a:pt x="12" y="790"/>
                        </a:lnTo>
                        <a:lnTo>
                          <a:pt x="18" y="793"/>
                        </a:lnTo>
                        <a:lnTo>
                          <a:pt x="27" y="795"/>
                        </a:lnTo>
                        <a:lnTo>
                          <a:pt x="35" y="791"/>
                        </a:lnTo>
                        <a:lnTo>
                          <a:pt x="50" y="801"/>
                        </a:lnTo>
                        <a:lnTo>
                          <a:pt x="68" y="821"/>
                        </a:lnTo>
                        <a:lnTo>
                          <a:pt x="71" y="836"/>
                        </a:lnTo>
                        <a:lnTo>
                          <a:pt x="78" y="841"/>
                        </a:lnTo>
                        <a:lnTo>
                          <a:pt x="73" y="850"/>
                        </a:lnTo>
                        <a:lnTo>
                          <a:pt x="71" y="856"/>
                        </a:lnTo>
                        <a:lnTo>
                          <a:pt x="76" y="858"/>
                        </a:lnTo>
                        <a:lnTo>
                          <a:pt x="80" y="851"/>
                        </a:lnTo>
                        <a:lnTo>
                          <a:pt x="83" y="845"/>
                        </a:lnTo>
                        <a:lnTo>
                          <a:pt x="88" y="846"/>
                        </a:lnTo>
                        <a:lnTo>
                          <a:pt x="88" y="851"/>
                        </a:lnTo>
                        <a:lnTo>
                          <a:pt x="86" y="856"/>
                        </a:lnTo>
                        <a:lnTo>
                          <a:pt x="90" y="860"/>
                        </a:lnTo>
                        <a:lnTo>
                          <a:pt x="98" y="858"/>
                        </a:lnTo>
                        <a:lnTo>
                          <a:pt x="105" y="860"/>
                        </a:lnTo>
                        <a:lnTo>
                          <a:pt x="100" y="869"/>
                        </a:lnTo>
                        <a:lnTo>
                          <a:pt x="105" y="881"/>
                        </a:lnTo>
                        <a:lnTo>
                          <a:pt x="108" y="891"/>
                        </a:lnTo>
                        <a:lnTo>
                          <a:pt x="105" y="906"/>
                        </a:lnTo>
                        <a:lnTo>
                          <a:pt x="111" y="913"/>
                        </a:lnTo>
                        <a:lnTo>
                          <a:pt x="118" y="909"/>
                        </a:lnTo>
                        <a:lnTo>
                          <a:pt x="125" y="901"/>
                        </a:lnTo>
                        <a:lnTo>
                          <a:pt x="136" y="904"/>
                        </a:lnTo>
                        <a:lnTo>
                          <a:pt x="146" y="908"/>
                        </a:lnTo>
                        <a:lnTo>
                          <a:pt x="160" y="908"/>
                        </a:lnTo>
                        <a:lnTo>
                          <a:pt x="165" y="906"/>
                        </a:lnTo>
                        <a:lnTo>
                          <a:pt x="165" y="898"/>
                        </a:lnTo>
                        <a:lnTo>
                          <a:pt x="166" y="884"/>
                        </a:lnTo>
                        <a:lnTo>
                          <a:pt x="168" y="871"/>
                        </a:lnTo>
                        <a:lnTo>
                          <a:pt x="180" y="864"/>
                        </a:lnTo>
                        <a:lnTo>
                          <a:pt x="181" y="850"/>
                        </a:lnTo>
                        <a:lnTo>
                          <a:pt x="176" y="840"/>
                        </a:lnTo>
                        <a:lnTo>
                          <a:pt x="183" y="831"/>
                        </a:lnTo>
                        <a:lnTo>
                          <a:pt x="196" y="828"/>
                        </a:lnTo>
                        <a:lnTo>
                          <a:pt x="208" y="826"/>
                        </a:lnTo>
                        <a:lnTo>
                          <a:pt x="209" y="821"/>
                        </a:lnTo>
                        <a:lnTo>
                          <a:pt x="221" y="808"/>
                        </a:lnTo>
                        <a:lnTo>
                          <a:pt x="229" y="796"/>
                        </a:lnTo>
                        <a:lnTo>
                          <a:pt x="241" y="793"/>
                        </a:lnTo>
                        <a:lnTo>
                          <a:pt x="228" y="785"/>
                        </a:lnTo>
                        <a:lnTo>
                          <a:pt x="241" y="775"/>
                        </a:lnTo>
                        <a:lnTo>
                          <a:pt x="254" y="771"/>
                        </a:lnTo>
                        <a:lnTo>
                          <a:pt x="264" y="753"/>
                        </a:lnTo>
                        <a:lnTo>
                          <a:pt x="274" y="735"/>
                        </a:lnTo>
                        <a:lnTo>
                          <a:pt x="263" y="708"/>
                        </a:lnTo>
                        <a:lnTo>
                          <a:pt x="263" y="670"/>
                        </a:lnTo>
                        <a:lnTo>
                          <a:pt x="254" y="667"/>
                        </a:lnTo>
                        <a:lnTo>
                          <a:pt x="249" y="657"/>
                        </a:lnTo>
                        <a:lnTo>
                          <a:pt x="244" y="652"/>
                        </a:lnTo>
                        <a:lnTo>
                          <a:pt x="244" y="630"/>
                        </a:lnTo>
                        <a:lnTo>
                          <a:pt x="243" y="619"/>
                        </a:lnTo>
                        <a:lnTo>
                          <a:pt x="236" y="619"/>
                        </a:lnTo>
                        <a:lnTo>
                          <a:pt x="234" y="607"/>
                        </a:lnTo>
                        <a:lnTo>
                          <a:pt x="226" y="607"/>
                        </a:lnTo>
                        <a:lnTo>
                          <a:pt x="219" y="600"/>
                        </a:lnTo>
                        <a:lnTo>
                          <a:pt x="221" y="587"/>
                        </a:lnTo>
                        <a:lnTo>
                          <a:pt x="229" y="574"/>
                        </a:lnTo>
                        <a:lnTo>
                          <a:pt x="241" y="579"/>
                        </a:lnTo>
                        <a:lnTo>
                          <a:pt x="269" y="589"/>
                        </a:lnTo>
                        <a:lnTo>
                          <a:pt x="278" y="592"/>
                        </a:lnTo>
                        <a:lnTo>
                          <a:pt x="279" y="604"/>
                        </a:lnTo>
                        <a:lnTo>
                          <a:pt x="286" y="609"/>
                        </a:lnTo>
                        <a:lnTo>
                          <a:pt x="293" y="602"/>
                        </a:lnTo>
                        <a:lnTo>
                          <a:pt x="311" y="602"/>
                        </a:lnTo>
                        <a:lnTo>
                          <a:pt x="321" y="607"/>
                        </a:lnTo>
                        <a:lnTo>
                          <a:pt x="319" y="620"/>
                        </a:lnTo>
                        <a:lnTo>
                          <a:pt x="329" y="619"/>
                        </a:lnTo>
                        <a:lnTo>
                          <a:pt x="337" y="610"/>
                        </a:lnTo>
                        <a:lnTo>
                          <a:pt x="337" y="590"/>
                        </a:lnTo>
                        <a:lnTo>
                          <a:pt x="321" y="589"/>
                        </a:lnTo>
                        <a:lnTo>
                          <a:pt x="304" y="585"/>
                        </a:lnTo>
                        <a:lnTo>
                          <a:pt x="293" y="579"/>
                        </a:lnTo>
                        <a:lnTo>
                          <a:pt x="289" y="565"/>
                        </a:lnTo>
                        <a:lnTo>
                          <a:pt x="296" y="545"/>
                        </a:lnTo>
                        <a:lnTo>
                          <a:pt x="289" y="537"/>
                        </a:lnTo>
                        <a:lnTo>
                          <a:pt x="289" y="537"/>
                        </a:lnTo>
                        <a:lnTo>
                          <a:pt x="289" y="537"/>
                        </a:lnTo>
                        <a:close/>
                      </a:path>
                    </a:pathLst>
                  </a:custGeom>
                  <a:solidFill>
                    <a:schemeClr val="accent1">
                      <a:lumMod val="20000"/>
                      <a:lumOff val="80000"/>
                    </a:schemeClr>
                  </a:solid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39" name="Freeform 1124">
                    <a:extLst>
                      <a:ext uri="{FF2B5EF4-FFF2-40B4-BE49-F238E27FC236}">
                        <a16:creationId xmlns:a16="http://schemas.microsoft.com/office/drawing/2014/main" id="{9167C119-7C16-42ED-AF41-40963D1379FB}"/>
                      </a:ext>
                    </a:extLst>
                  </p:cNvPr>
                  <p:cNvSpPr>
                    <a:spLocks/>
                  </p:cNvSpPr>
                  <p:nvPr/>
                </p:nvSpPr>
                <p:spPr bwMode="auto">
                  <a:xfrm>
                    <a:off x="3064000" y="5038998"/>
                    <a:ext cx="107024" cy="163026"/>
                  </a:xfrm>
                  <a:custGeom>
                    <a:avLst/>
                    <a:gdLst>
                      <a:gd name="T0" fmla="*/ 56 w 86"/>
                      <a:gd name="T1" fmla="*/ 131 h 131"/>
                      <a:gd name="T2" fmla="*/ 63 w 86"/>
                      <a:gd name="T3" fmla="*/ 126 h 131"/>
                      <a:gd name="T4" fmla="*/ 69 w 86"/>
                      <a:gd name="T5" fmla="*/ 124 h 131"/>
                      <a:gd name="T6" fmla="*/ 74 w 86"/>
                      <a:gd name="T7" fmla="*/ 117 h 131"/>
                      <a:gd name="T8" fmla="*/ 76 w 86"/>
                      <a:gd name="T9" fmla="*/ 108 h 131"/>
                      <a:gd name="T10" fmla="*/ 76 w 86"/>
                      <a:gd name="T11" fmla="*/ 101 h 131"/>
                      <a:gd name="T12" fmla="*/ 81 w 86"/>
                      <a:gd name="T13" fmla="*/ 96 h 131"/>
                      <a:gd name="T14" fmla="*/ 81 w 86"/>
                      <a:gd name="T15" fmla="*/ 89 h 131"/>
                      <a:gd name="T16" fmla="*/ 76 w 86"/>
                      <a:gd name="T17" fmla="*/ 84 h 131"/>
                      <a:gd name="T18" fmla="*/ 71 w 86"/>
                      <a:gd name="T19" fmla="*/ 83 h 131"/>
                      <a:gd name="T20" fmla="*/ 78 w 86"/>
                      <a:gd name="T21" fmla="*/ 78 h 131"/>
                      <a:gd name="T22" fmla="*/ 84 w 86"/>
                      <a:gd name="T23" fmla="*/ 78 h 131"/>
                      <a:gd name="T24" fmla="*/ 86 w 86"/>
                      <a:gd name="T25" fmla="*/ 71 h 131"/>
                      <a:gd name="T26" fmla="*/ 83 w 86"/>
                      <a:gd name="T27" fmla="*/ 64 h 131"/>
                      <a:gd name="T28" fmla="*/ 78 w 86"/>
                      <a:gd name="T29" fmla="*/ 61 h 131"/>
                      <a:gd name="T30" fmla="*/ 76 w 86"/>
                      <a:gd name="T31" fmla="*/ 53 h 131"/>
                      <a:gd name="T32" fmla="*/ 74 w 86"/>
                      <a:gd name="T33" fmla="*/ 44 h 131"/>
                      <a:gd name="T34" fmla="*/ 78 w 86"/>
                      <a:gd name="T35" fmla="*/ 36 h 131"/>
                      <a:gd name="T36" fmla="*/ 79 w 86"/>
                      <a:gd name="T37" fmla="*/ 26 h 131"/>
                      <a:gd name="T38" fmla="*/ 76 w 86"/>
                      <a:gd name="T39" fmla="*/ 23 h 131"/>
                      <a:gd name="T40" fmla="*/ 65 w 86"/>
                      <a:gd name="T41" fmla="*/ 24 h 131"/>
                      <a:gd name="T42" fmla="*/ 56 w 86"/>
                      <a:gd name="T43" fmla="*/ 24 h 131"/>
                      <a:gd name="T44" fmla="*/ 46 w 86"/>
                      <a:gd name="T45" fmla="*/ 29 h 131"/>
                      <a:gd name="T46" fmla="*/ 35 w 86"/>
                      <a:gd name="T47" fmla="*/ 28 h 131"/>
                      <a:gd name="T48" fmla="*/ 35 w 86"/>
                      <a:gd name="T49" fmla="*/ 11 h 131"/>
                      <a:gd name="T50" fmla="*/ 30 w 86"/>
                      <a:gd name="T51" fmla="*/ 8 h 131"/>
                      <a:gd name="T52" fmla="*/ 21 w 86"/>
                      <a:gd name="T53" fmla="*/ 6 h 131"/>
                      <a:gd name="T54" fmla="*/ 21 w 86"/>
                      <a:gd name="T55" fmla="*/ 0 h 131"/>
                      <a:gd name="T56" fmla="*/ 16 w 86"/>
                      <a:gd name="T57" fmla="*/ 0 h 131"/>
                      <a:gd name="T58" fmla="*/ 8 w 86"/>
                      <a:gd name="T59" fmla="*/ 4 h 131"/>
                      <a:gd name="T60" fmla="*/ 0 w 86"/>
                      <a:gd name="T61" fmla="*/ 13 h 131"/>
                      <a:gd name="T62" fmla="*/ 5 w 86"/>
                      <a:gd name="T63" fmla="*/ 19 h 131"/>
                      <a:gd name="T64" fmla="*/ 6 w 86"/>
                      <a:gd name="T65" fmla="*/ 38 h 131"/>
                      <a:gd name="T66" fmla="*/ 11 w 86"/>
                      <a:gd name="T67" fmla="*/ 48 h 131"/>
                      <a:gd name="T68" fmla="*/ 16 w 86"/>
                      <a:gd name="T69" fmla="*/ 51 h 131"/>
                      <a:gd name="T70" fmla="*/ 20 w 86"/>
                      <a:gd name="T71" fmla="*/ 56 h 131"/>
                      <a:gd name="T72" fmla="*/ 11 w 86"/>
                      <a:gd name="T73" fmla="*/ 56 h 131"/>
                      <a:gd name="T74" fmla="*/ 13 w 86"/>
                      <a:gd name="T75" fmla="*/ 63 h 131"/>
                      <a:gd name="T76" fmla="*/ 21 w 86"/>
                      <a:gd name="T77" fmla="*/ 66 h 131"/>
                      <a:gd name="T78" fmla="*/ 26 w 86"/>
                      <a:gd name="T79" fmla="*/ 71 h 131"/>
                      <a:gd name="T80" fmla="*/ 30 w 86"/>
                      <a:gd name="T81" fmla="*/ 84 h 131"/>
                      <a:gd name="T82" fmla="*/ 31 w 86"/>
                      <a:gd name="T83" fmla="*/ 96 h 131"/>
                      <a:gd name="T84" fmla="*/ 28 w 86"/>
                      <a:gd name="T85" fmla="*/ 103 h 131"/>
                      <a:gd name="T86" fmla="*/ 40 w 86"/>
                      <a:gd name="T87" fmla="*/ 116 h 131"/>
                      <a:gd name="T88" fmla="*/ 48 w 86"/>
                      <a:gd name="T89" fmla="*/ 126 h 131"/>
                      <a:gd name="T90" fmla="*/ 56 w 86"/>
                      <a:gd name="T91" fmla="*/ 131 h 131"/>
                      <a:gd name="T92" fmla="*/ 56 w 86"/>
                      <a:gd name="T93" fmla="*/ 131 h 131"/>
                      <a:gd name="T94" fmla="*/ 56 w 86"/>
                      <a:gd name="T9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 h="131">
                        <a:moveTo>
                          <a:pt x="56" y="131"/>
                        </a:moveTo>
                        <a:lnTo>
                          <a:pt x="63" y="126"/>
                        </a:lnTo>
                        <a:lnTo>
                          <a:pt x="69" y="124"/>
                        </a:lnTo>
                        <a:lnTo>
                          <a:pt x="74" y="117"/>
                        </a:lnTo>
                        <a:lnTo>
                          <a:pt x="76" y="108"/>
                        </a:lnTo>
                        <a:lnTo>
                          <a:pt x="76" y="101"/>
                        </a:lnTo>
                        <a:lnTo>
                          <a:pt x="81" y="96"/>
                        </a:lnTo>
                        <a:lnTo>
                          <a:pt x="81" y="89"/>
                        </a:lnTo>
                        <a:lnTo>
                          <a:pt x="76" y="84"/>
                        </a:lnTo>
                        <a:lnTo>
                          <a:pt x="71" y="83"/>
                        </a:lnTo>
                        <a:lnTo>
                          <a:pt x="78" y="78"/>
                        </a:lnTo>
                        <a:lnTo>
                          <a:pt x="84" y="78"/>
                        </a:lnTo>
                        <a:lnTo>
                          <a:pt x="86" y="71"/>
                        </a:lnTo>
                        <a:lnTo>
                          <a:pt x="83" y="64"/>
                        </a:lnTo>
                        <a:lnTo>
                          <a:pt x="78" y="61"/>
                        </a:lnTo>
                        <a:lnTo>
                          <a:pt x="76" y="53"/>
                        </a:lnTo>
                        <a:lnTo>
                          <a:pt x="74" y="44"/>
                        </a:lnTo>
                        <a:lnTo>
                          <a:pt x="78" y="36"/>
                        </a:lnTo>
                        <a:lnTo>
                          <a:pt x="79" y="26"/>
                        </a:lnTo>
                        <a:lnTo>
                          <a:pt x="76" y="23"/>
                        </a:lnTo>
                        <a:lnTo>
                          <a:pt x="65" y="24"/>
                        </a:lnTo>
                        <a:lnTo>
                          <a:pt x="56" y="24"/>
                        </a:lnTo>
                        <a:lnTo>
                          <a:pt x="46" y="29"/>
                        </a:lnTo>
                        <a:lnTo>
                          <a:pt x="35" y="28"/>
                        </a:lnTo>
                        <a:lnTo>
                          <a:pt x="35" y="11"/>
                        </a:lnTo>
                        <a:lnTo>
                          <a:pt x="30" y="8"/>
                        </a:lnTo>
                        <a:lnTo>
                          <a:pt x="21" y="6"/>
                        </a:lnTo>
                        <a:lnTo>
                          <a:pt x="21" y="0"/>
                        </a:lnTo>
                        <a:lnTo>
                          <a:pt x="16" y="0"/>
                        </a:lnTo>
                        <a:lnTo>
                          <a:pt x="8" y="4"/>
                        </a:lnTo>
                        <a:lnTo>
                          <a:pt x="0" y="13"/>
                        </a:lnTo>
                        <a:lnTo>
                          <a:pt x="5" y="19"/>
                        </a:lnTo>
                        <a:lnTo>
                          <a:pt x="6" y="38"/>
                        </a:lnTo>
                        <a:lnTo>
                          <a:pt x="11" y="48"/>
                        </a:lnTo>
                        <a:lnTo>
                          <a:pt x="16" y="51"/>
                        </a:lnTo>
                        <a:lnTo>
                          <a:pt x="20" y="56"/>
                        </a:lnTo>
                        <a:lnTo>
                          <a:pt x="11" y="56"/>
                        </a:lnTo>
                        <a:lnTo>
                          <a:pt x="13" y="63"/>
                        </a:lnTo>
                        <a:lnTo>
                          <a:pt x="21" y="66"/>
                        </a:lnTo>
                        <a:lnTo>
                          <a:pt x="26" y="71"/>
                        </a:lnTo>
                        <a:lnTo>
                          <a:pt x="30" y="84"/>
                        </a:lnTo>
                        <a:lnTo>
                          <a:pt x="31" y="96"/>
                        </a:lnTo>
                        <a:lnTo>
                          <a:pt x="28" y="103"/>
                        </a:lnTo>
                        <a:lnTo>
                          <a:pt x="40" y="116"/>
                        </a:lnTo>
                        <a:lnTo>
                          <a:pt x="48" y="126"/>
                        </a:lnTo>
                        <a:lnTo>
                          <a:pt x="56" y="131"/>
                        </a:lnTo>
                        <a:lnTo>
                          <a:pt x="56" y="131"/>
                        </a:lnTo>
                        <a:lnTo>
                          <a:pt x="56" y="131"/>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40" name="Freeform 1131">
                    <a:extLst>
                      <a:ext uri="{FF2B5EF4-FFF2-40B4-BE49-F238E27FC236}">
                        <a16:creationId xmlns:a16="http://schemas.microsoft.com/office/drawing/2014/main" id="{B8C97196-3B3C-4DD0-AE5E-06F61375DA08}"/>
                      </a:ext>
                    </a:extLst>
                  </p:cNvPr>
                  <p:cNvSpPr>
                    <a:spLocks/>
                  </p:cNvSpPr>
                  <p:nvPr/>
                </p:nvSpPr>
                <p:spPr bwMode="auto">
                  <a:xfrm>
                    <a:off x="3663835" y="2710595"/>
                    <a:ext cx="82135" cy="78401"/>
                  </a:xfrm>
                  <a:custGeom>
                    <a:avLst/>
                    <a:gdLst>
                      <a:gd name="T0" fmla="*/ 58 w 66"/>
                      <a:gd name="T1" fmla="*/ 54 h 63"/>
                      <a:gd name="T2" fmla="*/ 63 w 66"/>
                      <a:gd name="T3" fmla="*/ 43 h 63"/>
                      <a:gd name="T4" fmla="*/ 66 w 66"/>
                      <a:gd name="T5" fmla="*/ 33 h 63"/>
                      <a:gd name="T6" fmla="*/ 63 w 66"/>
                      <a:gd name="T7" fmla="*/ 25 h 63"/>
                      <a:gd name="T8" fmla="*/ 56 w 66"/>
                      <a:gd name="T9" fmla="*/ 23 h 63"/>
                      <a:gd name="T10" fmla="*/ 53 w 66"/>
                      <a:gd name="T11" fmla="*/ 16 h 63"/>
                      <a:gd name="T12" fmla="*/ 46 w 66"/>
                      <a:gd name="T13" fmla="*/ 15 h 63"/>
                      <a:gd name="T14" fmla="*/ 44 w 66"/>
                      <a:gd name="T15" fmla="*/ 10 h 63"/>
                      <a:gd name="T16" fmla="*/ 41 w 66"/>
                      <a:gd name="T17" fmla="*/ 3 h 63"/>
                      <a:gd name="T18" fmla="*/ 38 w 66"/>
                      <a:gd name="T19" fmla="*/ 0 h 63"/>
                      <a:gd name="T20" fmla="*/ 28 w 66"/>
                      <a:gd name="T21" fmla="*/ 0 h 63"/>
                      <a:gd name="T22" fmla="*/ 25 w 66"/>
                      <a:gd name="T23" fmla="*/ 5 h 63"/>
                      <a:gd name="T24" fmla="*/ 16 w 66"/>
                      <a:gd name="T25" fmla="*/ 5 h 63"/>
                      <a:gd name="T26" fmla="*/ 11 w 66"/>
                      <a:gd name="T27" fmla="*/ 6 h 63"/>
                      <a:gd name="T28" fmla="*/ 13 w 66"/>
                      <a:gd name="T29" fmla="*/ 21 h 63"/>
                      <a:gd name="T30" fmla="*/ 13 w 66"/>
                      <a:gd name="T31" fmla="*/ 30 h 63"/>
                      <a:gd name="T32" fmla="*/ 3 w 66"/>
                      <a:gd name="T33" fmla="*/ 38 h 63"/>
                      <a:gd name="T34" fmla="*/ 0 w 66"/>
                      <a:gd name="T35" fmla="*/ 44 h 63"/>
                      <a:gd name="T36" fmla="*/ 1 w 66"/>
                      <a:gd name="T37" fmla="*/ 53 h 63"/>
                      <a:gd name="T38" fmla="*/ 8 w 66"/>
                      <a:gd name="T39" fmla="*/ 53 h 63"/>
                      <a:gd name="T40" fmla="*/ 23 w 66"/>
                      <a:gd name="T41" fmla="*/ 51 h 63"/>
                      <a:gd name="T42" fmla="*/ 30 w 66"/>
                      <a:gd name="T43" fmla="*/ 53 h 63"/>
                      <a:gd name="T44" fmla="*/ 38 w 66"/>
                      <a:gd name="T45" fmla="*/ 63 h 63"/>
                      <a:gd name="T46" fmla="*/ 48 w 66"/>
                      <a:gd name="T47" fmla="*/ 61 h 63"/>
                      <a:gd name="T48" fmla="*/ 49 w 66"/>
                      <a:gd name="T49" fmla="*/ 54 h 63"/>
                      <a:gd name="T50" fmla="*/ 58 w 66"/>
                      <a:gd name="T51" fmla="*/ 54 h 63"/>
                      <a:gd name="T52" fmla="*/ 58 w 66"/>
                      <a:gd name="T53" fmla="*/ 54 h 63"/>
                      <a:gd name="T54" fmla="*/ 58 w 66"/>
                      <a:gd name="T55" fmla="*/ 5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6" h="63">
                        <a:moveTo>
                          <a:pt x="58" y="54"/>
                        </a:moveTo>
                        <a:lnTo>
                          <a:pt x="63" y="43"/>
                        </a:lnTo>
                        <a:lnTo>
                          <a:pt x="66" y="33"/>
                        </a:lnTo>
                        <a:lnTo>
                          <a:pt x="63" y="25"/>
                        </a:lnTo>
                        <a:lnTo>
                          <a:pt x="56" y="23"/>
                        </a:lnTo>
                        <a:lnTo>
                          <a:pt x="53" y="16"/>
                        </a:lnTo>
                        <a:lnTo>
                          <a:pt x="46" y="15"/>
                        </a:lnTo>
                        <a:lnTo>
                          <a:pt x="44" y="10"/>
                        </a:lnTo>
                        <a:lnTo>
                          <a:pt x="41" y="3"/>
                        </a:lnTo>
                        <a:lnTo>
                          <a:pt x="38" y="0"/>
                        </a:lnTo>
                        <a:lnTo>
                          <a:pt x="28" y="0"/>
                        </a:lnTo>
                        <a:lnTo>
                          <a:pt x="25" y="5"/>
                        </a:lnTo>
                        <a:lnTo>
                          <a:pt x="16" y="5"/>
                        </a:lnTo>
                        <a:lnTo>
                          <a:pt x="11" y="6"/>
                        </a:lnTo>
                        <a:lnTo>
                          <a:pt x="13" y="21"/>
                        </a:lnTo>
                        <a:lnTo>
                          <a:pt x="13" y="30"/>
                        </a:lnTo>
                        <a:lnTo>
                          <a:pt x="3" y="38"/>
                        </a:lnTo>
                        <a:lnTo>
                          <a:pt x="0" y="44"/>
                        </a:lnTo>
                        <a:lnTo>
                          <a:pt x="1" y="53"/>
                        </a:lnTo>
                        <a:lnTo>
                          <a:pt x="8" y="53"/>
                        </a:lnTo>
                        <a:lnTo>
                          <a:pt x="23" y="51"/>
                        </a:lnTo>
                        <a:lnTo>
                          <a:pt x="30" y="53"/>
                        </a:lnTo>
                        <a:lnTo>
                          <a:pt x="38" y="63"/>
                        </a:lnTo>
                        <a:lnTo>
                          <a:pt x="48" y="61"/>
                        </a:lnTo>
                        <a:lnTo>
                          <a:pt x="49" y="54"/>
                        </a:lnTo>
                        <a:lnTo>
                          <a:pt x="58" y="54"/>
                        </a:lnTo>
                        <a:lnTo>
                          <a:pt x="58" y="54"/>
                        </a:lnTo>
                        <a:lnTo>
                          <a:pt x="58" y="54"/>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41" name="Freeform 1147">
                    <a:extLst>
                      <a:ext uri="{FF2B5EF4-FFF2-40B4-BE49-F238E27FC236}">
                        <a16:creationId xmlns:a16="http://schemas.microsoft.com/office/drawing/2014/main" id="{4D194462-39E3-427F-9152-4477611225CE}"/>
                      </a:ext>
                    </a:extLst>
                  </p:cNvPr>
                  <p:cNvSpPr>
                    <a:spLocks/>
                  </p:cNvSpPr>
                  <p:nvPr/>
                </p:nvSpPr>
                <p:spPr bwMode="auto">
                  <a:xfrm>
                    <a:off x="2968176" y="4217648"/>
                    <a:ext cx="52268" cy="44801"/>
                  </a:xfrm>
                  <a:custGeom>
                    <a:avLst/>
                    <a:gdLst>
                      <a:gd name="T0" fmla="*/ 33 w 42"/>
                      <a:gd name="T1" fmla="*/ 13 h 36"/>
                      <a:gd name="T2" fmla="*/ 38 w 42"/>
                      <a:gd name="T3" fmla="*/ 15 h 36"/>
                      <a:gd name="T4" fmla="*/ 38 w 42"/>
                      <a:gd name="T5" fmla="*/ 23 h 36"/>
                      <a:gd name="T6" fmla="*/ 42 w 42"/>
                      <a:gd name="T7" fmla="*/ 30 h 36"/>
                      <a:gd name="T8" fmla="*/ 38 w 42"/>
                      <a:gd name="T9" fmla="*/ 36 h 36"/>
                      <a:gd name="T10" fmla="*/ 33 w 42"/>
                      <a:gd name="T11" fmla="*/ 35 h 36"/>
                      <a:gd name="T12" fmla="*/ 29 w 42"/>
                      <a:gd name="T13" fmla="*/ 33 h 36"/>
                      <a:gd name="T14" fmla="*/ 22 w 42"/>
                      <a:gd name="T15" fmla="*/ 31 h 36"/>
                      <a:gd name="T16" fmla="*/ 19 w 42"/>
                      <a:gd name="T17" fmla="*/ 36 h 36"/>
                      <a:gd name="T18" fmla="*/ 15 w 42"/>
                      <a:gd name="T19" fmla="*/ 26 h 36"/>
                      <a:gd name="T20" fmla="*/ 10 w 42"/>
                      <a:gd name="T21" fmla="*/ 26 h 36"/>
                      <a:gd name="T22" fmla="*/ 7 w 42"/>
                      <a:gd name="T23" fmla="*/ 23 h 36"/>
                      <a:gd name="T24" fmla="*/ 10 w 42"/>
                      <a:gd name="T25" fmla="*/ 16 h 36"/>
                      <a:gd name="T26" fmla="*/ 5 w 42"/>
                      <a:gd name="T27" fmla="*/ 13 h 36"/>
                      <a:gd name="T28" fmla="*/ 0 w 42"/>
                      <a:gd name="T29" fmla="*/ 12 h 36"/>
                      <a:gd name="T30" fmla="*/ 4 w 42"/>
                      <a:gd name="T31" fmla="*/ 5 h 36"/>
                      <a:gd name="T32" fmla="*/ 9 w 42"/>
                      <a:gd name="T33" fmla="*/ 0 h 36"/>
                      <a:gd name="T34" fmla="*/ 15 w 42"/>
                      <a:gd name="T35" fmla="*/ 0 h 36"/>
                      <a:gd name="T36" fmla="*/ 24 w 42"/>
                      <a:gd name="T37" fmla="*/ 3 h 36"/>
                      <a:gd name="T38" fmla="*/ 30 w 42"/>
                      <a:gd name="T39" fmla="*/ 3 h 36"/>
                      <a:gd name="T40" fmla="*/ 33 w 42"/>
                      <a:gd name="T41" fmla="*/ 8 h 36"/>
                      <a:gd name="T42" fmla="*/ 33 w 42"/>
                      <a:gd name="T43" fmla="*/ 13 h 36"/>
                      <a:gd name="T44" fmla="*/ 33 w 42"/>
                      <a:gd name="T45" fmla="*/ 13 h 36"/>
                      <a:gd name="T46" fmla="*/ 33 w 42"/>
                      <a:gd name="T47"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36">
                        <a:moveTo>
                          <a:pt x="33" y="13"/>
                        </a:moveTo>
                        <a:lnTo>
                          <a:pt x="38" y="15"/>
                        </a:lnTo>
                        <a:lnTo>
                          <a:pt x="38" y="23"/>
                        </a:lnTo>
                        <a:lnTo>
                          <a:pt x="42" y="30"/>
                        </a:lnTo>
                        <a:lnTo>
                          <a:pt x="38" y="36"/>
                        </a:lnTo>
                        <a:lnTo>
                          <a:pt x="33" y="35"/>
                        </a:lnTo>
                        <a:lnTo>
                          <a:pt x="29" y="33"/>
                        </a:lnTo>
                        <a:lnTo>
                          <a:pt x="22" y="31"/>
                        </a:lnTo>
                        <a:lnTo>
                          <a:pt x="19" y="36"/>
                        </a:lnTo>
                        <a:lnTo>
                          <a:pt x="15" y="26"/>
                        </a:lnTo>
                        <a:lnTo>
                          <a:pt x="10" y="26"/>
                        </a:lnTo>
                        <a:lnTo>
                          <a:pt x="7" y="23"/>
                        </a:lnTo>
                        <a:lnTo>
                          <a:pt x="10" y="16"/>
                        </a:lnTo>
                        <a:lnTo>
                          <a:pt x="5" y="13"/>
                        </a:lnTo>
                        <a:lnTo>
                          <a:pt x="0" y="12"/>
                        </a:lnTo>
                        <a:lnTo>
                          <a:pt x="4" y="5"/>
                        </a:lnTo>
                        <a:lnTo>
                          <a:pt x="9" y="0"/>
                        </a:lnTo>
                        <a:lnTo>
                          <a:pt x="15" y="0"/>
                        </a:lnTo>
                        <a:lnTo>
                          <a:pt x="24" y="3"/>
                        </a:lnTo>
                        <a:lnTo>
                          <a:pt x="30" y="3"/>
                        </a:lnTo>
                        <a:lnTo>
                          <a:pt x="33" y="8"/>
                        </a:lnTo>
                        <a:lnTo>
                          <a:pt x="33" y="13"/>
                        </a:lnTo>
                        <a:lnTo>
                          <a:pt x="33" y="13"/>
                        </a:lnTo>
                        <a:lnTo>
                          <a:pt x="33" y="13"/>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42" name="Freeform 1086">
                    <a:extLst>
                      <a:ext uri="{FF2B5EF4-FFF2-40B4-BE49-F238E27FC236}">
                        <a16:creationId xmlns:a16="http://schemas.microsoft.com/office/drawing/2014/main" id="{2A882E05-ABB4-4CB9-8F30-CCAD6DF5D626}"/>
                      </a:ext>
                    </a:extLst>
                  </p:cNvPr>
                  <p:cNvSpPr>
                    <a:spLocks/>
                  </p:cNvSpPr>
                  <p:nvPr/>
                </p:nvSpPr>
                <p:spPr bwMode="auto">
                  <a:xfrm>
                    <a:off x="5474539" y="3884130"/>
                    <a:ext cx="23645" cy="46046"/>
                  </a:xfrm>
                  <a:custGeom>
                    <a:avLst/>
                    <a:gdLst>
                      <a:gd name="T0" fmla="*/ 14 w 19"/>
                      <a:gd name="T1" fmla="*/ 35 h 37"/>
                      <a:gd name="T2" fmla="*/ 17 w 19"/>
                      <a:gd name="T3" fmla="*/ 25 h 37"/>
                      <a:gd name="T4" fmla="*/ 19 w 19"/>
                      <a:gd name="T5" fmla="*/ 15 h 37"/>
                      <a:gd name="T6" fmla="*/ 19 w 19"/>
                      <a:gd name="T7" fmla="*/ 9 h 37"/>
                      <a:gd name="T8" fmla="*/ 14 w 19"/>
                      <a:gd name="T9" fmla="*/ 0 h 37"/>
                      <a:gd name="T10" fmla="*/ 7 w 19"/>
                      <a:gd name="T11" fmla="*/ 12 h 37"/>
                      <a:gd name="T12" fmla="*/ 2 w 19"/>
                      <a:gd name="T13" fmla="*/ 27 h 37"/>
                      <a:gd name="T14" fmla="*/ 0 w 19"/>
                      <a:gd name="T15" fmla="*/ 30 h 37"/>
                      <a:gd name="T16" fmla="*/ 7 w 19"/>
                      <a:gd name="T17" fmla="*/ 37 h 37"/>
                      <a:gd name="T18" fmla="*/ 14 w 19"/>
                      <a:gd name="T19" fmla="*/ 35 h 37"/>
                      <a:gd name="T20" fmla="*/ 14 w 19"/>
                      <a:gd name="T21" fmla="*/ 35 h 37"/>
                      <a:gd name="T22" fmla="*/ 14 w 19"/>
                      <a:gd name="T23" fmla="*/ 3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7">
                        <a:moveTo>
                          <a:pt x="14" y="35"/>
                        </a:moveTo>
                        <a:lnTo>
                          <a:pt x="17" y="25"/>
                        </a:lnTo>
                        <a:lnTo>
                          <a:pt x="19" y="15"/>
                        </a:lnTo>
                        <a:lnTo>
                          <a:pt x="19" y="9"/>
                        </a:lnTo>
                        <a:lnTo>
                          <a:pt x="14" y="0"/>
                        </a:lnTo>
                        <a:lnTo>
                          <a:pt x="7" y="12"/>
                        </a:lnTo>
                        <a:lnTo>
                          <a:pt x="2" y="27"/>
                        </a:lnTo>
                        <a:lnTo>
                          <a:pt x="0" y="30"/>
                        </a:lnTo>
                        <a:lnTo>
                          <a:pt x="7" y="37"/>
                        </a:lnTo>
                        <a:lnTo>
                          <a:pt x="14" y="35"/>
                        </a:lnTo>
                        <a:lnTo>
                          <a:pt x="14" y="35"/>
                        </a:lnTo>
                        <a:lnTo>
                          <a:pt x="14" y="35"/>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43" name="Freeform 1088">
                    <a:extLst>
                      <a:ext uri="{FF2B5EF4-FFF2-40B4-BE49-F238E27FC236}">
                        <a16:creationId xmlns:a16="http://schemas.microsoft.com/office/drawing/2014/main" id="{A6225735-FC9F-494E-A2DD-6B0331405D26}"/>
                      </a:ext>
                    </a:extLst>
                  </p:cNvPr>
                  <p:cNvSpPr>
                    <a:spLocks/>
                  </p:cNvSpPr>
                  <p:nvPr/>
                </p:nvSpPr>
                <p:spPr bwMode="auto">
                  <a:xfrm>
                    <a:off x="5602719" y="3870441"/>
                    <a:ext cx="46046" cy="49779"/>
                  </a:xfrm>
                  <a:custGeom>
                    <a:avLst/>
                    <a:gdLst>
                      <a:gd name="T0" fmla="*/ 10 w 37"/>
                      <a:gd name="T1" fmla="*/ 35 h 40"/>
                      <a:gd name="T2" fmla="*/ 22 w 37"/>
                      <a:gd name="T3" fmla="*/ 40 h 40"/>
                      <a:gd name="T4" fmla="*/ 30 w 37"/>
                      <a:gd name="T5" fmla="*/ 40 h 40"/>
                      <a:gd name="T6" fmla="*/ 37 w 37"/>
                      <a:gd name="T7" fmla="*/ 35 h 40"/>
                      <a:gd name="T8" fmla="*/ 32 w 37"/>
                      <a:gd name="T9" fmla="*/ 26 h 40"/>
                      <a:gd name="T10" fmla="*/ 25 w 37"/>
                      <a:gd name="T11" fmla="*/ 20 h 40"/>
                      <a:gd name="T12" fmla="*/ 24 w 37"/>
                      <a:gd name="T13" fmla="*/ 15 h 40"/>
                      <a:gd name="T14" fmla="*/ 24 w 37"/>
                      <a:gd name="T15" fmla="*/ 8 h 40"/>
                      <a:gd name="T16" fmla="*/ 20 w 37"/>
                      <a:gd name="T17" fmla="*/ 1 h 40"/>
                      <a:gd name="T18" fmla="*/ 14 w 37"/>
                      <a:gd name="T19" fmla="*/ 0 h 40"/>
                      <a:gd name="T20" fmla="*/ 5 w 37"/>
                      <a:gd name="T21" fmla="*/ 0 h 40"/>
                      <a:gd name="T22" fmla="*/ 2 w 37"/>
                      <a:gd name="T23" fmla="*/ 5 h 40"/>
                      <a:gd name="T24" fmla="*/ 0 w 37"/>
                      <a:gd name="T25" fmla="*/ 13 h 40"/>
                      <a:gd name="T26" fmla="*/ 7 w 37"/>
                      <a:gd name="T27" fmla="*/ 20 h 40"/>
                      <a:gd name="T28" fmla="*/ 10 w 37"/>
                      <a:gd name="T29" fmla="*/ 35 h 40"/>
                      <a:gd name="T30" fmla="*/ 10 w 37"/>
                      <a:gd name="T31" fmla="*/ 35 h 40"/>
                      <a:gd name="T32" fmla="*/ 10 w 37"/>
                      <a:gd name="T33"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40">
                        <a:moveTo>
                          <a:pt x="10" y="35"/>
                        </a:moveTo>
                        <a:lnTo>
                          <a:pt x="22" y="40"/>
                        </a:lnTo>
                        <a:lnTo>
                          <a:pt x="30" y="40"/>
                        </a:lnTo>
                        <a:lnTo>
                          <a:pt x="37" y="35"/>
                        </a:lnTo>
                        <a:lnTo>
                          <a:pt x="32" y="26"/>
                        </a:lnTo>
                        <a:lnTo>
                          <a:pt x="25" y="20"/>
                        </a:lnTo>
                        <a:lnTo>
                          <a:pt x="24" y="15"/>
                        </a:lnTo>
                        <a:lnTo>
                          <a:pt x="24" y="8"/>
                        </a:lnTo>
                        <a:lnTo>
                          <a:pt x="20" y="1"/>
                        </a:lnTo>
                        <a:lnTo>
                          <a:pt x="14" y="0"/>
                        </a:lnTo>
                        <a:lnTo>
                          <a:pt x="5" y="0"/>
                        </a:lnTo>
                        <a:lnTo>
                          <a:pt x="2" y="5"/>
                        </a:lnTo>
                        <a:lnTo>
                          <a:pt x="0" y="13"/>
                        </a:lnTo>
                        <a:lnTo>
                          <a:pt x="7" y="20"/>
                        </a:lnTo>
                        <a:lnTo>
                          <a:pt x="10" y="35"/>
                        </a:lnTo>
                        <a:lnTo>
                          <a:pt x="10" y="35"/>
                        </a:lnTo>
                        <a:lnTo>
                          <a:pt x="10" y="35"/>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44" name="Freeform 1090">
                    <a:extLst>
                      <a:ext uri="{FF2B5EF4-FFF2-40B4-BE49-F238E27FC236}">
                        <a16:creationId xmlns:a16="http://schemas.microsoft.com/office/drawing/2014/main" id="{AE3E0AC8-86A2-4A45-BC59-63700572A585}"/>
                      </a:ext>
                    </a:extLst>
                  </p:cNvPr>
                  <p:cNvSpPr>
                    <a:spLocks/>
                  </p:cNvSpPr>
                  <p:nvPr/>
                </p:nvSpPr>
                <p:spPr bwMode="auto">
                  <a:xfrm>
                    <a:off x="5545474" y="3880397"/>
                    <a:ext cx="24889" cy="62223"/>
                  </a:xfrm>
                  <a:custGeom>
                    <a:avLst/>
                    <a:gdLst>
                      <a:gd name="T0" fmla="*/ 7 w 20"/>
                      <a:gd name="T1" fmla="*/ 50 h 50"/>
                      <a:gd name="T2" fmla="*/ 15 w 20"/>
                      <a:gd name="T3" fmla="*/ 43 h 50"/>
                      <a:gd name="T4" fmla="*/ 15 w 20"/>
                      <a:gd name="T5" fmla="*/ 35 h 50"/>
                      <a:gd name="T6" fmla="*/ 15 w 20"/>
                      <a:gd name="T7" fmla="*/ 27 h 50"/>
                      <a:gd name="T8" fmla="*/ 20 w 20"/>
                      <a:gd name="T9" fmla="*/ 17 h 50"/>
                      <a:gd name="T10" fmla="*/ 10 w 20"/>
                      <a:gd name="T11" fmla="*/ 12 h 50"/>
                      <a:gd name="T12" fmla="*/ 8 w 20"/>
                      <a:gd name="T13" fmla="*/ 0 h 50"/>
                      <a:gd name="T14" fmla="*/ 5 w 20"/>
                      <a:gd name="T15" fmla="*/ 10 h 50"/>
                      <a:gd name="T16" fmla="*/ 3 w 20"/>
                      <a:gd name="T17" fmla="*/ 20 h 50"/>
                      <a:gd name="T18" fmla="*/ 3 w 20"/>
                      <a:gd name="T19" fmla="*/ 32 h 50"/>
                      <a:gd name="T20" fmla="*/ 3 w 20"/>
                      <a:gd name="T21" fmla="*/ 43 h 50"/>
                      <a:gd name="T22" fmla="*/ 0 w 20"/>
                      <a:gd name="T23" fmla="*/ 48 h 50"/>
                      <a:gd name="T24" fmla="*/ 7 w 20"/>
                      <a:gd name="T25" fmla="*/ 50 h 50"/>
                      <a:gd name="T26" fmla="*/ 7 w 20"/>
                      <a:gd name="T27" fmla="*/ 50 h 50"/>
                      <a:gd name="T28" fmla="*/ 7 w 20"/>
                      <a:gd name="T29"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50">
                        <a:moveTo>
                          <a:pt x="7" y="50"/>
                        </a:moveTo>
                        <a:lnTo>
                          <a:pt x="15" y="43"/>
                        </a:lnTo>
                        <a:lnTo>
                          <a:pt x="15" y="35"/>
                        </a:lnTo>
                        <a:lnTo>
                          <a:pt x="15" y="27"/>
                        </a:lnTo>
                        <a:lnTo>
                          <a:pt x="20" y="17"/>
                        </a:lnTo>
                        <a:lnTo>
                          <a:pt x="10" y="12"/>
                        </a:lnTo>
                        <a:lnTo>
                          <a:pt x="8" y="0"/>
                        </a:lnTo>
                        <a:lnTo>
                          <a:pt x="5" y="10"/>
                        </a:lnTo>
                        <a:lnTo>
                          <a:pt x="3" y="20"/>
                        </a:lnTo>
                        <a:lnTo>
                          <a:pt x="3" y="32"/>
                        </a:lnTo>
                        <a:lnTo>
                          <a:pt x="3" y="43"/>
                        </a:lnTo>
                        <a:lnTo>
                          <a:pt x="0" y="48"/>
                        </a:lnTo>
                        <a:lnTo>
                          <a:pt x="7" y="50"/>
                        </a:lnTo>
                        <a:lnTo>
                          <a:pt x="7" y="50"/>
                        </a:lnTo>
                        <a:lnTo>
                          <a:pt x="7" y="5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45" name="Freeform 1092">
                    <a:extLst>
                      <a:ext uri="{FF2B5EF4-FFF2-40B4-BE49-F238E27FC236}">
                        <a16:creationId xmlns:a16="http://schemas.microsoft.com/office/drawing/2014/main" id="{EC3A98A8-2E4E-4855-AE37-7E38316B3AF6}"/>
                      </a:ext>
                    </a:extLst>
                  </p:cNvPr>
                  <p:cNvSpPr>
                    <a:spLocks/>
                  </p:cNvSpPr>
                  <p:nvPr/>
                </p:nvSpPr>
                <p:spPr bwMode="auto">
                  <a:xfrm>
                    <a:off x="5499428" y="3905286"/>
                    <a:ext cx="21156" cy="41068"/>
                  </a:xfrm>
                  <a:custGeom>
                    <a:avLst/>
                    <a:gdLst>
                      <a:gd name="T0" fmla="*/ 7 w 17"/>
                      <a:gd name="T1" fmla="*/ 27 h 33"/>
                      <a:gd name="T2" fmla="*/ 2 w 17"/>
                      <a:gd name="T3" fmla="*/ 25 h 33"/>
                      <a:gd name="T4" fmla="*/ 0 w 17"/>
                      <a:gd name="T5" fmla="*/ 17 h 33"/>
                      <a:gd name="T6" fmla="*/ 0 w 17"/>
                      <a:gd name="T7" fmla="*/ 10 h 33"/>
                      <a:gd name="T8" fmla="*/ 4 w 17"/>
                      <a:gd name="T9" fmla="*/ 3 h 33"/>
                      <a:gd name="T10" fmla="*/ 7 w 17"/>
                      <a:gd name="T11" fmla="*/ 0 h 33"/>
                      <a:gd name="T12" fmla="*/ 12 w 17"/>
                      <a:gd name="T13" fmla="*/ 5 h 33"/>
                      <a:gd name="T14" fmla="*/ 15 w 17"/>
                      <a:gd name="T15" fmla="*/ 12 h 33"/>
                      <a:gd name="T16" fmla="*/ 12 w 17"/>
                      <a:gd name="T17" fmla="*/ 20 h 33"/>
                      <a:gd name="T18" fmla="*/ 17 w 17"/>
                      <a:gd name="T19" fmla="*/ 30 h 33"/>
                      <a:gd name="T20" fmla="*/ 15 w 17"/>
                      <a:gd name="T21" fmla="*/ 33 h 33"/>
                      <a:gd name="T22" fmla="*/ 9 w 17"/>
                      <a:gd name="T23" fmla="*/ 33 h 33"/>
                      <a:gd name="T24" fmla="*/ 7 w 17"/>
                      <a:gd name="T25" fmla="*/ 27 h 33"/>
                      <a:gd name="T26" fmla="*/ 7 w 17"/>
                      <a:gd name="T27" fmla="*/ 27 h 33"/>
                      <a:gd name="T28" fmla="*/ 7 w 17"/>
                      <a:gd name="T29"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33">
                        <a:moveTo>
                          <a:pt x="7" y="27"/>
                        </a:moveTo>
                        <a:lnTo>
                          <a:pt x="2" y="25"/>
                        </a:lnTo>
                        <a:lnTo>
                          <a:pt x="0" y="17"/>
                        </a:lnTo>
                        <a:lnTo>
                          <a:pt x="0" y="10"/>
                        </a:lnTo>
                        <a:lnTo>
                          <a:pt x="4" y="3"/>
                        </a:lnTo>
                        <a:lnTo>
                          <a:pt x="7" y="0"/>
                        </a:lnTo>
                        <a:lnTo>
                          <a:pt x="12" y="5"/>
                        </a:lnTo>
                        <a:lnTo>
                          <a:pt x="15" y="12"/>
                        </a:lnTo>
                        <a:lnTo>
                          <a:pt x="12" y="20"/>
                        </a:lnTo>
                        <a:lnTo>
                          <a:pt x="17" y="30"/>
                        </a:lnTo>
                        <a:lnTo>
                          <a:pt x="15" y="33"/>
                        </a:lnTo>
                        <a:lnTo>
                          <a:pt x="9" y="33"/>
                        </a:lnTo>
                        <a:lnTo>
                          <a:pt x="7" y="27"/>
                        </a:lnTo>
                        <a:lnTo>
                          <a:pt x="7" y="27"/>
                        </a:lnTo>
                        <a:lnTo>
                          <a:pt x="7" y="27"/>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46" name="Freeform 1094">
                    <a:extLst>
                      <a:ext uri="{FF2B5EF4-FFF2-40B4-BE49-F238E27FC236}">
                        <a16:creationId xmlns:a16="http://schemas.microsoft.com/office/drawing/2014/main" id="{E722C95B-ED25-4337-8ECA-6C9294377E91}"/>
                      </a:ext>
                    </a:extLst>
                  </p:cNvPr>
                  <p:cNvSpPr>
                    <a:spLocks/>
                  </p:cNvSpPr>
                  <p:nvPr/>
                </p:nvSpPr>
                <p:spPr bwMode="auto">
                  <a:xfrm>
                    <a:off x="5577829" y="3874174"/>
                    <a:ext cx="29868" cy="59734"/>
                  </a:xfrm>
                  <a:custGeom>
                    <a:avLst/>
                    <a:gdLst>
                      <a:gd name="T0" fmla="*/ 24 w 24"/>
                      <a:gd name="T1" fmla="*/ 38 h 48"/>
                      <a:gd name="T2" fmla="*/ 24 w 24"/>
                      <a:gd name="T3" fmla="*/ 32 h 48"/>
                      <a:gd name="T4" fmla="*/ 22 w 24"/>
                      <a:gd name="T5" fmla="*/ 23 h 48"/>
                      <a:gd name="T6" fmla="*/ 17 w 24"/>
                      <a:gd name="T7" fmla="*/ 15 h 48"/>
                      <a:gd name="T8" fmla="*/ 17 w 24"/>
                      <a:gd name="T9" fmla="*/ 3 h 48"/>
                      <a:gd name="T10" fmla="*/ 7 w 24"/>
                      <a:gd name="T11" fmla="*/ 0 h 48"/>
                      <a:gd name="T12" fmla="*/ 0 w 24"/>
                      <a:gd name="T13" fmla="*/ 8 h 48"/>
                      <a:gd name="T14" fmla="*/ 5 w 24"/>
                      <a:gd name="T15" fmla="*/ 18 h 48"/>
                      <a:gd name="T16" fmla="*/ 0 w 24"/>
                      <a:gd name="T17" fmla="*/ 25 h 48"/>
                      <a:gd name="T18" fmla="*/ 0 w 24"/>
                      <a:gd name="T19" fmla="*/ 37 h 48"/>
                      <a:gd name="T20" fmla="*/ 4 w 24"/>
                      <a:gd name="T21" fmla="*/ 47 h 48"/>
                      <a:gd name="T22" fmla="*/ 9 w 24"/>
                      <a:gd name="T23" fmla="*/ 48 h 48"/>
                      <a:gd name="T24" fmla="*/ 15 w 24"/>
                      <a:gd name="T25" fmla="*/ 48 h 48"/>
                      <a:gd name="T26" fmla="*/ 15 w 24"/>
                      <a:gd name="T27" fmla="*/ 43 h 48"/>
                      <a:gd name="T28" fmla="*/ 10 w 24"/>
                      <a:gd name="T29" fmla="*/ 40 h 48"/>
                      <a:gd name="T30" fmla="*/ 14 w 24"/>
                      <a:gd name="T31" fmla="*/ 37 h 48"/>
                      <a:gd name="T32" fmla="*/ 20 w 24"/>
                      <a:gd name="T33" fmla="*/ 42 h 48"/>
                      <a:gd name="T34" fmla="*/ 24 w 24"/>
                      <a:gd name="T35" fmla="*/ 38 h 48"/>
                      <a:gd name="T36" fmla="*/ 24 w 24"/>
                      <a:gd name="T37" fmla="*/ 38 h 48"/>
                      <a:gd name="T38" fmla="*/ 24 w 24"/>
                      <a:gd name="T39"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48">
                        <a:moveTo>
                          <a:pt x="24" y="38"/>
                        </a:moveTo>
                        <a:lnTo>
                          <a:pt x="24" y="32"/>
                        </a:lnTo>
                        <a:lnTo>
                          <a:pt x="22" y="23"/>
                        </a:lnTo>
                        <a:lnTo>
                          <a:pt x="17" y="15"/>
                        </a:lnTo>
                        <a:lnTo>
                          <a:pt x="17" y="3"/>
                        </a:lnTo>
                        <a:lnTo>
                          <a:pt x="7" y="0"/>
                        </a:lnTo>
                        <a:lnTo>
                          <a:pt x="0" y="8"/>
                        </a:lnTo>
                        <a:lnTo>
                          <a:pt x="5" y="18"/>
                        </a:lnTo>
                        <a:lnTo>
                          <a:pt x="0" y="25"/>
                        </a:lnTo>
                        <a:lnTo>
                          <a:pt x="0" y="37"/>
                        </a:lnTo>
                        <a:lnTo>
                          <a:pt x="4" y="47"/>
                        </a:lnTo>
                        <a:lnTo>
                          <a:pt x="9" y="48"/>
                        </a:lnTo>
                        <a:lnTo>
                          <a:pt x="15" y="48"/>
                        </a:lnTo>
                        <a:lnTo>
                          <a:pt x="15" y="43"/>
                        </a:lnTo>
                        <a:lnTo>
                          <a:pt x="10" y="40"/>
                        </a:lnTo>
                        <a:lnTo>
                          <a:pt x="14" y="37"/>
                        </a:lnTo>
                        <a:lnTo>
                          <a:pt x="20" y="42"/>
                        </a:lnTo>
                        <a:lnTo>
                          <a:pt x="24" y="38"/>
                        </a:lnTo>
                        <a:lnTo>
                          <a:pt x="24" y="38"/>
                        </a:lnTo>
                        <a:lnTo>
                          <a:pt x="24" y="38"/>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47" name="Freeform 1100">
                    <a:extLst>
                      <a:ext uri="{FF2B5EF4-FFF2-40B4-BE49-F238E27FC236}">
                        <a16:creationId xmlns:a16="http://schemas.microsoft.com/office/drawing/2014/main" id="{71A55289-EB88-4650-9650-475327912C1E}"/>
                      </a:ext>
                    </a:extLst>
                  </p:cNvPr>
                  <p:cNvSpPr>
                    <a:spLocks/>
                  </p:cNvSpPr>
                  <p:nvPr/>
                </p:nvSpPr>
                <p:spPr bwMode="auto">
                  <a:xfrm>
                    <a:off x="5530540" y="3899064"/>
                    <a:ext cx="17422" cy="41068"/>
                  </a:xfrm>
                  <a:custGeom>
                    <a:avLst/>
                    <a:gdLst>
                      <a:gd name="T0" fmla="*/ 4 w 14"/>
                      <a:gd name="T1" fmla="*/ 33 h 33"/>
                      <a:gd name="T2" fmla="*/ 4 w 14"/>
                      <a:gd name="T3" fmla="*/ 33 h 33"/>
                      <a:gd name="T4" fmla="*/ 9 w 14"/>
                      <a:gd name="T5" fmla="*/ 30 h 33"/>
                      <a:gd name="T6" fmla="*/ 9 w 14"/>
                      <a:gd name="T7" fmla="*/ 30 h 33"/>
                      <a:gd name="T8" fmla="*/ 12 w 14"/>
                      <a:gd name="T9" fmla="*/ 23 h 33"/>
                      <a:gd name="T10" fmla="*/ 12 w 14"/>
                      <a:gd name="T11" fmla="*/ 23 h 33"/>
                      <a:gd name="T12" fmla="*/ 12 w 14"/>
                      <a:gd name="T13" fmla="*/ 12 h 33"/>
                      <a:gd name="T14" fmla="*/ 12 w 14"/>
                      <a:gd name="T15" fmla="*/ 7 h 33"/>
                      <a:gd name="T16" fmla="*/ 14 w 14"/>
                      <a:gd name="T17" fmla="*/ 2 h 33"/>
                      <a:gd name="T18" fmla="*/ 14 w 14"/>
                      <a:gd name="T19" fmla="*/ 2 h 33"/>
                      <a:gd name="T20" fmla="*/ 12 w 14"/>
                      <a:gd name="T21" fmla="*/ 0 h 33"/>
                      <a:gd name="T22" fmla="*/ 9 w 14"/>
                      <a:gd name="T23" fmla="*/ 0 h 33"/>
                      <a:gd name="T24" fmla="*/ 5 w 14"/>
                      <a:gd name="T25" fmla="*/ 3 h 33"/>
                      <a:gd name="T26" fmla="*/ 5 w 14"/>
                      <a:gd name="T27" fmla="*/ 3 h 33"/>
                      <a:gd name="T28" fmla="*/ 4 w 14"/>
                      <a:gd name="T29" fmla="*/ 7 h 33"/>
                      <a:gd name="T30" fmla="*/ 4 w 14"/>
                      <a:gd name="T31" fmla="*/ 12 h 33"/>
                      <a:gd name="T32" fmla="*/ 4 w 14"/>
                      <a:gd name="T33" fmla="*/ 12 h 33"/>
                      <a:gd name="T34" fmla="*/ 4 w 14"/>
                      <a:gd name="T35" fmla="*/ 18 h 33"/>
                      <a:gd name="T36" fmla="*/ 2 w 14"/>
                      <a:gd name="T37" fmla="*/ 22 h 33"/>
                      <a:gd name="T38" fmla="*/ 0 w 14"/>
                      <a:gd name="T39" fmla="*/ 23 h 33"/>
                      <a:gd name="T40" fmla="*/ 0 w 14"/>
                      <a:gd name="T41" fmla="*/ 23 h 33"/>
                      <a:gd name="T42" fmla="*/ 0 w 14"/>
                      <a:gd name="T43" fmla="*/ 30 h 33"/>
                      <a:gd name="T44" fmla="*/ 2 w 14"/>
                      <a:gd name="T45" fmla="*/ 33 h 33"/>
                      <a:gd name="T46" fmla="*/ 4 w 14"/>
                      <a:gd name="T47" fmla="*/ 33 h 33"/>
                      <a:gd name="T48" fmla="*/ 4 w 14"/>
                      <a:gd name="T4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33">
                        <a:moveTo>
                          <a:pt x="4" y="33"/>
                        </a:moveTo>
                        <a:lnTo>
                          <a:pt x="4" y="33"/>
                        </a:lnTo>
                        <a:lnTo>
                          <a:pt x="9" y="30"/>
                        </a:lnTo>
                        <a:lnTo>
                          <a:pt x="9" y="30"/>
                        </a:lnTo>
                        <a:lnTo>
                          <a:pt x="12" y="23"/>
                        </a:lnTo>
                        <a:lnTo>
                          <a:pt x="12" y="23"/>
                        </a:lnTo>
                        <a:lnTo>
                          <a:pt x="12" y="12"/>
                        </a:lnTo>
                        <a:lnTo>
                          <a:pt x="12" y="7"/>
                        </a:lnTo>
                        <a:lnTo>
                          <a:pt x="14" y="2"/>
                        </a:lnTo>
                        <a:lnTo>
                          <a:pt x="14" y="2"/>
                        </a:lnTo>
                        <a:lnTo>
                          <a:pt x="12" y="0"/>
                        </a:lnTo>
                        <a:lnTo>
                          <a:pt x="9" y="0"/>
                        </a:lnTo>
                        <a:lnTo>
                          <a:pt x="5" y="3"/>
                        </a:lnTo>
                        <a:lnTo>
                          <a:pt x="5" y="3"/>
                        </a:lnTo>
                        <a:lnTo>
                          <a:pt x="4" y="7"/>
                        </a:lnTo>
                        <a:lnTo>
                          <a:pt x="4" y="12"/>
                        </a:lnTo>
                        <a:lnTo>
                          <a:pt x="4" y="12"/>
                        </a:lnTo>
                        <a:lnTo>
                          <a:pt x="4" y="18"/>
                        </a:lnTo>
                        <a:lnTo>
                          <a:pt x="2" y="22"/>
                        </a:lnTo>
                        <a:lnTo>
                          <a:pt x="0" y="23"/>
                        </a:lnTo>
                        <a:lnTo>
                          <a:pt x="0" y="23"/>
                        </a:lnTo>
                        <a:lnTo>
                          <a:pt x="0" y="30"/>
                        </a:lnTo>
                        <a:lnTo>
                          <a:pt x="2" y="33"/>
                        </a:lnTo>
                        <a:lnTo>
                          <a:pt x="4" y="33"/>
                        </a:lnTo>
                        <a:lnTo>
                          <a:pt x="4" y="33"/>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48" name="Freeform 1139">
                    <a:extLst>
                      <a:ext uri="{FF2B5EF4-FFF2-40B4-BE49-F238E27FC236}">
                        <a16:creationId xmlns:a16="http://schemas.microsoft.com/office/drawing/2014/main" id="{5C4CB34B-F562-4171-BD3C-5DC046655174}"/>
                      </a:ext>
                    </a:extLst>
                  </p:cNvPr>
                  <p:cNvSpPr>
                    <a:spLocks/>
                  </p:cNvSpPr>
                  <p:nvPr/>
                </p:nvSpPr>
                <p:spPr bwMode="auto">
                  <a:xfrm>
                    <a:off x="4542430" y="4868506"/>
                    <a:ext cx="28623" cy="17422"/>
                  </a:xfrm>
                  <a:custGeom>
                    <a:avLst/>
                    <a:gdLst>
                      <a:gd name="T0" fmla="*/ 23 w 23"/>
                      <a:gd name="T1" fmla="*/ 12 h 14"/>
                      <a:gd name="T2" fmla="*/ 23 w 23"/>
                      <a:gd name="T3" fmla="*/ 12 h 14"/>
                      <a:gd name="T4" fmla="*/ 8 w 23"/>
                      <a:gd name="T5" fmla="*/ 14 h 14"/>
                      <a:gd name="T6" fmla="*/ 8 w 23"/>
                      <a:gd name="T7" fmla="*/ 14 h 14"/>
                      <a:gd name="T8" fmla="*/ 5 w 23"/>
                      <a:gd name="T9" fmla="*/ 14 h 14"/>
                      <a:gd name="T10" fmla="*/ 3 w 23"/>
                      <a:gd name="T11" fmla="*/ 14 h 14"/>
                      <a:gd name="T12" fmla="*/ 0 w 23"/>
                      <a:gd name="T13" fmla="*/ 9 h 14"/>
                      <a:gd name="T14" fmla="*/ 0 w 23"/>
                      <a:gd name="T15" fmla="*/ 9 h 14"/>
                      <a:gd name="T16" fmla="*/ 0 w 23"/>
                      <a:gd name="T17" fmla="*/ 4 h 14"/>
                      <a:gd name="T18" fmla="*/ 0 w 23"/>
                      <a:gd name="T19" fmla="*/ 2 h 14"/>
                      <a:gd name="T20" fmla="*/ 3 w 23"/>
                      <a:gd name="T21" fmla="*/ 0 h 14"/>
                      <a:gd name="T22" fmla="*/ 10 w 23"/>
                      <a:gd name="T23" fmla="*/ 2 h 14"/>
                      <a:gd name="T24" fmla="*/ 10 w 23"/>
                      <a:gd name="T25" fmla="*/ 2 h 14"/>
                      <a:gd name="T26" fmla="*/ 18 w 23"/>
                      <a:gd name="T27" fmla="*/ 7 h 14"/>
                      <a:gd name="T28" fmla="*/ 18 w 23"/>
                      <a:gd name="T29" fmla="*/ 7 h 14"/>
                      <a:gd name="T30" fmla="*/ 20 w 23"/>
                      <a:gd name="T31" fmla="*/ 10 h 14"/>
                      <a:gd name="T32" fmla="*/ 20 w 23"/>
                      <a:gd name="T33" fmla="*/ 12 h 14"/>
                      <a:gd name="T34" fmla="*/ 23 w 23"/>
                      <a:gd name="T35" fmla="*/ 12 h 14"/>
                      <a:gd name="T36" fmla="*/ 23 w 23"/>
                      <a:gd name="T3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4">
                        <a:moveTo>
                          <a:pt x="23" y="12"/>
                        </a:moveTo>
                        <a:lnTo>
                          <a:pt x="23" y="12"/>
                        </a:lnTo>
                        <a:lnTo>
                          <a:pt x="8" y="14"/>
                        </a:lnTo>
                        <a:lnTo>
                          <a:pt x="8" y="14"/>
                        </a:lnTo>
                        <a:lnTo>
                          <a:pt x="5" y="14"/>
                        </a:lnTo>
                        <a:lnTo>
                          <a:pt x="3" y="14"/>
                        </a:lnTo>
                        <a:lnTo>
                          <a:pt x="0" y="9"/>
                        </a:lnTo>
                        <a:lnTo>
                          <a:pt x="0" y="9"/>
                        </a:lnTo>
                        <a:lnTo>
                          <a:pt x="0" y="4"/>
                        </a:lnTo>
                        <a:lnTo>
                          <a:pt x="0" y="2"/>
                        </a:lnTo>
                        <a:lnTo>
                          <a:pt x="3" y="0"/>
                        </a:lnTo>
                        <a:lnTo>
                          <a:pt x="10" y="2"/>
                        </a:lnTo>
                        <a:lnTo>
                          <a:pt x="10" y="2"/>
                        </a:lnTo>
                        <a:lnTo>
                          <a:pt x="18" y="7"/>
                        </a:lnTo>
                        <a:lnTo>
                          <a:pt x="18" y="7"/>
                        </a:lnTo>
                        <a:lnTo>
                          <a:pt x="20" y="10"/>
                        </a:lnTo>
                        <a:lnTo>
                          <a:pt x="20" y="12"/>
                        </a:lnTo>
                        <a:lnTo>
                          <a:pt x="23" y="12"/>
                        </a:lnTo>
                        <a:lnTo>
                          <a:pt x="23" y="12"/>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sp>
                <p:nvSpPr>
                  <p:cNvPr id="49" name="Freeform 1141">
                    <a:extLst>
                      <a:ext uri="{FF2B5EF4-FFF2-40B4-BE49-F238E27FC236}">
                        <a16:creationId xmlns:a16="http://schemas.microsoft.com/office/drawing/2014/main" id="{B534DB6E-6B95-4E08-9D21-7BBDBA34F58E}"/>
                      </a:ext>
                    </a:extLst>
                  </p:cNvPr>
                  <p:cNvSpPr>
                    <a:spLocks/>
                  </p:cNvSpPr>
                  <p:nvPr/>
                </p:nvSpPr>
                <p:spPr bwMode="auto">
                  <a:xfrm>
                    <a:off x="4093177" y="5728435"/>
                    <a:ext cx="48534" cy="52268"/>
                  </a:xfrm>
                  <a:custGeom>
                    <a:avLst/>
                    <a:gdLst>
                      <a:gd name="T0" fmla="*/ 17 w 39"/>
                      <a:gd name="T1" fmla="*/ 40 h 42"/>
                      <a:gd name="T2" fmla="*/ 17 w 39"/>
                      <a:gd name="T3" fmla="*/ 40 h 42"/>
                      <a:gd name="T4" fmla="*/ 17 w 39"/>
                      <a:gd name="T5" fmla="*/ 37 h 42"/>
                      <a:gd name="T6" fmla="*/ 19 w 39"/>
                      <a:gd name="T7" fmla="*/ 34 h 42"/>
                      <a:gd name="T8" fmla="*/ 19 w 39"/>
                      <a:gd name="T9" fmla="*/ 34 h 42"/>
                      <a:gd name="T10" fmla="*/ 15 w 39"/>
                      <a:gd name="T11" fmla="*/ 29 h 42"/>
                      <a:gd name="T12" fmla="*/ 12 w 39"/>
                      <a:gd name="T13" fmla="*/ 29 h 42"/>
                      <a:gd name="T14" fmla="*/ 10 w 39"/>
                      <a:gd name="T15" fmla="*/ 30 h 42"/>
                      <a:gd name="T16" fmla="*/ 12 w 39"/>
                      <a:gd name="T17" fmla="*/ 35 h 42"/>
                      <a:gd name="T18" fmla="*/ 12 w 39"/>
                      <a:gd name="T19" fmla="*/ 35 h 42"/>
                      <a:gd name="T20" fmla="*/ 10 w 39"/>
                      <a:gd name="T21" fmla="*/ 37 h 42"/>
                      <a:gd name="T22" fmla="*/ 7 w 39"/>
                      <a:gd name="T23" fmla="*/ 39 h 42"/>
                      <a:gd name="T24" fmla="*/ 4 w 39"/>
                      <a:gd name="T25" fmla="*/ 37 h 42"/>
                      <a:gd name="T26" fmla="*/ 0 w 39"/>
                      <a:gd name="T27" fmla="*/ 34 h 42"/>
                      <a:gd name="T28" fmla="*/ 0 w 39"/>
                      <a:gd name="T29" fmla="*/ 34 h 42"/>
                      <a:gd name="T30" fmla="*/ 2 w 39"/>
                      <a:gd name="T31" fmla="*/ 29 h 42"/>
                      <a:gd name="T32" fmla="*/ 5 w 39"/>
                      <a:gd name="T33" fmla="*/ 24 h 42"/>
                      <a:gd name="T34" fmla="*/ 5 w 39"/>
                      <a:gd name="T35" fmla="*/ 24 h 42"/>
                      <a:gd name="T36" fmla="*/ 2 w 39"/>
                      <a:gd name="T37" fmla="*/ 17 h 42"/>
                      <a:gd name="T38" fmla="*/ 2 w 39"/>
                      <a:gd name="T39" fmla="*/ 17 h 42"/>
                      <a:gd name="T40" fmla="*/ 0 w 39"/>
                      <a:gd name="T41" fmla="*/ 10 h 42"/>
                      <a:gd name="T42" fmla="*/ 0 w 39"/>
                      <a:gd name="T43" fmla="*/ 7 h 42"/>
                      <a:gd name="T44" fmla="*/ 4 w 39"/>
                      <a:gd name="T45" fmla="*/ 4 h 42"/>
                      <a:gd name="T46" fmla="*/ 4 w 39"/>
                      <a:gd name="T47" fmla="*/ 4 h 42"/>
                      <a:gd name="T48" fmla="*/ 7 w 39"/>
                      <a:gd name="T49" fmla="*/ 7 h 42"/>
                      <a:gd name="T50" fmla="*/ 7 w 39"/>
                      <a:gd name="T51" fmla="*/ 10 h 42"/>
                      <a:gd name="T52" fmla="*/ 7 w 39"/>
                      <a:gd name="T53" fmla="*/ 10 h 42"/>
                      <a:gd name="T54" fmla="*/ 10 w 39"/>
                      <a:gd name="T55" fmla="*/ 9 h 42"/>
                      <a:gd name="T56" fmla="*/ 12 w 39"/>
                      <a:gd name="T57" fmla="*/ 7 h 42"/>
                      <a:gd name="T58" fmla="*/ 12 w 39"/>
                      <a:gd name="T59" fmla="*/ 7 h 42"/>
                      <a:gd name="T60" fmla="*/ 17 w 39"/>
                      <a:gd name="T61" fmla="*/ 7 h 42"/>
                      <a:gd name="T62" fmla="*/ 20 w 39"/>
                      <a:gd name="T63" fmla="*/ 7 h 42"/>
                      <a:gd name="T64" fmla="*/ 20 w 39"/>
                      <a:gd name="T65" fmla="*/ 7 h 42"/>
                      <a:gd name="T66" fmla="*/ 29 w 39"/>
                      <a:gd name="T67" fmla="*/ 4 h 42"/>
                      <a:gd name="T68" fmla="*/ 29 w 39"/>
                      <a:gd name="T69" fmla="*/ 4 h 42"/>
                      <a:gd name="T70" fmla="*/ 30 w 39"/>
                      <a:gd name="T71" fmla="*/ 2 h 42"/>
                      <a:gd name="T72" fmla="*/ 34 w 39"/>
                      <a:gd name="T73" fmla="*/ 0 h 42"/>
                      <a:gd name="T74" fmla="*/ 37 w 39"/>
                      <a:gd name="T75" fmla="*/ 0 h 42"/>
                      <a:gd name="T76" fmla="*/ 39 w 39"/>
                      <a:gd name="T77" fmla="*/ 4 h 42"/>
                      <a:gd name="T78" fmla="*/ 32 w 39"/>
                      <a:gd name="T79" fmla="*/ 25 h 42"/>
                      <a:gd name="T80" fmla="*/ 29 w 39"/>
                      <a:gd name="T81" fmla="*/ 40 h 42"/>
                      <a:gd name="T82" fmla="*/ 29 w 39"/>
                      <a:gd name="T83" fmla="*/ 40 h 42"/>
                      <a:gd name="T84" fmla="*/ 25 w 39"/>
                      <a:gd name="T85" fmla="*/ 42 h 42"/>
                      <a:gd name="T86" fmla="*/ 22 w 39"/>
                      <a:gd name="T87" fmla="*/ 42 h 42"/>
                      <a:gd name="T88" fmla="*/ 17 w 39"/>
                      <a:gd name="T89" fmla="*/ 40 h 42"/>
                      <a:gd name="T90" fmla="*/ 17 w 39"/>
                      <a:gd name="T91"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 h="42">
                        <a:moveTo>
                          <a:pt x="17" y="40"/>
                        </a:moveTo>
                        <a:lnTo>
                          <a:pt x="17" y="40"/>
                        </a:lnTo>
                        <a:lnTo>
                          <a:pt x="17" y="37"/>
                        </a:lnTo>
                        <a:lnTo>
                          <a:pt x="19" y="34"/>
                        </a:lnTo>
                        <a:lnTo>
                          <a:pt x="19" y="34"/>
                        </a:lnTo>
                        <a:lnTo>
                          <a:pt x="15" y="29"/>
                        </a:lnTo>
                        <a:lnTo>
                          <a:pt x="12" y="29"/>
                        </a:lnTo>
                        <a:lnTo>
                          <a:pt x="10" y="30"/>
                        </a:lnTo>
                        <a:lnTo>
                          <a:pt x="12" y="35"/>
                        </a:lnTo>
                        <a:lnTo>
                          <a:pt x="12" y="35"/>
                        </a:lnTo>
                        <a:lnTo>
                          <a:pt x="10" y="37"/>
                        </a:lnTo>
                        <a:lnTo>
                          <a:pt x="7" y="39"/>
                        </a:lnTo>
                        <a:lnTo>
                          <a:pt x="4" y="37"/>
                        </a:lnTo>
                        <a:lnTo>
                          <a:pt x="0" y="34"/>
                        </a:lnTo>
                        <a:lnTo>
                          <a:pt x="0" y="34"/>
                        </a:lnTo>
                        <a:lnTo>
                          <a:pt x="2" y="29"/>
                        </a:lnTo>
                        <a:lnTo>
                          <a:pt x="5" y="24"/>
                        </a:lnTo>
                        <a:lnTo>
                          <a:pt x="5" y="24"/>
                        </a:lnTo>
                        <a:lnTo>
                          <a:pt x="2" y="17"/>
                        </a:lnTo>
                        <a:lnTo>
                          <a:pt x="2" y="17"/>
                        </a:lnTo>
                        <a:lnTo>
                          <a:pt x="0" y="10"/>
                        </a:lnTo>
                        <a:lnTo>
                          <a:pt x="0" y="7"/>
                        </a:lnTo>
                        <a:lnTo>
                          <a:pt x="4" y="4"/>
                        </a:lnTo>
                        <a:lnTo>
                          <a:pt x="4" y="4"/>
                        </a:lnTo>
                        <a:lnTo>
                          <a:pt x="7" y="7"/>
                        </a:lnTo>
                        <a:lnTo>
                          <a:pt x="7" y="10"/>
                        </a:lnTo>
                        <a:lnTo>
                          <a:pt x="7" y="10"/>
                        </a:lnTo>
                        <a:lnTo>
                          <a:pt x="10" y="9"/>
                        </a:lnTo>
                        <a:lnTo>
                          <a:pt x="12" y="7"/>
                        </a:lnTo>
                        <a:lnTo>
                          <a:pt x="12" y="7"/>
                        </a:lnTo>
                        <a:lnTo>
                          <a:pt x="17" y="7"/>
                        </a:lnTo>
                        <a:lnTo>
                          <a:pt x="20" y="7"/>
                        </a:lnTo>
                        <a:lnTo>
                          <a:pt x="20" y="7"/>
                        </a:lnTo>
                        <a:lnTo>
                          <a:pt x="29" y="4"/>
                        </a:lnTo>
                        <a:lnTo>
                          <a:pt x="29" y="4"/>
                        </a:lnTo>
                        <a:lnTo>
                          <a:pt x="30" y="2"/>
                        </a:lnTo>
                        <a:lnTo>
                          <a:pt x="34" y="0"/>
                        </a:lnTo>
                        <a:lnTo>
                          <a:pt x="37" y="0"/>
                        </a:lnTo>
                        <a:lnTo>
                          <a:pt x="39" y="4"/>
                        </a:lnTo>
                        <a:lnTo>
                          <a:pt x="32" y="25"/>
                        </a:lnTo>
                        <a:lnTo>
                          <a:pt x="29" y="40"/>
                        </a:lnTo>
                        <a:lnTo>
                          <a:pt x="29" y="40"/>
                        </a:lnTo>
                        <a:lnTo>
                          <a:pt x="25" y="42"/>
                        </a:lnTo>
                        <a:lnTo>
                          <a:pt x="22" y="42"/>
                        </a:lnTo>
                        <a:lnTo>
                          <a:pt x="17" y="40"/>
                        </a:lnTo>
                        <a:lnTo>
                          <a:pt x="17" y="40"/>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solidFill>
                        <a:schemeClr val="tx1"/>
                      </a:solidFill>
                    </a:endParaRPr>
                  </a:p>
                </p:txBody>
              </p:sp>
              <p:sp>
                <p:nvSpPr>
                  <p:cNvPr id="50" name="Freeform 1143">
                    <a:extLst>
                      <a:ext uri="{FF2B5EF4-FFF2-40B4-BE49-F238E27FC236}">
                        <a16:creationId xmlns:a16="http://schemas.microsoft.com/office/drawing/2014/main" id="{CBEB07C1-92F1-4109-92D7-3BA7C2D83440}"/>
                      </a:ext>
                    </a:extLst>
                  </p:cNvPr>
                  <p:cNvSpPr>
                    <a:spLocks/>
                  </p:cNvSpPr>
                  <p:nvPr/>
                </p:nvSpPr>
                <p:spPr bwMode="auto">
                  <a:xfrm>
                    <a:off x="4108111" y="5918838"/>
                    <a:ext cx="31112" cy="39823"/>
                  </a:xfrm>
                  <a:custGeom>
                    <a:avLst/>
                    <a:gdLst>
                      <a:gd name="T0" fmla="*/ 22 w 25"/>
                      <a:gd name="T1" fmla="*/ 32 h 32"/>
                      <a:gd name="T2" fmla="*/ 22 w 25"/>
                      <a:gd name="T3" fmla="*/ 32 h 32"/>
                      <a:gd name="T4" fmla="*/ 17 w 25"/>
                      <a:gd name="T5" fmla="*/ 24 h 32"/>
                      <a:gd name="T6" fmla="*/ 17 w 25"/>
                      <a:gd name="T7" fmla="*/ 24 h 32"/>
                      <a:gd name="T8" fmla="*/ 17 w 25"/>
                      <a:gd name="T9" fmla="*/ 19 h 32"/>
                      <a:gd name="T10" fmla="*/ 15 w 25"/>
                      <a:gd name="T11" fmla="*/ 19 h 32"/>
                      <a:gd name="T12" fmla="*/ 13 w 25"/>
                      <a:gd name="T13" fmla="*/ 17 h 32"/>
                      <a:gd name="T14" fmla="*/ 13 w 25"/>
                      <a:gd name="T15" fmla="*/ 17 h 32"/>
                      <a:gd name="T16" fmla="*/ 10 w 25"/>
                      <a:gd name="T17" fmla="*/ 15 h 32"/>
                      <a:gd name="T18" fmla="*/ 10 w 25"/>
                      <a:gd name="T19" fmla="*/ 15 h 32"/>
                      <a:gd name="T20" fmla="*/ 5 w 25"/>
                      <a:gd name="T21" fmla="*/ 12 h 32"/>
                      <a:gd name="T22" fmla="*/ 3 w 25"/>
                      <a:gd name="T23" fmla="*/ 10 h 32"/>
                      <a:gd name="T24" fmla="*/ 0 w 25"/>
                      <a:gd name="T25" fmla="*/ 10 h 32"/>
                      <a:gd name="T26" fmla="*/ 0 w 25"/>
                      <a:gd name="T27" fmla="*/ 10 h 32"/>
                      <a:gd name="T28" fmla="*/ 2 w 25"/>
                      <a:gd name="T29" fmla="*/ 7 h 32"/>
                      <a:gd name="T30" fmla="*/ 5 w 25"/>
                      <a:gd name="T31" fmla="*/ 5 h 32"/>
                      <a:gd name="T32" fmla="*/ 5 w 25"/>
                      <a:gd name="T33" fmla="*/ 5 h 32"/>
                      <a:gd name="T34" fmla="*/ 7 w 25"/>
                      <a:gd name="T35" fmla="*/ 2 h 32"/>
                      <a:gd name="T36" fmla="*/ 10 w 25"/>
                      <a:gd name="T37" fmla="*/ 0 h 32"/>
                      <a:gd name="T38" fmla="*/ 10 w 25"/>
                      <a:gd name="T39" fmla="*/ 0 h 32"/>
                      <a:gd name="T40" fmla="*/ 17 w 25"/>
                      <a:gd name="T41" fmla="*/ 0 h 32"/>
                      <a:gd name="T42" fmla="*/ 20 w 25"/>
                      <a:gd name="T43" fmla="*/ 0 h 32"/>
                      <a:gd name="T44" fmla="*/ 22 w 25"/>
                      <a:gd name="T45" fmla="*/ 0 h 32"/>
                      <a:gd name="T46" fmla="*/ 25 w 25"/>
                      <a:gd name="T47" fmla="*/ 14 h 32"/>
                      <a:gd name="T48" fmla="*/ 22 w 25"/>
                      <a:gd name="T49" fmla="*/ 32 h 32"/>
                      <a:gd name="T50" fmla="*/ 22 w 25"/>
                      <a:gd name="T51" fmla="*/ 32 h 32"/>
                      <a:gd name="T52" fmla="*/ 22 w 25"/>
                      <a:gd name="T5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32">
                        <a:moveTo>
                          <a:pt x="22" y="32"/>
                        </a:moveTo>
                        <a:lnTo>
                          <a:pt x="22" y="32"/>
                        </a:lnTo>
                        <a:lnTo>
                          <a:pt x="17" y="24"/>
                        </a:lnTo>
                        <a:lnTo>
                          <a:pt x="17" y="24"/>
                        </a:lnTo>
                        <a:lnTo>
                          <a:pt x="17" y="19"/>
                        </a:lnTo>
                        <a:lnTo>
                          <a:pt x="15" y="19"/>
                        </a:lnTo>
                        <a:lnTo>
                          <a:pt x="13" y="17"/>
                        </a:lnTo>
                        <a:lnTo>
                          <a:pt x="13" y="17"/>
                        </a:lnTo>
                        <a:lnTo>
                          <a:pt x="10" y="15"/>
                        </a:lnTo>
                        <a:lnTo>
                          <a:pt x="10" y="15"/>
                        </a:lnTo>
                        <a:lnTo>
                          <a:pt x="5" y="12"/>
                        </a:lnTo>
                        <a:lnTo>
                          <a:pt x="3" y="10"/>
                        </a:lnTo>
                        <a:lnTo>
                          <a:pt x="0" y="10"/>
                        </a:lnTo>
                        <a:lnTo>
                          <a:pt x="0" y="10"/>
                        </a:lnTo>
                        <a:lnTo>
                          <a:pt x="2" y="7"/>
                        </a:lnTo>
                        <a:lnTo>
                          <a:pt x="5" y="5"/>
                        </a:lnTo>
                        <a:lnTo>
                          <a:pt x="5" y="5"/>
                        </a:lnTo>
                        <a:lnTo>
                          <a:pt x="7" y="2"/>
                        </a:lnTo>
                        <a:lnTo>
                          <a:pt x="10" y="0"/>
                        </a:lnTo>
                        <a:lnTo>
                          <a:pt x="10" y="0"/>
                        </a:lnTo>
                        <a:lnTo>
                          <a:pt x="17" y="0"/>
                        </a:lnTo>
                        <a:lnTo>
                          <a:pt x="20" y="0"/>
                        </a:lnTo>
                        <a:lnTo>
                          <a:pt x="22" y="0"/>
                        </a:lnTo>
                        <a:lnTo>
                          <a:pt x="25" y="14"/>
                        </a:lnTo>
                        <a:lnTo>
                          <a:pt x="22" y="32"/>
                        </a:lnTo>
                        <a:lnTo>
                          <a:pt x="22" y="32"/>
                        </a:lnTo>
                        <a:lnTo>
                          <a:pt x="22" y="32"/>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grpSp>
                <p:nvGrpSpPr>
                  <p:cNvPr id="51" name="Andaman &amp; Nicobar Islands">
                    <a:extLst>
                      <a:ext uri="{FF2B5EF4-FFF2-40B4-BE49-F238E27FC236}">
                        <a16:creationId xmlns:a16="http://schemas.microsoft.com/office/drawing/2014/main" id="{89123AD4-5C95-4A59-AFA1-49464EA8437D}"/>
                      </a:ext>
                    </a:extLst>
                  </p:cNvPr>
                  <p:cNvGrpSpPr>
                    <a:grpSpLocks noChangeAspect="1"/>
                  </p:cNvGrpSpPr>
                  <p:nvPr/>
                </p:nvGrpSpPr>
                <p:grpSpPr bwMode="auto">
                  <a:xfrm>
                    <a:off x="6347085" y="5336426"/>
                    <a:ext cx="403515" cy="1253259"/>
                    <a:chOff x="7888" y="7929"/>
                    <a:chExt cx="773" cy="2397"/>
                  </a:xfrm>
                  <a:grpFill/>
                </p:grpSpPr>
                <p:sp>
                  <p:nvSpPr>
                    <p:cNvPr id="79" name="Freeform 4">
                      <a:extLst>
                        <a:ext uri="{FF2B5EF4-FFF2-40B4-BE49-F238E27FC236}">
                          <a16:creationId xmlns:a16="http://schemas.microsoft.com/office/drawing/2014/main" id="{C579054D-F25D-47F2-9AB9-910C02C3BBE0}"/>
                        </a:ext>
                      </a:extLst>
                    </p:cNvPr>
                    <p:cNvSpPr>
                      <a:spLocks noChangeAspect="1"/>
                    </p:cNvSpPr>
                    <p:nvPr/>
                  </p:nvSpPr>
                  <p:spPr bwMode="auto">
                    <a:xfrm>
                      <a:off x="8519" y="7959"/>
                      <a:ext cx="20" cy="21"/>
                    </a:xfrm>
                    <a:custGeom>
                      <a:avLst/>
                      <a:gdLst/>
                      <a:ahLst/>
                      <a:cxnLst>
                        <a:cxn ang="0">
                          <a:pos x="13" y="17"/>
                        </a:cxn>
                        <a:cxn ang="0">
                          <a:pos x="12" y="0"/>
                        </a:cxn>
                        <a:cxn ang="0">
                          <a:pos x="4" y="21"/>
                        </a:cxn>
                        <a:cxn ang="0">
                          <a:pos x="13" y="17"/>
                        </a:cxn>
                      </a:cxnLst>
                      <a:rect l="0" t="0" r="r" b="b"/>
                      <a:pathLst>
                        <a:path w="20" h="21">
                          <a:moveTo>
                            <a:pt x="13" y="17"/>
                          </a:moveTo>
                          <a:cubicBezTo>
                            <a:pt x="18" y="9"/>
                            <a:pt x="20" y="6"/>
                            <a:pt x="12" y="0"/>
                          </a:cubicBezTo>
                          <a:cubicBezTo>
                            <a:pt x="0" y="5"/>
                            <a:pt x="3" y="7"/>
                            <a:pt x="4" y="21"/>
                          </a:cubicBezTo>
                          <a:cubicBezTo>
                            <a:pt x="18" y="19"/>
                            <a:pt x="17" y="13"/>
                            <a:pt x="13" y="17"/>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80" name="Freeform 5">
                      <a:extLst>
                        <a:ext uri="{FF2B5EF4-FFF2-40B4-BE49-F238E27FC236}">
                          <a16:creationId xmlns:a16="http://schemas.microsoft.com/office/drawing/2014/main" id="{638F85B7-7AE5-4D58-A76D-CF9FD653B037}"/>
                        </a:ext>
                      </a:extLst>
                    </p:cNvPr>
                    <p:cNvSpPr>
                      <a:spLocks noChangeAspect="1"/>
                    </p:cNvSpPr>
                    <p:nvPr/>
                  </p:nvSpPr>
                  <p:spPr bwMode="auto">
                    <a:xfrm>
                      <a:off x="8423" y="8385"/>
                      <a:ext cx="15" cy="15"/>
                    </a:xfrm>
                    <a:custGeom>
                      <a:avLst/>
                      <a:gdLst/>
                      <a:ahLst/>
                      <a:cxnLst>
                        <a:cxn ang="0">
                          <a:pos x="12" y="3"/>
                        </a:cxn>
                        <a:cxn ang="0">
                          <a:pos x="0" y="8"/>
                        </a:cxn>
                        <a:cxn ang="0">
                          <a:pos x="15" y="12"/>
                        </a:cxn>
                        <a:cxn ang="0">
                          <a:pos x="12" y="3"/>
                        </a:cxn>
                      </a:cxnLst>
                      <a:rect l="0" t="0" r="r" b="b"/>
                      <a:pathLst>
                        <a:path w="15" h="15">
                          <a:moveTo>
                            <a:pt x="12" y="3"/>
                          </a:moveTo>
                          <a:cubicBezTo>
                            <a:pt x="5" y="2"/>
                            <a:pt x="2" y="0"/>
                            <a:pt x="0" y="8"/>
                          </a:cubicBezTo>
                          <a:cubicBezTo>
                            <a:pt x="5" y="15"/>
                            <a:pt x="6" y="14"/>
                            <a:pt x="15" y="12"/>
                          </a:cubicBezTo>
                          <a:cubicBezTo>
                            <a:pt x="13" y="4"/>
                            <a:pt x="14" y="7"/>
                            <a:pt x="12" y="3"/>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81" name="Freeform 6">
                      <a:extLst>
                        <a:ext uri="{FF2B5EF4-FFF2-40B4-BE49-F238E27FC236}">
                          <a16:creationId xmlns:a16="http://schemas.microsoft.com/office/drawing/2014/main" id="{DBDF5BA7-B227-4935-A68A-161B04A4E7BD}"/>
                        </a:ext>
                      </a:extLst>
                    </p:cNvPr>
                    <p:cNvSpPr>
                      <a:spLocks noChangeAspect="1"/>
                    </p:cNvSpPr>
                    <p:nvPr/>
                  </p:nvSpPr>
                  <p:spPr bwMode="auto">
                    <a:xfrm>
                      <a:off x="8048" y="7970"/>
                      <a:ext cx="97" cy="238"/>
                    </a:xfrm>
                    <a:custGeom>
                      <a:avLst/>
                      <a:gdLst/>
                      <a:ahLst/>
                      <a:cxnLst>
                        <a:cxn ang="0">
                          <a:pos x="81" y="178"/>
                        </a:cxn>
                        <a:cxn ang="0">
                          <a:pos x="81" y="151"/>
                        </a:cxn>
                        <a:cxn ang="0">
                          <a:pos x="84" y="138"/>
                        </a:cxn>
                        <a:cxn ang="0">
                          <a:pos x="85" y="124"/>
                        </a:cxn>
                        <a:cxn ang="0">
                          <a:pos x="87" y="108"/>
                        </a:cxn>
                        <a:cxn ang="0">
                          <a:pos x="72" y="99"/>
                        </a:cxn>
                        <a:cxn ang="0">
                          <a:pos x="66" y="90"/>
                        </a:cxn>
                        <a:cxn ang="0">
                          <a:pos x="49" y="85"/>
                        </a:cxn>
                        <a:cxn ang="0">
                          <a:pos x="55" y="75"/>
                        </a:cxn>
                        <a:cxn ang="0">
                          <a:pos x="72" y="78"/>
                        </a:cxn>
                        <a:cxn ang="0">
                          <a:pos x="88" y="87"/>
                        </a:cxn>
                        <a:cxn ang="0">
                          <a:pos x="97" y="76"/>
                        </a:cxn>
                        <a:cxn ang="0">
                          <a:pos x="87" y="66"/>
                        </a:cxn>
                        <a:cxn ang="0">
                          <a:pos x="81" y="58"/>
                        </a:cxn>
                        <a:cxn ang="0">
                          <a:pos x="69" y="48"/>
                        </a:cxn>
                        <a:cxn ang="0">
                          <a:pos x="73" y="27"/>
                        </a:cxn>
                        <a:cxn ang="0">
                          <a:pos x="73" y="12"/>
                        </a:cxn>
                        <a:cxn ang="0">
                          <a:pos x="60" y="0"/>
                        </a:cxn>
                        <a:cxn ang="0">
                          <a:pos x="51" y="9"/>
                        </a:cxn>
                        <a:cxn ang="0">
                          <a:pos x="37" y="13"/>
                        </a:cxn>
                        <a:cxn ang="0">
                          <a:pos x="33" y="30"/>
                        </a:cxn>
                        <a:cxn ang="0">
                          <a:pos x="15" y="42"/>
                        </a:cxn>
                        <a:cxn ang="0">
                          <a:pos x="15" y="57"/>
                        </a:cxn>
                        <a:cxn ang="0">
                          <a:pos x="4" y="67"/>
                        </a:cxn>
                        <a:cxn ang="0">
                          <a:pos x="10" y="75"/>
                        </a:cxn>
                        <a:cxn ang="0">
                          <a:pos x="13" y="85"/>
                        </a:cxn>
                        <a:cxn ang="0">
                          <a:pos x="6" y="93"/>
                        </a:cxn>
                        <a:cxn ang="0">
                          <a:pos x="0" y="105"/>
                        </a:cxn>
                        <a:cxn ang="0">
                          <a:pos x="12" y="108"/>
                        </a:cxn>
                        <a:cxn ang="0">
                          <a:pos x="24" y="115"/>
                        </a:cxn>
                        <a:cxn ang="0">
                          <a:pos x="9" y="132"/>
                        </a:cxn>
                        <a:cxn ang="0">
                          <a:pos x="4" y="145"/>
                        </a:cxn>
                        <a:cxn ang="0">
                          <a:pos x="18" y="162"/>
                        </a:cxn>
                        <a:cxn ang="0">
                          <a:pos x="10" y="174"/>
                        </a:cxn>
                        <a:cxn ang="0">
                          <a:pos x="3" y="195"/>
                        </a:cxn>
                        <a:cxn ang="0">
                          <a:pos x="13" y="202"/>
                        </a:cxn>
                        <a:cxn ang="0">
                          <a:pos x="6" y="219"/>
                        </a:cxn>
                        <a:cxn ang="0">
                          <a:pos x="6" y="231"/>
                        </a:cxn>
                        <a:cxn ang="0">
                          <a:pos x="16" y="238"/>
                        </a:cxn>
                        <a:cxn ang="0">
                          <a:pos x="27" y="234"/>
                        </a:cxn>
                        <a:cxn ang="0">
                          <a:pos x="34" y="225"/>
                        </a:cxn>
                        <a:cxn ang="0">
                          <a:pos x="40" y="210"/>
                        </a:cxn>
                        <a:cxn ang="0">
                          <a:pos x="49" y="216"/>
                        </a:cxn>
                        <a:cxn ang="0">
                          <a:pos x="55" y="208"/>
                        </a:cxn>
                        <a:cxn ang="0">
                          <a:pos x="42" y="198"/>
                        </a:cxn>
                        <a:cxn ang="0">
                          <a:pos x="37" y="187"/>
                        </a:cxn>
                        <a:cxn ang="0">
                          <a:pos x="48" y="180"/>
                        </a:cxn>
                        <a:cxn ang="0">
                          <a:pos x="70" y="189"/>
                        </a:cxn>
                        <a:cxn ang="0">
                          <a:pos x="81" y="178"/>
                        </a:cxn>
                      </a:cxnLst>
                      <a:rect l="0" t="0" r="r" b="b"/>
                      <a:pathLst>
                        <a:path w="97" h="238">
                          <a:moveTo>
                            <a:pt x="81" y="178"/>
                          </a:moveTo>
                          <a:lnTo>
                            <a:pt x="81" y="151"/>
                          </a:lnTo>
                          <a:lnTo>
                            <a:pt x="84" y="138"/>
                          </a:lnTo>
                          <a:lnTo>
                            <a:pt x="85" y="124"/>
                          </a:lnTo>
                          <a:lnTo>
                            <a:pt x="87" y="108"/>
                          </a:lnTo>
                          <a:lnTo>
                            <a:pt x="72" y="99"/>
                          </a:lnTo>
                          <a:lnTo>
                            <a:pt x="66" y="90"/>
                          </a:lnTo>
                          <a:lnTo>
                            <a:pt x="49" y="85"/>
                          </a:lnTo>
                          <a:lnTo>
                            <a:pt x="55" y="75"/>
                          </a:lnTo>
                          <a:lnTo>
                            <a:pt x="72" y="78"/>
                          </a:lnTo>
                          <a:lnTo>
                            <a:pt x="88" y="87"/>
                          </a:lnTo>
                          <a:lnTo>
                            <a:pt x="97" y="76"/>
                          </a:lnTo>
                          <a:lnTo>
                            <a:pt x="87" y="66"/>
                          </a:lnTo>
                          <a:lnTo>
                            <a:pt x="81" y="58"/>
                          </a:lnTo>
                          <a:lnTo>
                            <a:pt x="69" y="48"/>
                          </a:lnTo>
                          <a:lnTo>
                            <a:pt x="73" y="27"/>
                          </a:lnTo>
                          <a:lnTo>
                            <a:pt x="73" y="12"/>
                          </a:lnTo>
                          <a:lnTo>
                            <a:pt x="60" y="0"/>
                          </a:lnTo>
                          <a:lnTo>
                            <a:pt x="51" y="9"/>
                          </a:lnTo>
                          <a:lnTo>
                            <a:pt x="37" y="13"/>
                          </a:lnTo>
                          <a:lnTo>
                            <a:pt x="33" y="30"/>
                          </a:lnTo>
                          <a:lnTo>
                            <a:pt x="15" y="42"/>
                          </a:lnTo>
                          <a:lnTo>
                            <a:pt x="15" y="57"/>
                          </a:lnTo>
                          <a:lnTo>
                            <a:pt x="4" y="67"/>
                          </a:lnTo>
                          <a:lnTo>
                            <a:pt x="10" y="75"/>
                          </a:lnTo>
                          <a:lnTo>
                            <a:pt x="13" y="85"/>
                          </a:lnTo>
                          <a:lnTo>
                            <a:pt x="6" y="93"/>
                          </a:lnTo>
                          <a:lnTo>
                            <a:pt x="0" y="105"/>
                          </a:lnTo>
                          <a:lnTo>
                            <a:pt x="12" y="108"/>
                          </a:lnTo>
                          <a:lnTo>
                            <a:pt x="24" y="115"/>
                          </a:lnTo>
                          <a:lnTo>
                            <a:pt x="9" y="132"/>
                          </a:lnTo>
                          <a:lnTo>
                            <a:pt x="4" y="145"/>
                          </a:lnTo>
                          <a:lnTo>
                            <a:pt x="18" y="162"/>
                          </a:lnTo>
                          <a:lnTo>
                            <a:pt x="10" y="174"/>
                          </a:lnTo>
                          <a:lnTo>
                            <a:pt x="3" y="195"/>
                          </a:lnTo>
                          <a:lnTo>
                            <a:pt x="13" y="202"/>
                          </a:lnTo>
                          <a:lnTo>
                            <a:pt x="6" y="219"/>
                          </a:lnTo>
                          <a:lnTo>
                            <a:pt x="6" y="231"/>
                          </a:lnTo>
                          <a:lnTo>
                            <a:pt x="16" y="238"/>
                          </a:lnTo>
                          <a:lnTo>
                            <a:pt x="27" y="234"/>
                          </a:lnTo>
                          <a:lnTo>
                            <a:pt x="34" y="225"/>
                          </a:lnTo>
                          <a:lnTo>
                            <a:pt x="40" y="210"/>
                          </a:lnTo>
                          <a:lnTo>
                            <a:pt x="49" y="216"/>
                          </a:lnTo>
                          <a:lnTo>
                            <a:pt x="55" y="208"/>
                          </a:lnTo>
                          <a:lnTo>
                            <a:pt x="42" y="198"/>
                          </a:lnTo>
                          <a:lnTo>
                            <a:pt x="37" y="187"/>
                          </a:lnTo>
                          <a:lnTo>
                            <a:pt x="48" y="180"/>
                          </a:lnTo>
                          <a:lnTo>
                            <a:pt x="70" y="189"/>
                          </a:lnTo>
                          <a:lnTo>
                            <a:pt x="81" y="178"/>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82" name="Freeform 7">
                      <a:extLst>
                        <a:ext uri="{FF2B5EF4-FFF2-40B4-BE49-F238E27FC236}">
                          <a16:creationId xmlns:a16="http://schemas.microsoft.com/office/drawing/2014/main" id="{59C85F6C-4FAB-4F6D-92FF-BF84840B9918}"/>
                        </a:ext>
                      </a:extLst>
                    </p:cNvPr>
                    <p:cNvSpPr>
                      <a:spLocks noChangeAspect="1"/>
                    </p:cNvSpPr>
                    <p:nvPr/>
                  </p:nvSpPr>
                  <p:spPr bwMode="auto">
                    <a:xfrm>
                      <a:off x="8031" y="8193"/>
                      <a:ext cx="105" cy="230"/>
                    </a:xfrm>
                    <a:custGeom>
                      <a:avLst/>
                      <a:gdLst/>
                      <a:ahLst/>
                      <a:cxnLst>
                        <a:cxn ang="0">
                          <a:pos x="32" y="222"/>
                        </a:cxn>
                        <a:cxn ang="0">
                          <a:pos x="51" y="209"/>
                        </a:cxn>
                        <a:cxn ang="0">
                          <a:pos x="71" y="216"/>
                        </a:cxn>
                        <a:cxn ang="0">
                          <a:pos x="68" y="203"/>
                        </a:cxn>
                        <a:cxn ang="0">
                          <a:pos x="60" y="188"/>
                        </a:cxn>
                        <a:cxn ang="0">
                          <a:pos x="89" y="168"/>
                        </a:cxn>
                        <a:cxn ang="0">
                          <a:pos x="98" y="155"/>
                        </a:cxn>
                        <a:cxn ang="0">
                          <a:pos x="105" y="141"/>
                        </a:cxn>
                        <a:cxn ang="0">
                          <a:pos x="96" y="131"/>
                        </a:cxn>
                        <a:cxn ang="0">
                          <a:pos x="83" y="108"/>
                        </a:cxn>
                        <a:cxn ang="0">
                          <a:pos x="96" y="93"/>
                        </a:cxn>
                        <a:cxn ang="0">
                          <a:pos x="86" y="84"/>
                        </a:cxn>
                        <a:cxn ang="0">
                          <a:pos x="98" y="72"/>
                        </a:cxn>
                        <a:cxn ang="0">
                          <a:pos x="80" y="53"/>
                        </a:cxn>
                        <a:cxn ang="0">
                          <a:pos x="87" y="39"/>
                        </a:cxn>
                        <a:cxn ang="0">
                          <a:pos x="75" y="27"/>
                        </a:cxn>
                        <a:cxn ang="0">
                          <a:pos x="69" y="14"/>
                        </a:cxn>
                        <a:cxn ang="0">
                          <a:pos x="69" y="0"/>
                        </a:cxn>
                        <a:cxn ang="0">
                          <a:pos x="56" y="15"/>
                        </a:cxn>
                        <a:cxn ang="0">
                          <a:pos x="48" y="27"/>
                        </a:cxn>
                        <a:cxn ang="0">
                          <a:pos x="36" y="24"/>
                        </a:cxn>
                        <a:cxn ang="0">
                          <a:pos x="21" y="30"/>
                        </a:cxn>
                        <a:cxn ang="0">
                          <a:pos x="11" y="42"/>
                        </a:cxn>
                        <a:cxn ang="0">
                          <a:pos x="14" y="68"/>
                        </a:cxn>
                        <a:cxn ang="0">
                          <a:pos x="12" y="83"/>
                        </a:cxn>
                        <a:cxn ang="0">
                          <a:pos x="14" y="101"/>
                        </a:cxn>
                        <a:cxn ang="0">
                          <a:pos x="0" y="117"/>
                        </a:cxn>
                        <a:cxn ang="0">
                          <a:pos x="11" y="135"/>
                        </a:cxn>
                        <a:cxn ang="0">
                          <a:pos x="14" y="146"/>
                        </a:cxn>
                        <a:cxn ang="0">
                          <a:pos x="12" y="165"/>
                        </a:cxn>
                        <a:cxn ang="0">
                          <a:pos x="8" y="179"/>
                        </a:cxn>
                        <a:cxn ang="0">
                          <a:pos x="9" y="200"/>
                        </a:cxn>
                        <a:cxn ang="0">
                          <a:pos x="15" y="219"/>
                        </a:cxn>
                        <a:cxn ang="0">
                          <a:pos x="24" y="230"/>
                        </a:cxn>
                        <a:cxn ang="0">
                          <a:pos x="32" y="222"/>
                        </a:cxn>
                      </a:cxnLst>
                      <a:rect l="0" t="0" r="r" b="b"/>
                      <a:pathLst>
                        <a:path w="105" h="230">
                          <a:moveTo>
                            <a:pt x="32" y="222"/>
                          </a:moveTo>
                          <a:lnTo>
                            <a:pt x="51" y="209"/>
                          </a:lnTo>
                          <a:lnTo>
                            <a:pt x="71" y="216"/>
                          </a:lnTo>
                          <a:lnTo>
                            <a:pt x="68" y="203"/>
                          </a:lnTo>
                          <a:lnTo>
                            <a:pt x="60" y="188"/>
                          </a:lnTo>
                          <a:lnTo>
                            <a:pt x="89" y="168"/>
                          </a:lnTo>
                          <a:lnTo>
                            <a:pt x="98" y="155"/>
                          </a:lnTo>
                          <a:lnTo>
                            <a:pt x="105" y="141"/>
                          </a:lnTo>
                          <a:lnTo>
                            <a:pt x="96" y="131"/>
                          </a:lnTo>
                          <a:lnTo>
                            <a:pt x="83" y="108"/>
                          </a:lnTo>
                          <a:lnTo>
                            <a:pt x="96" y="93"/>
                          </a:lnTo>
                          <a:lnTo>
                            <a:pt x="86" y="84"/>
                          </a:lnTo>
                          <a:lnTo>
                            <a:pt x="98" y="72"/>
                          </a:lnTo>
                          <a:lnTo>
                            <a:pt x="80" y="53"/>
                          </a:lnTo>
                          <a:lnTo>
                            <a:pt x="87" y="39"/>
                          </a:lnTo>
                          <a:lnTo>
                            <a:pt x="75" y="27"/>
                          </a:lnTo>
                          <a:lnTo>
                            <a:pt x="69" y="14"/>
                          </a:lnTo>
                          <a:lnTo>
                            <a:pt x="69" y="0"/>
                          </a:lnTo>
                          <a:lnTo>
                            <a:pt x="56" y="15"/>
                          </a:lnTo>
                          <a:lnTo>
                            <a:pt x="48" y="27"/>
                          </a:lnTo>
                          <a:lnTo>
                            <a:pt x="36" y="24"/>
                          </a:lnTo>
                          <a:lnTo>
                            <a:pt x="21" y="30"/>
                          </a:lnTo>
                          <a:lnTo>
                            <a:pt x="11" y="42"/>
                          </a:lnTo>
                          <a:lnTo>
                            <a:pt x="14" y="68"/>
                          </a:lnTo>
                          <a:lnTo>
                            <a:pt x="12" y="83"/>
                          </a:lnTo>
                          <a:lnTo>
                            <a:pt x="14" y="101"/>
                          </a:lnTo>
                          <a:lnTo>
                            <a:pt x="0" y="117"/>
                          </a:lnTo>
                          <a:lnTo>
                            <a:pt x="11" y="135"/>
                          </a:lnTo>
                          <a:lnTo>
                            <a:pt x="14" y="146"/>
                          </a:lnTo>
                          <a:lnTo>
                            <a:pt x="12" y="165"/>
                          </a:lnTo>
                          <a:lnTo>
                            <a:pt x="8" y="179"/>
                          </a:lnTo>
                          <a:lnTo>
                            <a:pt x="9" y="200"/>
                          </a:lnTo>
                          <a:lnTo>
                            <a:pt x="15" y="219"/>
                          </a:lnTo>
                          <a:lnTo>
                            <a:pt x="24" y="230"/>
                          </a:lnTo>
                          <a:lnTo>
                            <a:pt x="32" y="222"/>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83" name="Freeform 8">
                      <a:extLst>
                        <a:ext uri="{FF2B5EF4-FFF2-40B4-BE49-F238E27FC236}">
                          <a16:creationId xmlns:a16="http://schemas.microsoft.com/office/drawing/2014/main" id="{EA3AE752-3522-4067-B8CD-1846AA22F2FD}"/>
                        </a:ext>
                      </a:extLst>
                    </p:cNvPr>
                    <p:cNvSpPr>
                      <a:spLocks noChangeAspect="1"/>
                    </p:cNvSpPr>
                    <p:nvPr/>
                  </p:nvSpPr>
                  <p:spPr bwMode="auto">
                    <a:xfrm>
                      <a:off x="7995" y="8442"/>
                      <a:ext cx="90" cy="261"/>
                    </a:xfrm>
                    <a:custGeom>
                      <a:avLst/>
                      <a:gdLst/>
                      <a:ahLst/>
                      <a:cxnLst>
                        <a:cxn ang="0">
                          <a:pos x="33" y="123"/>
                        </a:cxn>
                        <a:cxn ang="0">
                          <a:pos x="36" y="104"/>
                        </a:cxn>
                        <a:cxn ang="0">
                          <a:pos x="29" y="90"/>
                        </a:cxn>
                        <a:cxn ang="0">
                          <a:pos x="29" y="63"/>
                        </a:cxn>
                        <a:cxn ang="0">
                          <a:pos x="32" y="44"/>
                        </a:cxn>
                        <a:cxn ang="0">
                          <a:pos x="36" y="12"/>
                        </a:cxn>
                        <a:cxn ang="0">
                          <a:pos x="45" y="6"/>
                        </a:cxn>
                        <a:cxn ang="0">
                          <a:pos x="54" y="18"/>
                        </a:cxn>
                        <a:cxn ang="0">
                          <a:pos x="63" y="0"/>
                        </a:cxn>
                        <a:cxn ang="0">
                          <a:pos x="71" y="21"/>
                        </a:cxn>
                        <a:cxn ang="0">
                          <a:pos x="63" y="33"/>
                        </a:cxn>
                        <a:cxn ang="0">
                          <a:pos x="60" y="50"/>
                        </a:cxn>
                        <a:cxn ang="0">
                          <a:pos x="68" y="62"/>
                        </a:cxn>
                        <a:cxn ang="0">
                          <a:pos x="81" y="69"/>
                        </a:cxn>
                        <a:cxn ang="0">
                          <a:pos x="80" y="84"/>
                        </a:cxn>
                        <a:cxn ang="0">
                          <a:pos x="69" y="90"/>
                        </a:cxn>
                        <a:cxn ang="0">
                          <a:pos x="68" y="119"/>
                        </a:cxn>
                        <a:cxn ang="0">
                          <a:pos x="81" y="111"/>
                        </a:cxn>
                        <a:cxn ang="0">
                          <a:pos x="90" y="107"/>
                        </a:cxn>
                        <a:cxn ang="0">
                          <a:pos x="87" y="122"/>
                        </a:cxn>
                        <a:cxn ang="0">
                          <a:pos x="80" y="146"/>
                        </a:cxn>
                        <a:cxn ang="0">
                          <a:pos x="71" y="150"/>
                        </a:cxn>
                        <a:cxn ang="0">
                          <a:pos x="71" y="176"/>
                        </a:cxn>
                        <a:cxn ang="0">
                          <a:pos x="68" y="192"/>
                        </a:cxn>
                        <a:cxn ang="0">
                          <a:pos x="62" y="203"/>
                        </a:cxn>
                        <a:cxn ang="0">
                          <a:pos x="80" y="195"/>
                        </a:cxn>
                        <a:cxn ang="0">
                          <a:pos x="83" y="216"/>
                        </a:cxn>
                        <a:cxn ang="0">
                          <a:pos x="84" y="242"/>
                        </a:cxn>
                        <a:cxn ang="0">
                          <a:pos x="78" y="261"/>
                        </a:cxn>
                        <a:cxn ang="0">
                          <a:pos x="62" y="260"/>
                        </a:cxn>
                        <a:cxn ang="0">
                          <a:pos x="59" y="248"/>
                        </a:cxn>
                        <a:cxn ang="0">
                          <a:pos x="56" y="237"/>
                        </a:cxn>
                        <a:cxn ang="0">
                          <a:pos x="42" y="243"/>
                        </a:cxn>
                        <a:cxn ang="0">
                          <a:pos x="32" y="243"/>
                        </a:cxn>
                        <a:cxn ang="0">
                          <a:pos x="35" y="228"/>
                        </a:cxn>
                        <a:cxn ang="0">
                          <a:pos x="48" y="213"/>
                        </a:cxn>
                        <a:cxn ang="0">
                          <a:pos x="38" y="201"/>
                        </a:cxn>
                        <a:cxn ang="0">
                          <a:pos x="33" y="185"/>
                        </a:cxn>
                        <a:cxn ang="0">
                          <a:pos x="17" y="186"/>
                        </a:cxn>
                        <a:cxn ang="0">
                          <a:pos x="17" y="156"/>
                        </a:cxn>
                        <a:cxn ang="0">
                          <a:pos x="0" y="138"/>
                        </a:cxn>
                        <a:cxn ang="0">
                          <a:pos x="9" y="117"/>
                        </a:cxn>
                        <a:cxn ang="0">
                          <a:pos x="12" y="104"/>
                        </a:cxn>
                        <a:cxn ang="0">
                          <a:pos x="23" y="120"/>
                        </a:cxn>
                        <a:cxn ang="0">
                          <a:pos x="33" y="123"/>
                        </a:cxn>
                      </a:cxnLst>
                      <a:rect l="0" t="0" r="r" b="b"/>
                      <a:pathLst>
                        <a:path w="90" h="261">
                          <a:moveTo>
                            <a:pt x="33" y="123"/>
                          </a:moveTo>
                          <a:lnTo>
                            <a:pt x="36" y="104"/>
                          </a:lnTo>
                          <a:lnTo>
                            <a:pt x="29" y="90"/>
                          </a:lnTo>
                          <a:lnTo>
                            <a:pt x="29" y="63"/>
                          </a:lnTo>
                          <a:lnTo>
                            <a:pt x="32" y="44"/>
                          </a:lnTo>
                          <a:lnTo>
                            <a:pt x="36" y="12"/>
                          </a:lnTo>
                          <a:lnTo>
                            <a:pt x="45" y="6"/>
                          </a:lnTo>
                          <a:lnTo>
                            <a:pt x="54" y="18"/>
                          </a:lnTo>
                          <a:lnTo>
                            <a:pt x="63" y="0"/>
                          </a:lnTo>
                          <a:lnTo>
                            <a:pt x="71" y="21"/>
                          </a:lnTo>
                          <a:lnTo>
                            <a:pt x="63" y="33"/>
                          </a:lnTo>
                          <a:lnTo>
                            <a:pt x="60" y="50"/>
                          </a:lnTo>
                          <a:lnTo>
                            <a:pt x="68" y="62"/>
                          </a:lnTo>
                          <a:lnTo>
                            <a:pt x="81" y="69"/>
                          </a:lnTo>
                          <a:lnTo>
                            <a:pt x="80" y="84"/>
                          </a:lnTo>
                          <a:lnTo>
                            <a:pt x="69" y="90"/>
                          </a:lnTo>
                          <a:lnTo>
                            <a:pt x="68" y="119"/>
                          </a:lnTo>
                          <a:lnTo>
                            <a:pt x="81" y="111"/>
                          </a:lnTo>
                          <a:lnTo>
                            <a:pt x="90" y="107"/>
                          </a:lnTo>
                          <a:lnTo>
                            <a:pt x="87" y="122"/>
                          </a:lnTo>
                          <a:lnTo>
                            <a:pt x="80" y="146"/>
                          </a:lnTo>
                          <a:lnTo>
                            <a:pt x="71" y="150"/>
                          </a:lnTo>
                          <a:lnTo>
                            <a:pt x="71" y="176"/>
                          </a:lnTo>
                          <a:lnTo>
                            <a:pt x="68" y="192"/>
                          </a:lnTo>
                          <a:lnTo>
                            <a:pt x="62" y="203"/>
                          </a:lnTo>
                          <a:lnTo>
                            <a:pt x="80" y="195"/>
                          </a:lnTo>
                          <a:lnTo>
                            <a:pt x="83" y="216"/>
                          </a:lnTo>
                          <a:lnTo>
                            <a:pt x="84" y="242"/>
                          </a:lnTo>
                          <a:lnTo>
                            <a:pt x="78" y="261"/>
                          </a:lnTo>
                          <a:lnTo>
                            <a:pt x="62" y="260"/>
                          </a:lnTo>
                          <a:lnTo>
                            <a:pt x="59" y="248"/>
                          </a:lnTo>
                          <a:lnTo>
                            <a:pt x="56" y="237"/>
                          </a:lnTo>
                          <a:lnTo>
                            <a:pt x="42" y="243"/>
                          </a:lnTo>
                          <a:lnTo>
                            <a:pt x="32" y="243"/>
                          </a:lnTo>
                          <a:lnTo>
                            <a:pt x="35" y="228"/>
                          </a:lnTo>
                          <a:lnTo>
                            <a:pt x="48" y="213"/>
                          </a:lnTo>
                          <a:lnTo>
                            <a:pt x="38" y="201"/>
                          </a:lnTo>
                          <a:lnTo>
                            <a:pt x="33" y="185"/>
                          </a:lnTo>
                          <a:lnTo>
                            <a:pt x="17" y="186"/>
                          </a:lnTo>
                          <a:lnTo>
                            <a:pt x="17" y="156"/>
                          </a:lnTo>
                          <a:lnTo>
                            <a:pt x="0" y="138"/>
                          </a:lnTo>
                          <a:lnTo>
                            <a:pt x="9" y="117"/>
                          </a:lnTo>
                          <a:lnTo>
                            <a:pt x="12" y="104"/>
                          </a:lnTo>
                          <a:lnTo>
                            <a:pt x="23" y="120"/>
                          </a:lnTo>
                          <a:lnTo>
                            <a:pt x="33" y="123"/>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84" name="Freeform 9">
                      <a:extLst>
                        <a:ext uri="{FF2B5EF4-FFF2-40B4-BE49-F238E27FC236}">
                          <a16:creationId xmlns:a16="http://schemas.microsoft.com/office/drawing/2014/main" id="{37EE2214-631E-45A3-ACA2-AD4EA56A0EEE}"/>
                        </a:ext>
                      </a:extLst>
                    </p:cNvPr>
                    <p:cNvSpPr>
                      <a:spLocks noChangeAspect="1"/>
                    </p:cNvSpPr>
                    <p:nvPr/>
                  </p:nvSpPr>
                  <p:spPr bwMode="auto">
                    <a:xfrm>
                      <a:off x="7977" y="8912"/>
                      <a:ext cx="81" cy="139"/>
                    </a:xfrm>
                    <a:custGeom>
                      <a:avLst/>
                      <a:gdLst/>
                      <a:ahLst/>
                      <a:cxnLst>
                        <a:cxn ang="0">
                          <a:pos x="59" y="139"/>
                        </a:cxn>
                        <a:cxn ang="0">
                          <a:pos x="75" y="117"/>
                        </a:cxn>
                        <a:cxn ang="0">
                          <a:pos x="65" y="105"/>
                        </a:cxn>
                        <a:cxn ang="0">
                          <a:pos x="66" y="93"/>
                        </a:cxn>
                        <a:cxn ang="0">
                          <a:pos x="78" y="82"/>
                        </a:cxn>
                        <a:cxn ang="0">
                          <a:pos x="81" y="63"/>
                        </a:cxn>
                        <a:cxn ang="0">
                          <a:pos x="77" y="37"/>
                        </a:cxn>
                        <a:cxn ang="0">
                          <a:pos x="62" y="21"/>
                        </a:cxn>
                        <a:cxn ang="0">
                          <a:pos x="53" y="0"/>
                        </a:cxn>
                        <a:cxn ang="0">
                          <a:pos x="42" y="4"/>
                        </a:cxn>
                        <a:cxn ang="0">
                          <a:pos x="23" y="19"/>
                        </a:cxn>
                        <a:cxn ang="0">
                          <a:pos x="20" y="37"/>
                        </a:cxn>
                        <a:cxn ang="0">
                          <a:pos x="9" y="45"/>
                        </a:cxn>
                        <a:cxn ang="0">
                          <a:pos x="0" y="52"/>
                        </a:cxn>
                        <a:cxn ang="0">
                          <a:pos x="6" y="64"/>
                        </a:cxn>
                        <a:cxn ang="0">
                          <a:pos x="17" y="87"/>
                        </a:cxn>
                        <a:cxn ang="0">
                          <a:pos x="23" y="100"/>
                        </a:cxn>
                        <a:cxn ang="0">
                          <a:pos x="11" y="111"/>
                        </a:cxn>
                        <a:cxn ang="0">
                          <a:pos x="8" y="121"/>
                        </a:cxn>
                        <a:cxn ang="0">
                          <a:pos x="9" y="136"/>
                        </a:cxn>
                        <a:cxn ang="0">
                          <a:pos x="24" y="136"/>
                        </a:cxn>
                        <a:cxn ang="0">
                          <a:pos x="36" y="129"/>
                        </a:cxn>
                        <a:cxn ang="0">
                          <a:pos x="59" y="139"/>
                        </a:cxn>
                      </a:cxnLst>
                      <a:rect l="0" t="0" r="r" b="b"/>
                      <a:pathLst>
                        <a:path w="81" h="139">
                          <a:moveTo>
                            <a:pt x="59" y="139"/>
                          </a:moveTo>
                          <a:lnTo>
                            <a:pt x="75" y="117"/>
                          </a:lnTo>
                          <a:lnTo>
                            <a:pt x="65" y="105"/>
                          </a:lnTo>
                          <a:lnTo>
                            <a:pt x="66" y="93"/>
                          </a:lnTo>
                          <a:lnTo>
                            <a:pt x="78" y="82"/>
                          </a:lnTo>
                          <a:lnTo>
                            <a:pt x="81" y="63"/>
                          </a:lnTo>
                          <a:lnTo>
                            <a:pt x="77" y="37"/>
                          </a:lnTo>
                          <a:lnTo>
                            <a:pt x="62" y="21"/>
                          </a:lnTo>
                          <a:lnTo>
                            <a:pt x="53" y="0"/>
                          </a:lnTo>
                          <a:lnTo>
                            <a:pt x="42" y="4"/>
                          </a:lnTo>
                          <a:lnTo>
                            <a:pt x="23" y="19"/>
                          </a:lnTo>
                          <a:lnTo>
                            <a:pt x="20" y="37"/>
                          </a:lnTo>
                          <a:lnTo>
                            <a:pt x="9" y="45"/>
                          </a:lnTo>
                          <a:lnTo>
                            <a:pt x="0" y="52"/>
                          </a:lnTo>
                          <a:lnTo>
                            <a:pt x="6" y="64"/>
                          </a:lnTo>
                          <a:lnTo>
                            <a:pt x="17" y="87"/>
                          </a:lnTo>
                          <a:lnTo>
                            <a:pt x="23" y="100"/>
                          </a:lnTo>
                          <a:lnTo>
                            <a:pt x="11" y="111"/>
                          </a:lnTo>
                          <a:lnTo>
                            <a:pt x="8" y="121"/>
                          </a:lnTo>
                          <a:lnTo>
                            <a:pt x="9" y="136"/>
                          </a:lnTo>
                          <a:lnTo>
                            <a:pt x="24" y="136"/>
                          </a:lnTo>
                          <a:lnTo>
                            <a:pt x="36" y="129"/>
                          </a:lnTo>
                          <a:lnTo>
                            <a:pt x="59" y="139"/>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85" name="Freeform 10">
                      <a:extLst>
                        <a:ext uri="{FF2B5EF4-FFF2-40B4-BE49-F238E27FC236}">
                          <a16:creationId xmlns:a16="http://schemas.microsoft.com/office/drawing/2014/main" id="{663CEDB5-8144-4AA3-BD97-6CE468C09766}"/>
                        </a:ext>
                      </a:extLst>
                    </p:cNvPr>
                    <p:cNvSpPr>
                      <a:spLocks noChangeAspect="1"/>
                    </p:cNvSpPr>
                    <p:nvPr/>
                  </p:nvSpPr>
                  <p:spPr bwMode="auto">
                    <a:xfrm>
                      <a:off x="8549" y="10150"/>
                      <a:ext cx="112" cy="176"/>
                    </a:xfrm>
                    <a:custGeom>
                      <a:avLst/>
                      <a:gdLst/>
                      <a:ahLst/>
                      <a:cxnLst>
                        <a:cxn ang="0">
                          <a:pos x="82" y="176"/>
                        </a:cxn>
                        <a:cxn ang="0">
                          <a:pos x="91" y="158"/>
                        </a:cxn>
                        <a:cxn ang="0">
                          <a:pos x="108" y="158"/>
                        </a:cxn>
                        <a:cxn ang="0">
                          <a:pos x="103" y="135"/>
                        </a:cxn>
                        <a:cxn ang="0">
                          <a:pos x="93" y="125"/>
                        </a:cxn>
                        <a:cxn ang="0">
                          <a:pos x="99" y="113"/>
                        </a:cxn>
                        <a:cxn ang="0">
                          <a:pos x="103" y="102"/>
                        </a:cxn>
                        <a:cxn ang="0">
                          <a:pos x="99" y="87"/>
                        </a:cxn>
                        <a:cxn ang="0">
                          <a:pos x="112" y="77"/>
                        </a:cxn>
                        <a:cxn ang="0">
                          <a:pos x="100" y="66"/>
                        </a:cxn>
                        <a:cxn ang="0">
                          <a:pos x="87" y="54"/>
                        </a:cxn>
                        <a:cxn ang="0">
                          <a:pos x="72" y="44"/>
                        </a:cxn>
                        <a:cxn ang="0">
                          <a:pos x="76" y="32"/>
                        </a:cxn>
                        <a:cxn ang="0">
                          <a:pos x="79" y="17"/>
                        </a:cxn>
                        <a:cxn ang="0">
                          <a:pos x="55" y="0"/>
                        </a:cxn>
                        <a:cxn ang="0">
                          <a:pos x="48" y="14"/>
                        </a:cxn>
                        <a:cxn ang="0">
                          <a:pos x="28" y="21"/>
                        </a:cxn>
                        <a:cxn ang="0">
                          <a:pos x="10" y="26"/>
                        </a:cxn>
                        <a:cxn ang="0">
                          <a:pos x="1" y="41"/>
                        </a:cxn>
                        <a:cxn ang="0">
                          <a:pos x="0" y="60"/>
                        </a:cxn>
                        <a:cxn ang="0">
                          <a:pos x="3" y="74"/>
                        </a:cxn>
                        <a:cxn ang="0">
                          <a:pos x="0" y="90"/>
                        </a:cxn>
                        <a:cxn ang="0">
                          <a:pos x="9" y="95"/>
                        </a:cxn>
                        <a:cxn ang="0">
                          <a:pos x="25" y="96"/>
                        </a:cxn>
                        <a:cxn ang="0">
                          <a:pos x="36" y="105"/>
                        </a:cxn>
                        <a:cxn ang="0">
                          <a:pos x="34" y="117"/>
                        </a:cxn>
                        <a:cxn ang="0">
                          <a:pos x="54" y="123"/>
                        </a:cxn>
                        <a:cxn ang="0">
                          <a:pos x="60" y="146"/>
                        </a:cxn>
                        <a:cxn ang="0">
                          <a:pos x="69" y="173"/>
                        </a:cxn>
                        <a:cxn ang="0">
                          <a:pos x="82" y="176"/>
                        </a:cxn>
                      </a:cxnLst>
                      <a:rect l="0" t="0" r="r" b="b"/>
                      <a:pathLst>
                        <a:path w="112" h="176">
                          <a:moveTo>
                            <a:pt x="82" y="176"/>
                          </a:moveTo>
                          <a:lnTo>
                            <a:pt x="91" y="158"/>
                          </a:lnTo>
                          <a:lnTo>
                            <a:pt x="108" y="158"/>
                          </a:lnTo>
                          <a:lnTo>
                            <a:pt x="103" y="135"/>
                          </a:lnTo>
                          <a:lnTo>
                            <a:pt x="93" y="125"/>
                          </a:lnTo>
                          <a:lnTo>
                            <a:pt x="99" y="113"/>
                          </a:lnTo>
                          <a:lnTo>
                            <a:pt x="103" y="102"/>
                          </a:lnTo>
                          <a:lnTo>
                            <a:pt x="99" y="87"/>
                          </a:lnTo>
                          <a:lnTo>
                            <a:pt x="112" y="77"/>
                          </a:lnTo>
                          <a:lnTo>
                            <a:pt x="100" y="66"/>
                          </a:lnTo>
                          <a:lnTo>
                            <a:pt x="87" y="54"/>
                          </a:lnTo>
                          <a:lnTo>
                            <a:pt x="72" y="44"/>
                          </a:lnTo>
                          <a:lnTo>
                            <a:pt x="76" y="32"/>
                          </a:lnTo>
                          <a:lnTo>
                            <a:pt x="79" y="17"/>
                          </a:lnTo>
                          <a:lnTo>
                            <a:pt x="55" y="0"/>
                          </a:lnTo>
                          <a:lnTo>
                            <a:pt x="48" y="14"/>
                          </a:lnTo>
                          <a:lnTo>
                            <a:pt x="28" y="21"/>
                          </a:lnTo>
                          <a:lnTo>
                            <a:pt x="10" y="26"/>
                          </a:lnTo>
                          <a:lnTo>
                            <a:pt x="1" y="41"/>
                          </a:lnTo>
                          <a:lnTo>
                            <a:pt x="0" y="60"/>
                          </a:lnTo>
                          <a:lnTo>
                            <a:pt x="3" y="74"/>
                          </a:lnTo>
                          <a:lnTo>
                            <a:pt x="0" y="90"/>
                          </a:lnTo>
                          <a:lnTo>
                            <a:pt x="9" y="95"/>
                          </a:lnTo>
                          <a:lnTo>
                            <a:pt x="25" y="96"/>
                          </a:lnTo>
                          <a:lnTo>
                            <a:pt x="36" y="105"/>
                          </a:lnTo>
                          <a:lnTo>
                            <a:pt x="34" y="117"/>
                          </a:lnTo>
                          <a:lnTo>
                            <a:pt x="54" y="123"/>
                          </a:lnTo>
                          <a:lnTo>
                            <a:pt x="60" y="146"/>
                          </a:lnTo>
                          <a:lnTo>
                            <a:pt x="69" y="173"/>
                          </a:lnTo>
                          <a:lnTo>
                            <a:pt x="82" y="176"/>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86" name="Freeform 11">
                      <a:extLst>
                        <a:ext uri="{FF2B5EF4-FFF2-40B4-BE49-F238E27FC236}">
                          <a16:creationId xmlns:a16="http://schemas.microsoft.com/office/drawing/2014/main" id="{3E44E66F-DB08-431A-B4DB-157FBDC84E34}"/>
                        </a:ext>
                      </a:extLst>
                    </p:cNvPr>
                    <p:cNvSpPr>
                      <a:spLocks noChangeAspect="1"/>
                    </p:cNvSpPr>
                    <p:nvPr/>
                  </p:nvSpPr>
                  <p:spPr bwMode="auto">
                    <a:xfrm>
                      <a:off x="8095" y="7929"/>
                      <a:ext cx="37" cy="26"/>
                    </a:xfrm>
                    <a:custGeom>
                      <a:avLst/>
                      <a:gdLst/>
                      <a:ahLst/>
                      <a:cxnLst>
                        <a:cxn ang="0">
                          <a:pos x="28" y="24"/>
                        </a:cxn>
                        <a:cxn ang="0">
                          <a:pos x="16" y="9"/>
                        </a:cxn>
                        <a:cxn ang="0">
                          <a:pos x="4" y="5"/>
                        </a:cxn>
                        <a:cxn ang="0">
                          <a:pos x="13" y="21"/>
                        </a:cxn>
                        <a:cxn ang="0">
                          <a:pos x="28" y="24"/>
                        </a:cxn>
                      </a:cxnLst>
                      <a:rect l="0" t="0" r="r" b="b"/>
                      <a:pathLst>
                        <a:path w="37" h="26">
                          <a:moveTo>
                            <a:pt x="28" y="24"/>
                          </a:moveTo>
                          <a:cubicBezTo>
                            <a:pt x="37" y="12"/>
                            <a:pt x="26" y="11"/>
                            <a:pt x="16" y="9"/>
                          </a:cubicBezTo>
                          <a:cubicBezTo>
                            <a:pt x="12" y="4"/>
                            <a:pt x="10" y="0"/>
                            <a:pt x="4" y="5"/>
                          </a:cubicBezTo>
                          <a:cubicBezTo>
                            <a:pt x="0" y="13"/>
                            <a:pt x="5" y="19"/>
                            <a:pt x="13" y="21"/>
                          </a:cubicBezTo>
                          <a:cubicBezTo>
                            <a:pt x="20" y="26"/>
                            <a:pt x="15" y="24"/>
                            <a:pt x="28" y="24"/>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87" name="Freeform 12">
                      <a:extLst>
                        <a:ext uri="{FF2B5EF4-FFF2-40B4-BE49-F238E27FC236}">
                          <a16:creationId xmlns:a16="http://schemas.microsoft.com/office/drawing/2014/main" id="{01C4BC79-868F-4486-994D-FB5BF16DD037}"/>
                        </a:ext>
                      </a:extLst>
                    </p:cNvPr>
                    <p:cNvSpPr>
                      <a:spLocks noChangeAspect="1"/>
                    </p:cNvSpPr>
                    <p:nvPr/>
                  </p:nvSpPr>
                  <p:spPr bwMode="auto">
                    <a:xfrm>
                      <a:off x="8136" y="8015"/>
                      <a:ext cx="16" cy="15"/>
                    </a:xfrm>
                    <a:custGeom>
                      <a:avLst/>
                      <a:gdLst/>
                      <a:ahLst/>
                      <a:cxnLst>
                        <a:cxn ang="0">
                          <a:pos x="11" y="12"/>
                        </a:cxn>
                        <a:cxn ang="0">
                          <a:pos x="5" y="3"/>
                        </a:cxn>
                        <a:cxn ang="0">
                          <a:pos x="11" y="12"/>
                        </a:cxn>
                      </a:cxnLst>
                      <a:rect l="0" t="0" r="r" b="b"/>
                      <a:pathLst>
                        <a:path w="16" h="15">
                          <a:moveTo>
                            <a:pt x="11" y="12"/>
                          </a:moveTo>
                          <a:cubicBezTo>
                            <a:pt x="16" y="4"/>
                            <a:pt x="15" y="0"/>
                            <a:pt x="5" y="3"/>
                          </a:cubicBezTo>
                          <a:cubicBezTo>
                            <a:pt x="0" y="10"/>
                            <a:pt x="3" y="15"/>
                            <a:pt x="11" y="12"/>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88" name="Freeform 13">
                      <a:extLst>
                        <a:ext uri="{FF2B5EF4-FFF2-40B4-BE49-F238E27FC236}">
                          <a16:creationId xmlns:a16="http://schemas.microsoft.com/office/drawing/2014/main" id="{14AC4360-3E2B-48E7-A728-4427522126CB}"/>
                        </a:ext>
                      </a:extLst>
                    </p:cNvPr>
                    <p:cNvSpPr>
                      <a:spLocks noChangeAspect="1"/>
                    </p:cNvSpPr>
                    <p:nvPr/>
                  </p:nvSpPr>
                  <p:spPr bwMode="auto">
                    <a:xfrm>
                      <a:off x="8058" y="8417"/>
                      <a:ext cx="59" cy="81"/>
                    </a:xfrm>
                    <a:custGeom>
                      <a:avLst/>
                      <a:gdLst/>
                      <a:ahLst/>
                      <a:cxnLst>
                        <a:cxn ang="0">
                          <a:pos x="33" y="61"/>
                        </a:cxn>
                        <a:cxn ang="0">
                          <a:pos x="29" y="51"/>
                        </a:cxn>
                        <a:cxn ang="0">
                          <a:pos x="39" y="43"/>
                        </a:cxn>
                        <a:cxn ang="0">
                          <a:pos x="59" y="22"/>
                        </a:cxn>
                        <a:cxn ang="0">
                          <a:pos x="48" y="10"/>
                        </a:cxn>
                        <a:cxn ang="0">
                          <a:pos x="42" y="0"/>
                        </a:cxn>
                        <a:cxn ang="0">
                          <a:pos x="24" y="0"/>
                        </a:cxn>
                        <a:cxn ang="0">
                          <a:pos x="14" y="6"/>
                        </a:cxn>
                        <a:cxn ang="0">
                          <a:pos x="0" y="13"/>
                        </a:cxn>
                        <a:cxn ang="0">
                          <a:pos x="6" y="24"/>
                        </a:cxn>
                        <a:cxn ang="0">
                          <a:pos x="18" y="34"/>
                        </a:cxn>
                        <a:cxn ang="0">
                          <a:pos x="17" y="51"/>
                        </a:cxn>
                        <a:cxn ang="0">
                          <a:pos x="9" y="67"/>
                        </a:cxn>
                        <a:cxn ang="0">
                          <a:pos x="9" y="81"/>
                        </a:cxn>
                        <a:cxn ang="0">
                          <a:pos x="20" y="78"/>
                        </a:cxn>
                        <a:cxn ang="0">
                          <a:pos x="33" y="61"/>
                        </a:cxn>
                      </a:cxnLst>
                      <a:rect l="0" t="0" r="r" b="b"/>
                      <a:pathLst>
                        <a:path w="59" h="81">
                          <a:moveTo>
                            <a:pt x="33" y="61"/>
                          </a:moveTo>
                          <a:lnTo>
                            <a:pt x="29" y="51"/>
                          </a:lnTo>
                          <a:lnTo>
                            <a:pt x="39" y="43"/>
                          </a:lnTo>
                          <a:lnTo>
                            <a:pt x="59" y="22"/>
                          </a:lnTo>
                          <a:lnTo>
                            <a:pt x="48" y="10"/>
                          </a:lnTo>
                          <a:lnTo>
                            <a:pt x="42" y="0"/>
                          </a:lnTo>
                          <a:lnTo>
                            <a:pt x="24" y="0"/>
                          </a:lnTo>
                          <a:lnTo>
                            <a:pt x="14" y="6"/>
                          </a:lnTo>
                          <a:lnTo>
                            <a:pt x="0" y="13"/>
                          </a:lnTo>
                          <a:lnTo>
                            <a:pt x="6" y="24"/>
                          </a:lnTo>
                          <a:lnTo>
                            <a:pt x="18" y="34"/>
                          </a:lnTo>
                          <a:lnTo>
                            <a:pt x="17" y="51"/>
                          </a:lnTo>
                          <a:lnTo>
                            <a:pt x="9" y="67"/>
                          </a:lnTo>
                          <a:lnTo>
                            <a:pt x="9" y="81"/>
                          </a:lnTo>
                          <a:lnTo>
                            <a:pt x="20" y="78"/>
                          </a:lnTo>
                          <a:lnTo>
                            <a:pt x="33" y="61"/>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89" name="Freeform 14">
                      <a:extLst>
                        <a:ext uri="{FF2B5EF4-FFF2-40B4-BE49-F238E27FC236}">
                          <a16:creationId xmlns:a16="http://schemas.microsoft.com/office/drawing/2014/main" id="{86CE9B4A-179E-486D-9E60-E97166584EF3}"/>
                        </a:ext>
                      </a:extLst>
                    </p:cNvPr>
                    <p:cNvSpPr>
                      <a:spLocks noChangeAspect="1"/>
                    </p:cNvSpPr>
                    <p:nvPr/>
                  </p:nvSpPr>
                  <p:spPr bwMode="auto">
                    <a:xfrm>
                      <a:off x="8007" y="8177"/>
                      <a:ext cx="29" cy="99"/>
                    </a:xfrm>
                    <a:custGeom>
                      <a:avLst/>
                      <a:gdLst/>
                      <a:ahLst/>
                      <a:cxnLst>
                        <a:cxn ang="0">
                          <a:pos x="3" y="81"/>
                        </a:cxn>
                        <a:cxn ang="0">
                          <a:pos x="2" y="69"/>
                        </a:cxn>
                        <a:cxn ang="0">
                          <a:pos x="2" y="55"/>
                        </a:cxn>
                        <a:cxn ang="0">
                          <a:pos x="0" y="18"/>
                        </a:cxn>
                        <a:cxn ang="0">
                          <a:pos x="6" y="10"/>
                        </a:cxn>
                        <a:cxn ang="0">
                          <a:pos x="17" y="0"/>
                        </a:cxn>
                        <a:cxn ang="0">
                          <a:pos x="23" y="9"/>
                        </a:cxn>
                        <a:cxn ang="0">
                          <a:pos x="23" y="30"/>
                        </a:cxn>
                        <a:cxn ang="0">
                          <a:pos x="26" y="63"/>
                        </a:cxn>
                        <a:cxn ang="0">
                          <a:pos x="29" y="81"/>
                        </a:cxn>
                        <a:cxn ang="0">
                          <a:pos x="24" y="99"/>
                        </a:cxn>
                        <a:cxn ang="0">
                          <a:pos x="18" y="78"/>
                        </a:cxn>
                        <a:cxn ang="0">
                          <a:pos x="3" y="81"/>
                        </a:cxn>
                      </a:cxnLst>
                      <a:rect l="0" t="0" r="r" b="b"/>
                      <a:pathLst>
                        <a:path w="29" h="99">
                          <a:moveTo>
                            <a:pt x="3" y="81"/>
                          </a:moveTo>
                          <a:lnTo>
                            <a:pt x="2" y="69"/>
                          </a:lnTo>
                          <a:lnTo>
                            <a:pt x="2" y="55"/>
                          </a:lnTo>
                          <a:lnTo>
                            <a:pt x="0" y="18"/>
                          </a:lnTo>
                          <a:lnTo>
                            <a:pt x="6" y="10"/>
                          </a:lnTo>
                          <a:lnTo>
                            <a:pt x="17" y="0"/>
                          </a:lnTo>
                          <a:lnTo>
                            <a:pt x="23" y="9"/>
                          </a:lnTo>
                          <a:lnTo>
                            <a:pt x="23" y="30"/>
                          </a:lnTo>
                          <a:lnTo>
                            <a:pt x="26" y="63"/>
                          </a:lnTo>
                          <a:lnTo>
                            <a:pt x="29" y="81"/>
                          </a:lnTo>
                          <a:lnTo>
                            <a:pt x="24" y="99"/>
                          </a:lnTo>
                          <a:lnTo>
                            <a:pt x="18" y="78"/>
                          </a:lnTo>
                          <a:lnTo>
                            <a:pt x="3" y="81"/>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90" name="Freeform 15">
                      <a:extLst>
                        <a:ext uri="{FF2B5EF4-FFF2-40B4-BE49-F238E27FC236}">
                          <a16:creationId xmlns:a16="http://schemas.microsoft.com/office/drawing/2014/main" id="{720A1316-FF47-46AF-89DB-7460A22E5297}"/>
                        </a:ext>
                      </a:extLst>
                    </p:cNvPr>
                    <p:cNvSpPr>
                      <a:spLocks noChangeAspect="1"/>
                    </p:cNvSpPr>
                    <p:nvPr/>
                  </p:nvSpPr>
                  <p:spPr bwMode="auto">
                    <a:xfrm>
                      <a:off x="8132" y="8462"/>
                      <a:ext cx="54" cy="90"/>
                    </a:xfrm>
                    <a:custGeom>
                      <a:avLst/>
                      <a:gdLst/>
                      <a:ahLst/>
                      <a:cxnLst>
                        <a:cxn ang="0">
                          <a:pos x="43" y="90"/>
                        </a:cxn>
                        <a:cxn ang="0">
                          <a:pos x="54" y="81"/>
                        </a:cxn>
                        <a:cxn ang="0">
                          <a:pos x="39" y="66"/>
                        </a:cxn>
                        <a:cxn ang="0">
                          <a:pos x="25" y="48"/>
                        </a:cxn>
                        <a:cxn ang="0">
                          <a:pos x="42" y="39"/>
                        </a:cxn>
                        <a:cxn ang="0">
                          <a:pos x="37" y="24"/>
                        </a:cxn>
                        <a:cxn ang="0">
                          <a:pos x="28" y="18"/>
                        </a:cxn>
                        <a:cxn ang="0">
                          <a:pos x="27" y="0"/>
                        </a:cxn>
                        <a:cxn ang="0">
                          <a:pos x="15" y="3"/>
                        </a:cxn>
                        <a:cxn ang="0">
                          <a:pos x="9" y="13"/>
                        </a:cxn>
                        <a:cxn ang="0">
                          <a:pos x="0" y="19"/>
                        </a:cxn>
                        <a:cxn ang="0">
                          <a:pos x="9" y="30"/>
                        </a:cxn>
                        <a:cxn ang="0">
                          <a:pos x="15" y="43"/>
                        </a:cxn>
                        <a:cxn ang="0">
                          <a:pos x="6" y="60"/>
                        </a:cxn>
                        <a:cxn ang="0">
                          <a:pos x="27" y="82"/>
                        </a:cxn>
                        <a:cxn ang="0">
                          <a:pos x="43" y="90"/>
                        </a:cxn>
                      </a:cxnLst>
                      <a:rect l="0" t="0" r="r" b="b"/>
                      <a:pathLst>
                        <a:path w="54" h="90">
                          <a:moveTo>
                            <a:pt x="43" y="90"/>
                          </a:moveTo>
                          <a:lnTo>
                            <a:pt x="54" y="81"/>
                          </a:lnTo>
                          <a:lnTo>
                            <a:pt x="39" y="66"/>
                          </a:lnTo>
                          <a:lnTo>
                            <a:pt x="25" y="48"/>
                          </a:lnTo>
                          <a:lnTo>
                            <a:pt x="42" y="39"/>
                          </a:lnTo>
                          <a:lnTo>
                            <a:pt x="37" y="24"/>
                          </a:lnTo>
                          <a:lnTo>
                            <a:pt x="28" y="18"/>
                          </a:lnTo>
                          <a:lnTo>
                            <a:pt x="27" y="0"/>
                          </a:lnTo>
                          <a:lnTo>
                            <a:pt x="15" y="3"/>
                          </a:lnTo>
                          <a:lnTo>
                            <a:pt x="9" y="13"/>
                          </a:lnTo>
                          <a:lnTo>
                            <a:pt x="0" y="19"/>
                          </a:lnTo>
                          <a:lnTo>
                            <a:pt x="9" y="30"/>
                          </a:lnTo>
                          <a:lnTo>
                            <a:pt x="15" y="43"/>
                          </a:lnTo>
                          <a:lnTo>
                            <a:pt x="6" y="60"/>
                          </a:lnTo>
                          <a:lnTo>
                            <a:pt x="27" y="82"/>
                          </a:lnTo>
                          <a:lnTo>
                            <a:pt x="43" y="90"/>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91" name="Freeform 16">
                      <a:extLst>
                        <a:ext uri="{FF2B5EF4-FFF2-40B4-BE49-F238E27FC236}">
                          <a16:creationId xmlns:a16="http://schemas.microsoft.com/office/drawing/2014/main" id="{60006443-75BD-4B9A-8BC5-985A28F9B8BE}"/>
                        </a:ext>
                      </a:extLst>
                    </p:cNvPr>
                    <p:cNvSpPr>
                      <a:spLocks noChangeAspect="1"/>
                    </p:cNvSpPr>
                    <p:nvPr/>
                  </p:nvSpPr>
                  <p:spPr bwMode="auto">
                    <a:xfrm>
                      <a:off x="8027" y="8706"/>
                      <a:ext cx="46" cy="54"/>
                    </a:xfrm>
                    <a:custGeom>
                      <a:avLst/>
                      <a:gdLst/>
                      <a:ahLst/>
                      <a:cxnLst>
                        <a:cxn ang="0">
                          <a:pos x="4" y="54"/>
                        </a:cxn>
                        <a:cxn ang="0">
                          <a:pos x="13" y="50"/>
                        </a:cxn>
                        <a:cxn ang="0">
                          <a:pos x="34" y="53"/>
                        </a:cxn>
                        <a:cxn ang="0">
                          <a:pos x="46" y="44"/>
                        </a:cxn>
                        <a:cxn ang="0">
                          <a:pos x="28" y="32"/>
                        </a:cxn>
                        <a:cxn ang="0">
                          <a:pos x="36" y="18"/>
                        </a:cxn>
                        <a:cxn ang="0">
                          <a:pos x="33" y="6"/>
                        </a:cxn>
                        <a:cxn ang="0">
                          <a:pos x="13" y="0"/>
                        </a:cxn>
                        <a:cxn ang="0">
                          <a:pos x="7" y="8"/>
                        </a:cxn>
                        <a:cxn ang="0">
                          <a:pos x="7" y="24"/>
                        </a:cxn>
                        <a:cxn ang="0">
                          <a:pos x="12" y="38"/>
                        </a:cxn>
                        <a:cxn ang="0">
                          <a:pos x="0" y="44"/>
                        </a:cxn>
                        <a:cxn ang="0">
                          <a:pos x="4" y="54"/>
                        </a:cxn>
                      </a:cxnLst>
                      <a:rect l="0" t="0" r="r" b="b"/>
                      <a:pathLst>
                        <a:path w="46" h="54">
                          <a:moveTo>
                            <a:pt x="4" y="54"/>
                          </a:moveTo>
                          <a:lnTo>
                            <a:pt x="13" y="50"/>
                          </a:lnTo>
                          <a:lnTo>
                            <a:pt x="34" y="53"/>
                          </a:lnTo>
                          <a:lnTo>
                            <a:pt x="46" y="44"/>
                          </a:lnTo>
                          <a:lnTo>
                            <a:pt x="28" y="32"/>
                          </a:lnTo>
                          <a:lnTo>
                            <a:pt x="36" y="18"/>
                          </a:lnTo>
                          <a:lnTo>
                            <a:pt x="33" y="6"/>
                          </a:lnTo>
                          <a:lnTo>
                            <a:pt x="13" y="0"/>
                          </a:lnTo>
                          <a:lnTo>
                            <a:pt x="7" y="8"/>
                          </a:lnTo>
                          <a:lnTo>
                            <a:pt x="7" y="24"/>
                          </a:lnTo>
                          <a:lnTo>
                            <a:pt x="12" y="38"/>
                          </a:lnTo>
                          <a:lnTo>
                            <a:pt x="0" y="44"/>
                          </a:lnTo>
                          <a:lnTo>
                            <a:pt x="4" y="54"/>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92" name="Freeform 17">
                      <a:extLst>
                        <a:ext uri="{FF2B5EF4-FFF2-40B4-BE49-F238E27FC236}">
                          <a16:creationId xmlns:a16="http://schemas.microsoft.com/office/drawing/2014/main" id="{9D0B14D5-A2A7-4A1A-A4D0-B690AB4FA3FE}"/>
                        </a:ext>
                      </a:extLst>
                    </p:cNvPr>
                    <p:cNvSpPr>
                      <a:spLocks noChangeAspect="1"/>
                    </p:cNvSpPr>
                    <p:nvPr/>
                  </p:nvSpPr>
                  <p:spPr bwMode="auto">
                    <a:xfrm>
                      <a:off x="8522" y="10075"/>
                      <a:ext cx="49" cy="78"/>
                    </a:xfrm>
                    <a:custGeom>
                      <a:avLst/>
                      <a:gdLst/>
                      <a:ahLst/>
                      <a:cxnLst>
                        <a:cxn ang="0">
                          <a:pos x="18" y="78"/>
                        </a:cxn>
                        <a:cxn ang="0">
                          <a:pos x="7" y="71"/>
                        </a:cxn>
                        <a:cxn ang="0">
                          <a:pos x="7" y="50"/>
                        </a:cxn>
                        <a:cxn ang="0">
                          <a:pos x="0" y="36"/>
                        </a:cxn>
                        <a:cxn ang="0">
                          <a:pos x="6" y="24"/>
                        </a:cxn>
                        <a:cxn ang="0">
                          <a:pos x="19" y="27"/>
                        </a:cxn>
                        <a:cxn ang="0">
                          <a:pos x="25" y="11"/>
                        </a:cxn>
                        <a:cxn ang="0">
                          <a:pos x="28" y="0"/>
                        </a:cxn>
                        <a:cxn ang="0">
                          <a:pos x="39" y="11"/>
                        </a:cxn>
                        <a:cxn ang="0">
                          <a:pos x="49" y="26"/>
                        </a:cxn>
                        <a:cxn ang="0">
                          <a:pos x="49" y="38"/>
                        </a:cxn>
                        <a:cxn ang="0">
                          <a:pos x="34" y="48"/>
                        </a:cxn>
                        <a:cxn ang="0">
                          <a:pos x="27" y="59"/>
                        </a:cxn>
                        <a:cxn ang="0">
                          <a:pos x="18" y="78"/>
                        </a:cxn>
                      </a:cxnLst>
                      <a:rect l="0" t="0" r="r" b="b"/>
                      <a:pathLst>
                        <a:path w="49" h="78">
                          <a:moveTo>
                            <a:pt x="18" y="78"/>
                          </a:moveTo>
                          <a:lnTo>
                            <a:pt x="7" y="71"/>
                          </a:lnTo>
                          <a:lnTo>
                            <a:pt x="7" y="50"/>
                          </a:lnTo>
                          <a:lnTo>
                            <a:pt x="0" y="36"/>
                          </a:lnTo>
                          <a:lnTo>
                            <a:pt x="6" y="24"/>
                          </a:lnTo>
                          <a:lnTo>
                            <a:pt x="19" y="27"/>
                          </a:lnTo>
                          <a:lnTo>
                            <a:pt x="25" y="11"/>
                          </a:lnTo>
                          <a:lnTo>
                            <a:pt x="28" y="0"/>
                          </a:lnTo>
                          <a:lnTo>
                            <a:pt x="39" y="11"/>
                          </a:lnTo>
                          <a:lnTo>
                            <a:pt x="49" y="26"/>
                          </a:lnTo>
                          <a:lnTo>
                            <a:pt x="49" y="38"/>
                          </a:lnTo>
                          <a:lnTo>
                            <a:pt x="34" y="48"/>
                          </a:lnTo>
                          <a:lnTo>
                            <a:pt x="27" y="59"/>
                          </a:lnTo>
                          <a:lnTo>
                            <a:pt x="18" y="78"/>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93" name="Freeform 18">
                      <a:extLst>
                        <a:ext uri="{FF2B5EF4-FFF2-40B4-BE49-F238E27FC236}">
                          <a16:creationId xmlns:a16="http://schemas.microsoft.com/office/drawing/2014/main" id="{5644BE52-DEE7-4E8F-A895-BCD93C448A69}"/>
                        </a:ext>
                      </a:extLst>
                    </p:cNvPr>
                    <p:cNvSpPr>
                      <a:spLocks noChangeAspect="1"/>
                    </p:cNvSpPr>
                    <p:nvPr/>
                  </p:nvSpPr>
                  <p:spPr bwMode="auto">
                    <a:xfrm>
                      <a:off x="8391" y="9888"/>
                      <a:ext cx="59" cy="60"/>
                    </a:xfrm>
                    <a:custGeom>
                      <a:avLst/>
                      <a:gdLst/>
                      <a:ahLst/>
                      <a:cxnLst>
                        <a:cxn ang="0">
                          <a:pos x="41" y="48"/>
                        </a:cxn>
                        <a:cxn ang="0">
                          <a:pos x="26" y="54"/>
                        </a:cxn>
                        <a:cxn ang="0">
                          <a:pos x="15" y="60"/>
                        </a:cxn>
                        <a:cxn ang="0">
                          <a:pos x="15" y="42"/>
                        </a:cxn>
                        <a:cxn ang="0">
                          <a:pos x="0" y="30"/>
                        </a:cxn>
                        <a:cxn ang="0">
                          <a:pos x="6" y="16"/>
                        </a:cxn>
                        <a:cxn ang="0">
                          <a:pos x="18" y="9"/>
                        </a:cxn>
                        <a:cxn ang="0">
                          <a:pos x="29" y="0"/>
                        </a:cxn>
                        <a:cxn ang="0">
                          <a:pos x="30" y="15"/>
                        </a:cxn>
                        <a:cxn ang="0">
                          <a:pos x="33" y="27"/>
                        </a:cxn>
                        <a:cxn ang="0">
                          <a:pos x="48" y="31"/>
                        </a:cxn>
                        <a:cxn ang="0">
                          <a:pos x="59" y="40"/>
                        </a:cxn>
                        <a:cxn ang="0">
                          <a:pos x="59" y="55"/>
                        </a:cxn>
                        <a:cxn ang="0">
                          <a:pos x="41" y="48"/>
                        </a:cxn>
                      </a:cxnLst>
                      <a:rect l="0" t="0" r="r" b="b"/>
                      <a:pathLst>
                        <a:path w="59" h="60">
                          <a:moveTo>
                            <a:pt x="41" y="48"/>
                          </a:moveTo>
                          <a:lnTo>
                            <a:pt x="26" y="54"/>
                          </a:lnTo>
                          <a:lnTo>
                            <a:pt x="15" y="60"/>
                          </a:lnTo>
                          <a:lnTo>
                            <a:pt x="15" y="42"/>
                          </a:lnTo>
                          <a:lnTo>
                            <a:pt x="0" y="30"/>
                          </a:lnTo>
                          <a:lnTo>
                            <a:pt x="6" y="16"/>
                          </a:lnTo>
                          <a:lnTo>
                            <a:pt x="18" y="9"/>
                          </a:lnTo>
                          <a:lnTo>
                            <a:pt x="29" y="0"/>
                          </a:lnTo>
                          <a:lnTo>
                            <a:pt x="30" y="15"/>
                          </a:lnTo>
                          <a:lnTo>
                            <a:pt x="33" y="27"/>
                          </a:lnTo>
                          <a:lnTo>
                            <a:pt x="48" y="31"/>
                          </a:lnTo>
                          <a:lnTo>
                            <a:pt x="59" y="40"/>
                          </a:lnTo>
                          <a:lnTo>
                            <a:pt x="59" y="55"/>
                          </a:lnTo>
                          <a:lnTo>
                            <a:pt x="41" y="48"/>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94" name="Freeform 19">
                      <a:extLst>
                        <a:ext uri="{FF2B5EF4-FFF2-40B4-BE49-F238E27FC236}">
                          <a16:creationId xmlns:a16="http://schemas.microsoft.com/office/drawing/2014/main" id="{9FCE78CF-C6A0-443F-AB13-8DF7DCB4DC66}"/>
                        </a:ext>
                      </a:extLst>
                    </p:cNvPr>
                    <p:cNvSpPr>
                      <a:spLocks noChangeAspect="1"/>
                    </p:cNvSpPr>
                    <p:nvPr/>
                  </p:nvSpPr>
                  <p:spPr bwMode="auto">
                    <a:xfrm>
                      <a:off x="8433" y="9805"/>
                      <a:ext cx="54" cy="120"/>
                    </a:xfrm>
                    <a:custGeom>
                      <a:avLst/>
                      <a:gdLst/>
                      <a:ahLst/>
                      <a:cxnLst>
                        <a:cxn ang="0">
                          <a:pos x="0" y="29"/>
                        </a:cxn>
                        <a:cxn ang="0">
                          <a:pos x="15" y="60"/>
                        </a:cxn>
                        <a:cxn ang="0">
                          <a:pos x="21" y="74"/>
                        </a:cxn>
                        <a:cxn ang="0">
                          <a:pos x="18" y="95"/>
                        </a:cxn>
                        <a:cxn ang="0">
                          <a:pos x="36" y="108"/>
                        </a:cxn>
                        <a:cxn ang="0">
                          <a:pos x="51" y="120"/>
                        </a:cxn>
                        <a:cxn ang="0">
                          <a:pos x="54" y="96"/>
                        </a:cxn>
                        <a:cxn ang="0">
                          <a:pos x="51" y="83"/>
                        </a:cxn>
                        <a:cxn ang="0">
                          <a:pos x="38" y="95"/>
                        </a:cxn>
                        <a:cxn ang="0">
                          <a:pos x="30" y="83"/>
                        </a:cxn>
                        <a:cxn ang="0">
                          <a:pos x="41" y="74"/>
                        </a:cxn>
                        <a:cxn ang="0">
                          <a:pos x="36" y="56"/>
                        </a:cxn>
                        <a:cxn ang="0">
                          <a:pos x="23" y="44"/>
                        </a:cxn>
                        <a:cxn ang="0">
                          <a:pos x="23" y="33"/>
                        </a:cxn>
                        <a:cxn ang="0">
                          <a:pos x="35" y="27"/>
                        </a:cxn>
                        <a:cxn ang="0">
                          <a:pos x="36" y="14"/>
                        </a:cxn>
                        <a:cxn ang="0">
                          <a:pos x="29" y="0"/>
                        </a:cxn>
                        <a:cxn ang="0">
                          <a:pos x="20" y="5"/>
                        </a:cxn>
                        <a:cxn ang="0">
                          <a:pos x="20" y="20"/>
                        </a:cxn>
                        <a:cxn ang="0">
                          <a:pos x="0" y="29"/>
                        </a:cxn>
                      </a:cxnLst>
                      <a:rect l="0" t="0" r="r" b="b"/>
                      <a:pathLst>
                        <a:path w="54" h="120">
                          <a:moveTo>
                            <a:pt x="0" y="29"/>
                          </a:moveTo>
                          <a:lnTo>
                            <a:pt x="15" y="60"/>
                          </a:lnTo>
                          <a:lnTo>
                            <a:pt x="21" y="74"/>
                          </a:lnTo>
                          <a:lnTo>
                            <a:pt x="18" y="95"/>
                          </a:lnTo>
                          <a:lnTo>
                            <a:pt x="36" y="108"/>
                          </a:lnTo>
                          <a:lnTo>
                            <a:pt x="51" y="120"/>
                          </a:lnTo>
                          <a:lnTo>
                            <a:pt x="54" y="96"/>
                          </a:lnTo>
                          <a:lnTo>
                            <a:pt x="51" y="83"/>
                          </a:lnTo>
                          <a:lnTo>
                            <a:pt x="38" y="95"/>
                          </a:lnTo>
                          <a:lnTo>
                            <a:pt x="30" y="83"/>
                          </a:lnTo>
                          <a:lnTo>
                            <a:pt x="41" y="74"/>
                          </a:lnTo>
                          <a:lnTo>
                            <a:pt x="36" y="56"/>
                          </a:lnTo>
                          <a:lnTo>
                            <a:pt x="23" y="44"/>
                          </a:lnTo>
                          <a:lnTo>
                            <a:pt x="23" y="33"/>
                          </a:lnTo>
                          <a:lnTo>
                            <a:pt x="35" y="27"/>
                          </a:lnTo>
                          <a:lnTo>
                            <a:pt x="36" y="14"/>
                          </a:lnTo>
                          <a:lnTo>
                            <a:pt x="29" y="0"/>
                          </a:lnTo>
                          <a:lnTo>
                            <a:pt x="20" y="5"/>
                          </a:lnTo>
                          <a:lnTo>
                            <a:pt x="20" y="20"/>
                          </a:lnTo>
                          <a:lnTo>
                            <a:pt x="0" y="29"/>
                          </a:ln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95" name="Freeform 20">
                      <a:extLst>
                        <a:ext uri="{FF2B5EF4-FFF2-40B4-BE49-F238E27FC236}">
                          <a16:creationId xmlns:a16="http://schemas.microsoft.com/office/drawing/2014/main" id="{7DA0306F-6425-4E8B-9BCA-47DA32226E02}"/>
                        </a:ext>
                      </a:extLst>
                    </p:cNvPr>
                    <p:cNvSpPr>
                      <a:spLocks noChangeAspect="1"/>
                    </p:cNvSpPr>
                    <p:nvPr/>
                  </p:nvSpPr>
                  <p:spPr bwMode="auto">
                    <a:xfrm>
                      <a:off x="8147" y="9486"/>
                      <a:ext cx="46" cy="48"/>
                    </a:xfrm>
                    <a:custGeom>
                      <a:avLst/>
                      <a:gdLst/>
                      <a:ahLst/>
                      <a:cxnLst>
                        <a:cxn ang="0">
                          <a:pos x="40" y="39"/>
                        </a:cxn>
                        <a:cxn ang="0">
                          <a:pos x="46" y="25"/>
                        </a:cxn>
                        <a:cxn ang="0">
                          <a:pos x="37" y="10"/>
                        </a:cxn>
                        <a:cxn ang="0">
                          <a:pos x="25" y="0"/>
                        </a:cxn>
                        <a:cxn ang="0">
                          <a:pos x="6" y="13"/>
                        </a:cxn>
                        <a:cxn ang="0">
                          <a:pos x="21" y="43"/>
                        </a:cxn>
                        <a:cxn ang="0">
                          <a:pos x="40" y="39"/>
                        </a:cxn>
                      </a:cxnLst>
                      <a:rect l="0" t="0" r="r" b="b"/>
                      <a:pathLst>
                        <a:path w="46" h="48">
                          <a:moveTo>
                            <a:pt x="40" y="39"/>
                          </a:moveTo>
                          <a:cubicBezTo>
                            <a:pt x="43" y="34"/>
                            <a:pt x="45" y="31"/>
                            <a:pt x="46" y="25"/>
                          </a:cubicBezTo>
                          <a:cubicBezTo>
                            <a:pt x="45" y="16"/>
                            <a:pt x="45" y="13"/>
                            <a:pt x="37" y="10"/>
                          </a:cubicBezTo>
                          <a:cubicBezTo>
                            <a:pt x="33" y="4"/>
                            <a:pt x="33" y="1"/>
                            <a:pt x="25" y="0"/>
                          </a:cubicBezTo>
                          <a:cubicBezTo>
                            <a:pt x="12" y="10"/>
                            <a:pt x="28" y="11"/>
                            <a:pt x="6" y="13"/>
                          </a:cubicBezTo>
                          <a:cubicBezTo>
                            <a:pt x="0" y="28"/>
                            <a:pt x="6" y="41"/>
                            <a:pt x="21" y="43"/>
                          </a:cubicBezTo>
                          <a:cubicBezTo>
                            <a:pt x="43" y="42"/>
                            <a:pt x="46" y="48"/>
                            <a:pt x="40" y="39"/>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96" name="Freeform 21">
                      <a:extLst>
                        <a:ext uri="{FF2B5EF4-FFF2-40B4-BE49-F238E27FC236}">
                          <a16:creationId xmlns:a16="http://schemas.microsoft.com/office/drawing/2014/main" id="{2655D6FF-724E-478E-B65A-95230BEB71E2}"/>
                        </a:ext>
                      </a:extLst>
                    </p:cNvPr>
                    <p:cNvSpPr>
                      <a:spLocks noChangeAspect="1"/>
                    </p:cNvSpPr>
                    <p:nvPr/>
                  </p:nvSpPr>
                  <p:spPr bwMode="auto">
                    <a:xfrm>
                      <a:off x="8470" y="9684"/>
                      <a:ext cx="29" cy="57"/>
                    </a:xfrm>
                    <a:custGeom>
                      <a:avLst/>
                      <a:gdLst/>
                      <a:ahLst/>
                      <a:cxnLst>
                        <a:cxn ang="0">
                          <a:pos x="29" y="52"/>
                        </a:cxn>
                        <a:cxn ang="0">
                          <a:pos x="13" y="0"/>
                        </a:cxn>
                        <a:cxn ang="0">
                          <a:pos x="17" y="22"/>
                        </a:cxn>
                        <a:cxn ang="0">
                          <a:pos x="22" y="57"/>
                        </a:cxn>
                        <a:cxn ang="0">
                          <a:pos x="29" y="52"/>
                        </a:cxn>
                      </a:cxnLst>
                      <a:rect l="0" t="0" r="r" b="b"/>
                      <a:pathLst>
                        <a:path w="29" h="57">
                          <a:moveTo>
                            <a:pt x="29" y="52"/>
                          </a:moveTo>
                          <a:cubicBezTo>
                            <a:pt x="28" y="34"/>
                            <a:pt x="29" y="12"/>
                            <a:pt x="13" y="0"/>
                          </a:cubicBezTo>
                          <a:cubicBezTo>
                            <a:pt x="0" y="3"/>
                            <a:pt x="11" y="17"/>
                            <a:pt x="17" y="22"/>
                          </a:cubicBezTo>
                          <a:cubicBezTo>
                            <a:pt x="22" y="33"/>
                            <a:pt x="17" y="46"/>
                            <a:pt x="22" y="57"/>
                          </a:cubicBezTo>
                          <a:cubicBezTo>
                            <a:pt x="29" y="55"/>
                            <a:pt x="27" y="57"/>
                            <a:pt x="29" y="52"/>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97" name="Freeform 22">
                      <a:extLst>
                        <a:ext uri="{FF2B5EF4-FFF2-40B4-BE49-F238E27FC236}">
                          <a16:creationId xmlns:a16="http://schemas.microsoft.com/office/drawing/2014/main" id="{84866686-1C04-47AD-96FF-DCC3FEB63411}"/>
                        </a:ext>
                      </a:extLst>
                    </p:cNvPr>
                    <p:cNvSpPr>
                      <a:spLocks noChangeAspect="1"/>
                    </p:cNvSpPr>
                    <p:nvPr/>
                  </p:nvSpPr>
                  <p:spPr bwMode="auto">
                    <a:xfrm>
                      <a:off x="8347" y="9817"/>
                      <a:ext cx="29" cy="20"/>
                    </a:xfrm>
                    <a:custGeom>
                      <a:avLst/>
                      <a:gdLst/>
                      <a:ahLst/>
                      <a:cxnLst>
                        <a:cxn ang="0">
                          <a:pos x="4" y="8"/>
                        </a:cxn>
                        <a:cxn ang="0">
                          <a:pos x="5" y="14"/>
                        </a:cxn>
                        <a:cxn ang="0">
                          <a:pos x="8" y="0"/>
                        </a:cxn>
                        <a:cxn ang="0">
                          <a:pos x="4" y="8"/>
                        </a:cxn>
                      </a:cxnLst>
                      <a:rect l="0" t="0" r="r" b="b"/>
                      <a:pathLst>
                        <a:path w="29" h="20">
                          <a:moveTo>
                            <a:pt x="4" y="8"/>
                          </a:moveTo>
                          <a:cubicBezTo>
                            <a:pt x="4" y="10"/>
                            <a:pt x="3" y="13"/>
                            <a:pt x="5" y="14"/>
                          </a:cubicBezTo>
                          <a:cubicBezTo>
                            <a:pt x="29" y="20"/>
                            <a:pt x="17" y="4"/>
                            <a:pt x="8" y="0"/>
                          </a:cubicBezTo>
                          <a:cubicBezTo>
                            <a:pt x="0" y="4"/>
                            <a:pt x="7" y="16"/>
                            <a:pt x="4" y="8"/>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98" name="Freeform 23">
                      <a:extLst>
                        <a:ext uri="{FF2B5EF4-FFF2-40B4-BE49-F238E27FC236}">
                          <a16:creationId xmlns:a16="http://schemas.microsoft.com/office/drawing/2014/main" id="{84943FAF-7A6D-44B0-BDA7-2B59B8F33084}"/>
                        </a:ext>
                      </a:extLst>
                    </p:cNvPr>
                    <p:cNvSpPr>
                      <a:spLocks noChangeAspect="1"/>
                    </p:cNvSpPr>
                    <p:nvPr/>
                  </p:nvSpPr>
                  <p:spPr bwMode="auto">
                    <a:xfrm>
                      <a:off x="8207" y="9611"/>
                      <a:ext cx="20" cy="27"/>
                    </a:xfrm>
                    <a:custGeom>
                      <a:avLst/>
                      <a:gdLst/>
                      <a:ahLst/>
                      <a:cxnLst>
                        <a:cxn ang="0">
                          <a:pos x="12" y="17"/>
                        </a:cxn>
                        <a:cxn ang="0">
                          <a:pos x="16" y="14"/>
                        </a:cxn>
                        <a:cxn ang="0">
                          <a:pos x="1" y="7"/>
                        </a:cxn>
                        <a:cxn ang="0">
                          <a:pos x="12" y="17"/>
                        </a:cxn>
                      </a:cxnLst>
                      <a:rect l="0" t="0" r="r" b="b"/>
                      <a:pathLst>
                        <a:path w="20" h="27">
                          <a:moveTo>
                            <a:pt x="12" y="17"/>
                          </a:moveTo>
                          <a:cubicBezTo>
                            <a:pt x="13" y="16"/>
                            <a:pt x="16" y="16"/>
                            <a:pt x="16" y="14"/>
                          </a:cubicBezTo>
                          <a:cubicBezTo>
                            <a:pt x="20" y="0"/>
                            <a:pt x="10" y="6"/>
                            <a:pt x="1" y="7"/>
                          </a:cubicBezTo>
                          <a:cubicBezTo>
                            <a:pt x="0" y="15"/>
                            <a:pt x="14" y="27"/>
                            <a:pt x="12" y="17"/>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99" name="Freeform 24">
                      <a:extLst>
                        <a:ext uri="{FF2B5EF4-FFF2-40B4-BE49-F238E27FC236}">
                          <a16:creationId xmlns:a16="http://schemas.microsoft.com/office/drawing/2014/main" id="{75A228B5-39C0-43A5-8229-994747062831}"/>
                        </a:ext>
                      </a:extLst>
                    </p:cNvPr>
                    <p:cNvSpPr>
                      <a:spLocks noChangeAspect="1"/>
                    </p:cNvSpPr>
                    <p:nvPr/>
                  </p:nvSpPr>
                  <p:spPr bwMode="auto">
                    <a:xfrm>
                      <a:off x="8274" y="9751"/>
                      <a:ext cx="22" cy="20"/>
                    </a:xfrm>
                    <a:custGeom>
                      <a:avLst/>
                      <a:gdLst/>
                      <a:ahLst/>
                      <a:cxnLst>
                        <a:cxn ang="0">
                          <a:pos x="15" y="15"/>
                        </a:cxn>
                        <a:cxn ang="0">
                          <a:pos x="9" y="0"/>
                        </a:cxn>
                        <a:cxn ang="0">
                          <a:pos x="11" y="20"/>
                        </a:cxn>
                        <a:cxn ang="0">
                          <a:pos x="15" y="15"/>
                        </a:cxn>
                      </a:cxnLst>
                      <a:rect l="0" t="0" r="r" b="b"/>
                      <a:pathLst>
                        <a:path w="22" h="20">
                          <a:moveTo>
                            <a:pt x="15" y="15"/>
                          </a:moveTo>
                          <a:cubicBezTo>
                            <a:pt x="22" y="5"/>
                            <a:pt x="19" y="5"/>
                            <a:pt x="9" y="0"/>
                          </a:cubicBezTo>
                          <a:cubicBezTo>
                            <a:pt x="0" y="5"/>
                            <a:pt x="2" y="16"/>
                            <a:pt x="11" y="20"/>
                          </a:cubicBezTo>
                          <a:cubicBezTo>
                            <a:pt x="18" y="18"/>
                            <a:pt x="18" y="20"/>
                            <a:pt x="15" y="15"/>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00" name="Freeform 25">
                      <a:extLst>
                        <a:ext uri="{FF2B5EF4-FFF2-40B4-BE49-F238E27FC236}">
                          <a16:creationId xmlns:a16="http://schemas.microsoft.com/office/drawing/2014/main" id="{FE0E7920-FEB0-4BFA-842D-B646E440EA8E}"/>
                        </a:ext>
                      </a:extLst>
                    </p:cNvPr>
                    <p:cNvSpPr>
                      <a:spLocks noChangeAspect="1"/>
                    </p:cNvSpPr>
                    <p:nvPr/>
                  </p:nvSpPr>
                  <p:spPr bwMode="auto">
                    <a:xfrm>
                      <a:off x="8296" y="9787"/>
                      <a:ext cx="52" cy="53"/>
                    </a:xfrm>
                    <a:custGeom>
                      <a:avLst/>
                      <a:gdLst/>
                      <a:ahLst/>
                      <a:cxnLst>
                        <a:cxn ang="0">
                          <a:pos x="52" y="53"/>
                        </a:cxn>
                        <a:cxn ang="0">
                          <a:pos x="29" y="35"/>
                        </a:cxn>
                        <a:cxn ang="0">
                          <a:pos x="23" y="21"/>
                        </a:cxn>
                        <a:cxn ang="0">
                          <a:pos x="7" y="3"/>
                        </a:cxn>
                        <a:cxn ang="0">
                          <a:pos x="16" y="39"/>
                        </a:cxn>
                        <a:cxn ang="0">
                          <a:pos x="52" y="53"/>
                        </a:cxn>
                      </a:cxnLst>
                      <a:rect l="0" t="0" r="r" b="b"/>
                      <a:pathLst>
                        <a:path w="52" h="53">
                          <a:moveTo>
                            <a:pt x="52" y="53"/>
                          </a:moveTo>
                          <a:cubicBezTo>
                            <a:pt x="48" y="44"/>
                            <a:pt x="39" y="37"/>
                            <a:pt x="29" y="35"/>
                          </a:cubicBezTo>
                          <a:cubicBezTo>
                            <a:pt x="28" y="29"/>
                            <a:pt x="26" y="26"/>
                            <a:pt x="23" y="21"/>
                          </a:cubicBezTo>
                          <a:cubicBezTo>
                            <a:pt x="22" y="0"/>
                            <a:pt x="25" y="1"/>
                            <a:pt x="7" y="3"/>
                          </a:cubicBezTo>
                          <a:cubicBezTo>
                            <a:pt x="2" y="15"/>
                            <a:pt x="0" y="36"/>
                            <a:pt x="16" y="39"/>
                          </a:cubicBezTo>
                          <a:cubicBezTo>
                            <a:pt x="33" y="52"/>
                            <a:pt x="24" y="53"/>
                            <a:pt x="52" y="53"/>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01" name="Freeform 26">
                      <a:extLst>
                        <a:ext uri="{FF2B5EF4-FFF2-40B4-BE49-F238E27FC236}">
                          <a16:creationId xmlns:a16="http://schemas.microsoft.com/office/drawing/2014/main" id="{E98F030E-3DF0-4576-AA7B-D0C7831287F1}"/>
                        </a:ext>
                      </a:extLst>
                    </p:cNvPr>
                    <p:cNvSpPr>
                      <a:spLocks noChangeAspect="1"/>
                    </p:cNvSpPr>
                    <p:nvPr/>
                  </p:nvSpPr>
                  <p:spPr bwMode="auto">
                    <a:xfrm>
                      <a:off x="8483" y="9853"/>
                      <a:ext cx="16" cy="34"/>
                    </a:xfrm>
                    <a:custGeom>
                      <a:avLst/>
                      <a:gdLst/>
                      <a:ahLst/>
                      <a:cxnLst>
                        <a:cxn ang="0">
                          <a:pos x="12" y="29"/>
                        </a:cxn>
                        <a:cxn ang="0">
                          <a:pos x="1" y="0"/>
                        </a:cxn>
                        <a:cxn ang="0">
                          <a:pos x="12" y="29"/>
                        </a:cxn>
                      </a:cxnLst>
                      <a:rect l="0" t="0" r="r" b="b"/>
                      <a:pathLst>
                        <a:path w="16" h="34">
                          <a:moveTo>
                            <a:pt x="12" y="29"/>
                          </a:moveTo>
                          <a:cubicBezTo>
                            <a:pt x="10" y="8"/>
                            <a:pt x="16" y="6"/>
                            <a:pt x="1" y="0"/>
                          </a:cubicBezTo>
                          <a:cubicBezTo>
                            <a:pt x="0" y="5"/>
                            <a:pt x="2" y="34"/>
                            <a:pt x="12" y="29"/>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02" name="Freeform 27">
                      <a:extLst>
                        <a:ext uri="{FF2B5EF4-FFF2-40B4-BE49-F238E27FC236}">
                          <a16:creationId xmlns:a16="http://schemas.microsoft.com/office/drawing/2014/main" id="{7B1D45A0-365B-454B-958E-BBEFAC84537B}"/>
                        </a:ext>
                      </a:extLst>
                    </p:cNvPr>
                    <p:cNvSpPr>
                      <a:spLocks noChangeAspect="1"/>
                    </p:cNvSpPr>
                    <p:nvPr/>
                  </p:nvSpPr>
                  <p:spPr bwMode="auto">
                    <a:xfrm>
                      <a:off x="8512" y="10065"/>
                      <a:ext cx="22" cy="10"/>
                    </a:xfrm>
                    <a:custGeom>
                      <a:avLst/>
                      <a:gdLst/>
                      <a:ahLst/>
                      <a:cxnLst>
                        <a:cxn ang="0">
                          <a:pos x="14" y="10"/>
                        </a:cxn>
                        <a:cxn ang="0">
                          <a:pos x="11" y="0"/>
                        </a:cxn>
                        <a:cxn ang="0">
                          <a:pos x="14" y="10"/>
                        </a:cxn>
                      </a:cxnLst>
                      <a:rect l="0" t="0" r="r" b="b"/>
                      <a:pathLst>
                        <a:path w="22" h="10">
                          <a:moveTo>
                            <a:pt x="14" y="10"/>
                          </a:moveTo>
                          <a:cubicBezTo>
                            <a:pt x="22" y="5"/>
                            <a:pt x="19" y="1"/>
                            <a:pt x="11" y="0"/>
                          </a:cubicBezTo>
                          <a:cubicBezTo>
                            <a:pt x="0" y="2"/>
                            <a:pt x="5" y="10"/>
                            <a:pt x="14" y="10"/>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03" name="Freeform 28">
                      <a:extLst>
                        <a:ext uri="{FF2B5EF4-FFF2-40B4-BE49-F238E27FC236}">
                          <a16:creationId xmlns:a16="http://schemas.microsoft.com/office/drawing/2014/main" id="{931DA388-3FE4-43FC-896D-D648E1F9BAD5}"/>
                        </a:ext>
                      </a:extLst>
                    </p:cNvPr>
                    <p:cNvSpPr>
                      <a:spLocks noChangeAspect="1"/>
                    </p:cNvSpPr>
                    <p:nvPr/>
                  </p:nvSpPr>
                  <p:spPr bwMode="auto">
                    <a:xfrm>
                      <a:off x="8482" y="10050"/>
                      <a:ext cx="18" cy="12"/>
                    </a:xfrm>
                    <a:custGeom>
                      <a:avLst/>
                      <a:gdLst/>
                      <a:ahLst/>
                      <a:cxnLst>
                        <a:cxn ang="0">
                          <a:pos x="11" y="12"/>
                        </a:cxn>
                        <a:cxn ang="0">
                          <a:pos x="11" y="0"/>
                        </a:cxn>
                        <a:cxn ang="0">
                          <a:pos x="11" y="12"/>
                        </a:cxn>
                      </a:cxnLst>
                      <a:rect l="0" t="0" r="r" b="b"/>
                      <a:pathLst>
                        <a:path w="18" h="12">
                          <a:moveTo>
                            <a:pt x="11" y="12"/>
                          </a:moveTo>
                          <a:cubicBezTo>
                            <a:pt x="15" y="5"/>
                            <a:pt x="18" y="4"/>
                            <a:pt x="11" y="0"/>
                          </a:cubicBezTo>
                          <a:cubicBezTo>
                            <a:pt x="0" y="2"/>
                            <a:pt x="2" y="9"/>
                            <a:pt x="11" y="12"/>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04" name="Freeform 29">
                      <a:extLst>
                        <a:ext uri="{FF2B5EF4-FFF2-40B4-BE49-F238E27FC236}">
                          <a16:creationId xmlns:a16="http://schemas.microsoft.com/office/drawing/2014/main" id="{6274EE59-7A98-4310-B5FA-D02D3D6B2122}"/>
                        </a:ext>
                      </a:extLst>
                    </p:cNvPr>
                    <p:cNvSpPr>
                      <a:spLocks noChangeAspect="1"/>
                    </p:cNvSpPr>
                    <p:nvPr/>
                  </p:nvSpPr>
                  <p:spPr bwMode="auto">
                    <a:xfrm>
                      <a:off x="8554" y="10156"/>
                      <a:ext cx="22" cy="11"/>
                    </a:xfrm>
                    <a:custGeom>
                      <a:avLst/>
                      <a:gdLst/>
                      <a:ahLst/>
                      <a:cxnLst>
                        <a:cxn ang="0">
                          <a:pos x="11" y="11"/>
                        </a:cxn>
                        <a:cxn ang="0">
                          <a:pos x="10" y="0"/>
                        </a:cxn>
                        <a:cxn ang="0">
                          <a:pos x="2" y="6"/>
                        </a:cxn>
                        <a:cxn ang="0">
                          <a:pos x="11" y="11"/>
                        </a:cxn>
                      </a:cxnLst>
                      <a:rect l="0" t="0" r="r" b="b"/>
                      <a:pathLst>
                        <a:path w="22" h="11">
                          <a:moveTo>
                            <a:pt x="11" y="11"/>
                          </a:moveTo>
                          <a:cubicBezTo>
                            <a:pt x="22" y="7"/>
                            <a:pt x="18" y="4"/>
                            <a:pt x="10" y="0"/>
                          </a:cubicBezTo>
                          <a:cubicBezTo>
                            <a:pt x="9" y="0"/>
                            <a:pt x="0" y="2"/>
                            <a:pt x="2" y="6"/>
                          </a:cubicBezTo>
                          <a:cubicBezTo>
                            <a:pt x="3" y="9"/>
                            <a:pt x="11" y="11"/>
                            <a:pt x="11" y="11"/>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05" name="Freeform 30">
                      <a:extLst>
                        <a:ext uri="{FF2B5EF4-FFF2-40B4-BE49-F238E27FC236}">
                          <a16:creationId xmlns:a16="http://schemas.microsoft.com/office/drawing/2014/main" id="{3F44D096-1D23-4A77-89C8-764F8B1654CC}"/>
                        </a:ext>
                      </a:extLst>
                    </p:cNvPr>
                    <p:cNvSpPr>
                      <a:spLocks noChangeAspect="1"/>
                    </p:cNvSpPr>
                    <p:nvPr/>
                  </p:nvSpPr>
                  <p:spPr bwMode="auto">
                    <a:xfrm>
                      <a:off x="8067" y="8758"/>
                      <a:ext cx="19" cy="36"/>
                    </a:xfrm>
                    <a:custGeom>
                      <a:avLst/>
                      <a:gdLst/>
                      <a:ahLst/>
                      <a:cxnLst>
                        <a:cxn ang="0">
                          <a:pos x="9" y="35"/>
                        </a:cxn>
                        <a:cxn ang="0">
                          <a:pos x="5" y="7"/>
                        </a:cxn>
                        <a:cxn ang="0">
                          <a:pos x="5" y="35"/>
                        </a:cxn>
                        <a:cxn ang="0">
                          <a:pos x="9" y="35"/>
                        </a:cxn>
                      </a:cxnLst>
                      <a:rect l="0" t="0" r="r" b="b"/>
                      <a:pathLst>
                        <a:path w="19" h="36">
                          <a:moveTo>
                            <a:pt x="9" y="35"/>
                          </a:moveTo>
                          <a:cubicBezTo>
                            <a:pt x="10" y="28"/>
                            <a:pt x="19" y="0"/>
                            <a:pt x="5" y="7"/>
                          </a:cubicBezTo>
                          <a:cubicBezTo>
                            <a:pt x="0" y="17"/>
                            <a:pt x="0" y="15"/>
                            <a:pt x="5" y="35"/>
                          </a:cubicBezTo>
                          <a:cubicBezTo>
                            <a:pt x="5" y="36"/>
                            <a:pt x="9" y="36"/>
                            <a:pt x="9" y="35"/>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06" name="Freeform 31">
                      <a:extLst>
                        <a:ext uri="{FF2B5EF4-FFF2-40B4-BE49-F238E27FC236}">
                          <a16:creationId xmlns:a16="http://schemas.microsoft.com/office/drawing/2014/main" id="{FBE979FA-F3D9-4A6A-B884-2B0757A47E60}"/>
                        </a:ext>
                      </a:extLst>
                    </p:cNvPr>
                    <p:cNvSpPr>
                      <a:spLocks noChangeAspect="1"/>
                    </p:cNvSpPr>
                    <p:nvPr/>
                  </p:nvSpPr>
                  <p:spPr bwMode="auto">
                    <a:xfrm>
                      <a:off x="7888" y="8673"/>
                      <a:ext cx="37" cy="30"/>
                    </a:xfrm>
                    <a:custGeom>
                      <a:avLst/>
                      <a:gdLst/>
                      <a:ahLst/>
                      <a:cxnLst>
                        <a:cxn ang="0">
                          <a:pos x="29" y="29"/>
                        </a:cxn>
                        <a:cxn ang="0">
                          <a:pos x="23" y="0"/>
                        </a:cxn>
                        <a:cxn ang="0">
                          <a:pos x="2" y="17"/>
                        </a:cxn>
                        <a:cxn ang="0">
                          <a:pos x="10" y="30"/>
                        </a:cxn>
                        <a:cxn ang="0">
                          <a:pos x="29" y="29"/>
                        </a:cxn>
                      </a:cxnLst>
                      <a:rect l="0" t="0" r="r" b="b"/>
                      <a:pathLst>
                        <a:path w="37" h="30">
                          <a:moveTo>
                            <a:pt x="29" y="29"/>
                          </a:moveTo>
                          <a:cubicBezTo>
                            <a:pt x="36" y="18"/>
                            <a:pt x="37" y="6"/>
                            <a:pt x="23" y="0"/>
                          </a:cubicBezTo>
                          <a:cubicBezTo>
                            <a:pt x="13" y="3"/>
                            <a:pt x="6" y="7"/>
                            <a:pt x="2" y="17"/>
                          </a:cubicBezTo>
                          <a:cubicBezTo>
                            <a:pt x="4" y="28"/>
                            <a:pt x="0" y="30"/>
                            <a:pt x="10" y="30"/>
                          </a:cubicBezTo>
                          <a:cubicBezTo>
                            <a:pt x="16" y="30"/>
                            <a:pt x="35" y="29"/>
                            <a:pt x="29" y="29"/>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07" name="Freeform 32">
                      <a:extLst>
                        <a:ext uri="{FF2B5EF4-FFF2-40B4-BE49-F238E27FC236}">
                          <a16:creationId xmlns:a16="http://schemas.microsoft.com/office/drawing/2014/main" id="{1B501A6B-3424-45F6-BAD7-24864BAE1B25}"/>
                        </a:ext>
                      </a:extLst>
                    </p:cNvPr>
                    <p:cNvSpPr>
                      <a:spLocks noChangeAspect="1"/>
                    </p:cNvSpPr>
                    <p:nvPr/>
                  </p:nvSpPr>
                  <p:spPr bwMode="auto">
                    <a:xfrm>
                      <a:off x="8169" y="8416"/>
                      <a:ext cx="23" cy="32"/>
                    </a:xfrm>
                    <a:custGeom>
                      <a:avLst/>
                      <a:gdLst/>
                      <a:ahLst/>
                      <a:cxnLst>
                        <a:cxn ang="0">
                          <a:pos x="9" y="32"/>
                        </a:cxn>
                        <a:cxn ang="0">
                          <a:pos x="23" y="14"/>
                        </a:cxn>
                        <a:cxn ang="0">
                          <a:pos x="2" y="7"/>
                        </a:cxn>
                        <a:cxn ang="0">
                          <a:pos x="9" y="32"/>
                        </a:cxn>
                      </a:cxnLst>
                      <a:rect l="0" t="0" r="r" b="b"/>
                      <a:pathLst>
                        <a:path w="23" h="32">
                          <a:moveTo>
                            <a:pt x="9" y="32"/>
                          </a:moveTo>
                          <a:cubicBezTo>
                            <a:pt x="23" y="29"/>
                            <a:pt x="18" y="26"/>
                            <a:pt x="23" y="14"/>
                          </a:cubicBezTo>
                          <a:cubicBezTo>
                            <a:pt x="20" y="0"/>
                            <a:pt x="15" y="1"/>
                            <a:pt x="2" y="7"/>
                          </a:cubicBezTo>
                          <a:cubicBezTo>
                            <a:pt x="3" y="14"/>
                            <a:pt x="0" y="32"/>
                            <a:pt x="9" y="32"/>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08" name="Freeform 33">
                      <a:extLst>
                        <a:ext uri="{FF2B5EF4-FFF2-40B4-BE49-F238E27FC236}">
                          <a16:creationId xmlns:a16="http://schemas.microsoft.com/office/drawing/2014/main" id="{0B4CBF1B-E09D-48CC-8E7B-BB86AD45C967}"/>
                        </a:ext>
                      </a:extLst>
                    </p:cNvPr>
                    <p:cNvSpPr>
                      <a:spLocks noChangeAspect="1"/>
                    </p:cNvSpPr>
                    <p:nvPr/>
                  </p:nvSpPr>
                  <p:spPr bwMode="auto">
                    <a:xfrm>
                      <a:off x="8164" y="8451"/>
                      <a:ext cx="29" cy="48"/>
                    </a:xfrm>
                    <a:custGeom>
                      <a:avLst/>
                      <a:gdLst/>
                      <a:ahLst/>
                      <a:cxnLst>
                        <a:cxn ang="0">
                          <a:pos x="22" y="44"/>
                        </a:cxn>
                        <a:cxn ang="0">
                          <a:pos x="8" y="0"/>
                        </a:cxn>
                        <a:cxn ang="0">
                          <a:pos x="13" y="39"/>
                        </a:cxn>
                        <a:cxn ang="0">
                          <a:pos x="17" y="48"/>
                        </a:cxn>
                        <a:cxn ang="0">
                          <a:pos x="22" y="44"/>
                        </a:cxn>
                      </a:cxnLst>
                      <a:rect l="0" t="0" r="r" b="b"/>
                      <a:pathLst>
                        <a:path w="29" h="48">
                          <a:moveTo>
                            <a:pt x="22" y="44"/>
                          </a:moveTo>
                          <a:cubicBezTo>
                            <a:pt x="24" y="23"/>
                            <a:pt x="29" y="13"/>
                            <a:pt x="8" y="0"/>
                          </a:cubicBezTo>
                          <a:cubicBezTo>
                            <a:pt x="0" y="14"/>
                            <a:pt x="3" y="26"/>
                            <a:pt x="13" y="39"/>
                          </a:cubicBezTo>
                          <a:cubicBezTo>
                            <a:pt x="13" y="40"/>
                            <a:pt x="14" y="48"/>
                            <a:pt x="17" y="48"/>
                          </a:cubicBezTo>
                          <a:cubicBezTo>
                            <a:pt x="19" y="48"/>
                            <a:pt x="20" y="44"/>
                            <a:pt x="22" y="44"/>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09" name="Freeform 34">
                      <a:extLst>
                        <a:ext uri="{FF2B5EF4-FFF2-40B4-BE49-F238E27FC236}">
                          <a16:creationId xmlns:a16="http://schemas.microsoft.com/office/drawing/2014/main" id="{AAE21194-0378-4839-BC64-ECAADDD4DA09}"/>
                        </a:ext>
                      </a:extLst>
                    </p:cNvPr>
                    <p:cNvSpPr>
                      <a:spLocks noChangeAspect="1"/>
                    </p:cNvSpPr>
                    <p:nvPr/>
                  </p:nvSpPr>
                  <p:spPr bwMode="auto">
                    <a:xfrm>
                      <a:off x="8103" y="8165"/>
                      <a:ext cx="21" cy="28"/>
                    </a:xfrm>
                    <a:custGeom>
                      <a:avLst/>
                      <a:gdLst/>
                      <a:ahLst/>
                      <a:cxnLst>
                        <a:cxn ang="0">
                          <a:pos x="18" y="28"/>
                        </a:cxn>
                        <a:cxn ang="0">
                          <a:pos x="11" y="0"/>
                        </a:cxn>
                        <a:cxn ang="0">
                          <a:pos x="18" y="28"/>
                        </a:cxn>
                      </a:cxnLst>
                      <a:rect l="0" t="0" r="r" b="b"/>
                      <a:pathLst>
                        <a:path w="21" h="28">
                          <a:moveTo>
                            <a:pt x="18" y="28"/>
                          </a:moveTo>
                          <a:cubicBezTo>
                            <a:pt x="20" y="16"/>
                            <a:pt x="21" y="8"/>
                            <a:pt x="11" y="0"/>
                          </a:cubicBezTo>
                          <a:cubicBezTo>
                            <a:pt x="0" y="6"/>
                            <a:pt x="5" y="28"/>
                            <a:pt x="18" y="28"/>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10" name="Freeform 35">
                      <a:extLst>
                        <a:ext uri="{FF2B5EF4-FFF2-40B4-BE49-F238E27FC236}">
                          <a16:creationId xmlns:a16="http://schemas.microsoft.com/office/drawing/2014/main" id="{765123C3-A1A5-4E63-9CC6-833DA3B840F0}"/>
                        </a:ext>
                      </a:extLst>
                    </p:cNvPr>
                    <p:cNvSpPr>
                      <a:spLocks noChangeAspect="1"/>
                    </p:cNvSpPr>
                    <p:nvPr/>
                  </p:nvSpPr>
                  <p:spPr bwMode="auto">
                    <a:xfrm>
                      <a:off x="8006" y="8141"/>
                      <a:ext cx="28" cy="12"/>
                    </a:xfrm>
                    <a:custGeom>
                      <a:avLst/>
                      <a:gdLst/>
                      <a:ahLst/>
                      <a:cxnLst>
                        <a:cxn ang="0">
                          <a:pos x="18" y="12"/>
                        </a:cxn>
                        <a:cxn ang="0">
                          <a:pos x="21" y="0"/>
                        </a:cxn>
                        <a:cxn ang="0">
                          <a:pos x="18" y="12"/>
                        </a:cxn>
                      </a:cxnLst>
                      <a:rect l="0" t="0" r="r" b="b"/>
                      <a:pathLst>
                        <a:path w="28" h="12">
                          <a:moveTo>
                            <a:pt x="18" y="12"/>
                          </a:moveTo>
                          <a:cubicBezTo>
                            <a:pt x="26" y="2"/>
                            <a:pt x="28" y="5"/>
                            <a:pt x="21" y="0"/>
                          </a:cubicBezTo>
                          <a:cubicBezTo>
                            <a:pt x="10" y="2"/>
                            <a:pt x="0" y="12"/>
                            <a:pt x="18" y="12"/>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11" name="Freeform 36">
                      <a:extLst>
                        <a:ext uri="{FF2B5EF4-FFF2-40B4-BE49-F238E27FC236}">
                          <a16:creationId xmlns:a16="http://schemas.microsoft.com/office/drawing/2014/main" id="{32D3EA83-EF96-4FD2-BD67-42A0B6B4FC27}"/>
                        </a:ext>
                      </a:extLst>
                    </p:cNvPr>
                    <p:cNvSpPr>
                      <a:spLocks noChangeAspect="1"/>
                    </p:cNvSpPr>
                    <p:nvPr/>
                  </p:nvSpPr>
                  <p:spPr bwMode="auto">
                    <a:xfrm>
                      <a:off x="8022" y="8094"/>
                      <a:ext cx="21" cy="14"/>
                    </a:xfrm>
                    <a:custGeom>
                      <a:avLst/>
                      <a:gdLst/>
                      <a:ahLst/>
                      <a:cxnLst>
                        <a:cxn ang="0">
                          <a:pos x="15" y="0"/>
                        </a:cxn>
                        <a:cxn ang="0">
                          <a:pos x="9" y="12"/>
                        </a:cxn>
                        <a:cxn ang="0">
                          <a:pos x="15" y="0"/>
                        </a:cxn>
                      </a:cxnLst>
                      <a:rect l="0" t="0" r="r" b="b"/>
                      <a:pathLst>
                        <a:path w="21" h="14">
                          <a:moveTo>
                            <a:pt x="15" y="0"/>
                          </a:moveTo>
                          <a:cubicBezTo>
                            <a:pt x="7" y="2"/>
                            <a:pt x="0" y="5"/>
                            <a:pt x="9" y="12"/>
                          </a:cubicBezTo>
                          <a:cubicBezTo>
                            <a:pt x="21" y="11"/>
                            <a:pt x="17" y="14"/>
                            <a:pt x="15" y="0"/>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12" name="Freeform 37">
                      <a:extLst>
                        <a:ext uri="{FF2B5EF4-FFF2-40B4-BE49-F238E27FC236}">
                          <a16:creationId xmlns:a16="http://schemas.microsoft.com/office/drawing/2014/main" id="{3FB31620-78B2-46AE-8554-748F3CA365BE}"/>
                        </a:ext>
                      </a:extLst>
                    </p:cNvPr>
                    <p:cNvSpPr>
                      <a:spLocks noChangeAspect="1"/>
                    </p:cNvSpPr>
                    <p:nvPr/>
                  </p:nvSpPr>
                  <p:spPr bwMode="auto">
                    <a:xfrm>
                      <a:off x="8032" y="8019"/>
                      <a:ext cx="24" cy="20"/>
                    </a:xfrm>
                    <a:custGeom>
                      <a:avLst/>
                      <a:gdLst/>
                      <a:ahLst/>
                      <a:cxnLst>
                        <a:cxn ang="0">
                          <a:pos x="10" y="20"/>
                        </a:cxn>
                        <a:cxn ang="0">
                          <a:pos x="22" y="8"/>
                        </a:cxn>
                        <a:cxn ang="0">
                          <a:pos x="13" y="2"/>
                        </a:cxn>
                        <a:cxn ang="0">
                          <a:pos x="10" y="20"/>
                        </a:cxn>
                      </a:cxnLst>
                      <a:rect l="0" t="0" r="r" b="b"/>
                      <a:pathLst>
                        <a:path w="24" h="20">
                          <a:moveTo>
                            <a:pt x="10" y="20"/>
                          </a:moveTo>
                          <a:cubicBezTo>
                            <a:pt x="15" y="16"/>
                            <a:pt x="18" y="13"/>
                            <a:pt x="22" y="8"/>
                          </a:cubicBezTo>
                          <a:cubicBezTo>
                            <a:pt x="24" y="0"/>
                            <a:pt x="20" y="0"/>
                            <a:pt x="13" y="2"/>
                          </a:cubicBezTo>
                          <a:cubicBezTo>
                            <a:pt x="10" y="4"/>
                            <a:pt x="0" y="20"/>
                            <a:pt x="10" y="20"/>
                          </a:cubicBezTo>
                          <a:close/>
                        </a:path>
                      </a:pathLst>
                    </a:custGeom>
                    <a:solidFill>
                      <a:schemeClr val="bg1">
                        <a:lumMod val="75000"/>
                      </a:schemeClr>
                    </a:solid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13" name="Freeform 38">
                      <a:extLst>
                        <a:ext uri="{FF2B5EF4-FFF2-40B4-BE49-F238E27FC236}">
                          <a16:creationId xmlns:a16="http://schemas.microsoft.com/office/drawing/2014/main" id="{1E448900-BFA1-4189-8492-70858F3286C8}"/>
                        </a:ext>
                      </a:extLst>
                    </p:cNvPr>
                    <p:cNvSpPr>
                      <a:spLocks noChangeAspect="1"/>
                    </p:cNvSpPr>
                    <p:nvPr/>
                  </p:nvSpPr>
                  <p:spPr bwMode="auto">
                    <a:xfrm>
                      <a:off x="8063" y="7959"/>
                      <a:ext cx="18" cy="21"/>
                    </a:xfrm>
                    <a:custGeom>
                      <a:avLst/>
                      <a:gdLst/>
                      <a:ahLst/>
                      <a:cxnLst>
                        <a:cxn ang="0">
                          <a:pos x="6" y="15"/>
                        </a:cxn>
                        <a:cxn ang="0">
                          <a:pos x="10" y="3"/>
                        </a:cxn>
                        <a:cxn ang="0">
                          <a:pos x="1" y="6"/>
                        </a:cxn>
                        <a:cxn ang="0">
                          <a:pos x="6" y="15"/>
                        </a:cxn>
                      </a:cxnLst>
                      <a:rect l="0" t="0" r="r" b="b"/>
                      <a:pathLst>
                        <a:path w="18" h="21">
                          <a:moveTo>
                            <a:pt x="6" y="15"/>
                          </a:moveTo>
                          <a:cubicBezTo>
                            <a:pt x="13" y="14"/>
                            <a:pt x="18" y="15"/>
                            <a:pt x="10" y="3"/>
                          </a:cubicBezTo>
                          <a:cubicBezTo>
                            <a:pt x="8" y="0"/>
                            <a:pt x="4" y="5"/>
                            <a:pt x="1" y="6"/>
                          </a:cubicBezTo>
                          <a:cubicBezTo>
                            <a:pt x="0" y="10"/>
                            <a:pt x="6" y="21"/>
                            <a:pt x="6" y="15"/>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14" name="Freeform 39">
                      <a:extLst>
                        <a:ext uri="{FF2B5EF4-FFF2-40B4-BE49-F238E27FC236}">
                          <a16:creationId xmlns:a16="http://schemas.microsoft.com/office/drawing/2014/main" id="{03F7CBA0-0A8D-4114-990C-58BF5079030D}"/>
                        </a:ext>
                      </a:extLst>
                    </p:cNvPr>
                    <p:cNvSpPr>
                      <a:spLocks noChangeAspect="1"/>
                    </p:cNvSpPr>
                    <p:nvPr/>
                  </p:nvSpPr>
                  <p:spPr bwMode="auto">
                    <a:xfrm>
                      <a:off x="8057" y="7986"/>
                      <a:ext cx="25" cy="12"/>
                    </a:xfrm>
                    <a:custGeom>
                      <a:avLst/>
                      <a:gdLst/>
                      <a:ahLst/>
                      <a:cxnLst>
                        <a:cxn ang="0">
                          <a:pos x="9" y="12"/>
                        </a:cxn>
                        <a:cxn ang="0">
                          <a:pos x="0" y="2"/>
                        </a:cxn>
                        <a:cxn ang="0">
                          <a:pos x="9" y="12"/>
                        </a:cxn>
                      </a:cxnLst>
                      <a:rect l="0" t="0" r="r" b="b"/>
                      <a:pathLst>
                        <a:path w="25" h="12">
                          <a:moveTo>
                            <a:pt x="9" y="12"/>
                          </a:moveTo>
                          <a:cubicBezTo>
                            <a:pt x="25" y="0"/>
                            <a:pt x="10" y="0"/>
                            <a:pt x="0" y="2"/>
                          </a:cubicBezTo>
                          <a:cubicBezTo>
                            <a:pt x="1" y="12"/>
                            <a:pt x="0" y="12"/>
                            <a:pt x="9" y="12"/>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15" name="Freeform 40">
                      <a:extLst>
                        <a:ext uri="{FF2B5EF4-FFF2-40B4-BE49-F238E27FC236}">
                          <a16:creationId xmlns:a16="http://schemas.microsoft.com/office/drawing/2014/main" id="{42503D1E-DFA9-416D-8657-298CDC5B18F8}"/>
                        </a:ext>
                      </a:extLst>
                    </p:cNvPr>
                    <p:cNvSpPr>
                      <a:spLocks noChangeAspect="1"/>
                    </p:cNvSpPr>
                    <p:nvPr/>
                  </p:nvSpPr>
                  <p:spPr bwMode="auto">
                    <a:xfrm>
                      <a:off x="8115" y="8410"/>
                      <a:ext cx="21" cy="42"/>
                    </a:xfrm>
                    <a:custGeom>
                      <a:avLst/>
                      <a:gdLst/>
                      <a:ahLst/>
                      <a:cxnLst>
                        <a:cxn ang="0">
                          <a:pos x="15" y="37"/>
                        </a:cxn>
                        <a:cxn ang="0">
                          <a:pos x="21" y="10"/>
                        </a:cxn>
                        <a:cxn ang="0">
                          <a:pos x="0" y="5"/>
                        </a:cxn>
                        <a:cxn ang="0">
                          <a:pos x="15" y="37"/>
                        </a:cxn>
                      </a:cxnLst>
                      <a:rect l="0" t="0" r="r" b="b"/>
                      <a:pathLst>
                        <a:path w="21" h="42">
                          <a:moveTo>
                            <a:pt x="15" y="37"/>
                          </a:moveTo>
                          <a:cubicBezTo>
                            <a:pt x="16" y="27"/>
                            <a:pt x="15" y="18"/>
                            <a:pt x="21" y="10"/>
                          </a:cubicBezTo>
                          <a:cubicBezTo>
                            <a:pt x="19" y="0"/>
                            <a:pt x="9" y="4"/>
                            <a:pt x="0" y="5"/>
                          </a:cubicBezTo>
                          <a:cubicBezTo>
                            <a:pt x="2" y="11"/>
                            <a:pt x="1" y="42"/>
                            <a:pt x="15" y="37"/>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16" name="Freeform 41">
                      <a:extLst>
                        <a:ext uri="{FF2B5EF4-FFF2-40B4-BE49-F238E27FC236}">
                          <a16:creationId xmlns:a16="http://schemas.microsoft.com/office/drawing/2014/main" id="{165751D4-A4C5-4A5F-A2CF-D12E04122C7A}"/>
                        </a:ext>
                      </a:extLst>
                    </p:cNvPr>
                    <p:cNvSpPr>
                      <a:spLocks noChangeAspect="1"/>
                    </p:cNvSpPr>
                    <p:nvPr/>
                  </p:nvSpPr>
                  <p:spPr bwMode="auto">
                    <a:xfrm>
                      <a:off x="8109" y="8380"/>
                      <a:ext cx="19" cy="24"/>
                    </a:xfrm>
                    <a:custGeom>
                      <a:avLst/>
                      <a:gdLst/>
                      <a:ahLst/>
                      <a:cxnLst>
                        <a:cxn ang="0">
                          <a:pos x="14" y="17"/>
                        </a:cxn>
                        <a:cxn ang="0">
                          <a:pos x="6" y="2"/>
                        </a:cxn>
                        <a:cxn ang="0">
                          <a:pos x="14" y="17"/>
                        </a:cxn>
                      </a:cxnLst>
                      <a:rect l="0" t="0" r="r" b="b"/>
                      <a:pathLst>
                        <a:path w="19" h="24">
                          <a:moveTo>
                            <a:pt x="14" y="17"/>
                          </a:moveTo>
                          <a:cubicBezTo>
                            <a:pt x="16" y="7"/>
                            <a:pt x="19" y="0"/>
                            <a:pt x="6" y="2"/>
                          </a:cubicBezTo>
                          <a:cubicBezTo>
                            <a:pt x="0" y="12"/>
                            <a:pt x="0" y="24"/>
                            <a:pt x="14" y="17"/>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17" name="Freeform 42">
                      <a:extLst>
                        <a:ext uri="{FF2B5EF4-FFF2-40B4-BE49-F238E27FC236}">
                          <a16:creationId xmlns:a16="http://schemas.microsoft.com/office/drawing/2014/main" id="{AEAC52C8-B065-462F-B297-A2DF31B82AF2}"/>
                        </a:ext>
                      </a:extLst>
                    </p:cNvPr>
                    <p:cNvSpPr>
                      <a:spLocks noChangeAspect="1"/>
                    </p:cNvSpPr>
                    <p:nvPr/>
                  </p:nvSpPr>
                  <p:spPr bwMode="auto">
                    <a:xfrm>
                      <a:off x="8162" y="8393"/>
                      <a:ext cx="15" cy="21"/>
                    </a:xfrm>
                    <a:custGeom>
                      <a:avLst/>
                      <a:gdLst/>
                      <a:ahLst/>
                      <a:cxnLst>
                        <a:cxn ang="0">
                          <a:pos x="7" y="6"/>
                        </a:cxn>
                        <a:cxn ang="0">
                          <a:pos x="3" y="21"/>
                        </a:cxn>
                        <a:cxn ang="0">
                          <a:pos x="7" y="6"/>
                        </a:cxn>
                      </a:cxnLst>
                      <a:rect l="0" t="0" r="r" b="b"/>
                      <a:pathLst>
                        <a:path w="15" h="21">
                          <a:moveTo>
                            <a:pt x="7" y="6"/>
                          </a:moveTo>
                          <a:cubicBezTo>
                            <a:pt x="0" y="11"/>
                            <a:pt x="1" y="12"/>
                            <a:pt x="3" y="21"/>
                          </a:cubicBezTo>
                          <a:cubicBezTo>
                            <a:pt x="15" y="17"/>
                            <a:pt x="15" y="0"/>
                            <a:pt x="7" y="6"/>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18" name="Freeform 43">
                      <a:extLst>
                        <a:ext uri="{FF2B5EF4-FFF2-40B4-BE49-F238E27FC236}">
                          <a16:creationId xmlns:a16="http://schemas.microsoft.com/office/drawing/2014/main" id="{11A9140E-3721-4356-9A18-5284D73983FC}"/>
                        </a:ext>
                      </a:extLst>
                    </p:cNvPr>
                    <p:cNvSpPr>
                      <a:spLocks noChangeAspect="1"/>
                    </p:cNvSpPr>
                    <p:nvPr/>
                  </p:nvSpPr>
                  <p:spPr bwMode="auto">
                    <a:xfrm>
                      <a:off x="8022" y="8334"/>
                      <a:ext cx="13" cy="16"/>
                    </a:xfrm>
                    <a:custGeom>
                      <a:avLst/>
                      <a:gdLst/>
                      <a:ahLst/>
                      <a:cxnLst>
                        <a:cxn ang="0">
                          <a:pos x="12" y="14"/>
                        </a:cxn>
                        <a:cxn ang="0">
                          <a:pos x="11" y="2"/>
                        </a:cxn>
                        <a:cxn ang="0">
                          <a:pos x="5" y="3"/>
                        </a:cxn>
                        <a:cxn ang="0">
                          <a:pos x="12" y="14"/>
                        </a:cxn>
                      </a:cxnLst>
                      <a:rect l="0" t="0" r="r" b="b"/>
                      <a:pathLst>
                        <a:path w="13" h="16">
                          <a:moveTo>
                            <a:pt x="12" y="14"/>
                          </a:moveTo>
                          <a:cubicBezTo>
                            <a:pt x="12" y="10"/>
                            <a:pt x="13" y="5"/>
                            <a:pt x="11" y="2"/>
                          </a:cubicBezTo>
                          <a:cubicBezTo>
                            <a:pt x="10" y="0"/>
                            <a:pt x="6" y="1"/>
                            <a:pt x="5" y="3"/>
                          </a:cubicBezTo>
                          <a:cubicBezTo>
                            <a:pt x="0" y="16"/>
                            <a:pt x="6" y="14"/>
                            <a:pt x="12" y="14"/>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19" name="Freeform 44">
                      <a:extLst>
                        <a:ext uri="{FF2B5EF4-FFF2-40B4-BE49-F238E27FC236}">
                          <a16:creationId xmlns:a16="http://schemas.microsoft.com/office/drawing/2014/main" id="{CFED8762-7A44-413E-A46B-2B2637C42A81}"/>
                        </a:ext>
                      </a:extLst>
                    </p:cNvPr>
                    <p:cNvSpPr>
                      <a:spLocks noChangeAspect="1"/>
                    </p:cNvSpPr>
                    <p:nvPr/>
                  </p:nvSpPr>
                  <p:spPr bwMode="auto">
                    <a:xfrm>
                      <a:off x="8007" y="8661"/>
                      <a:ext cx="18" cy="38"/>
                    </a:xfrm>
                    <a:custGeom>
                      <a:avLst/>
                      <a:gdLst/>
                      <a:ahLst/>
                      <a:cxnLst>
                        <a:cxn ang="0">
                          <a:pos x="18" y="33"/>
                        </a:cxn>
                        <a:cxn ang="0">
                          <a:pos x="9" y="8"/>
                        </a:cxn>
                        <a:cxn ang="0">
                          <a:pos x="0" y="6"/>
                        </a:cxn>
                        <a:cxn ang="0">
                          <a:pos x="5" y="26"/>
                        </a:cxn>
                        <a:cxn ang="0">
                          <a:pos x="18" y="33"/>
                        </a:cxn>
                      </a:cxnLst>
                      <a:rect l="0" t="0" r="r" b="b"/>
                      <a:pathLst>
                        <a:path w="18" h="38">
                          <a:moveTo>
                            <a:pt x="18" y="33"/>
                          </a:moveTo>
                          <a:cubicBezTo>
                            <a:pt x="17" y="21"/>
                            <a:pt x="16" y="17"/>
                            <a:pt x="9" y="8"/>
                          </a:cubicBezTo>
                          <a:cubicBezTo>
                            <a:pt x="8" y="1"/>
                            <a:pt x="4" y="0"/>
                            <a:pt x="0" y="6"/>
                          </a:cubicBezTo>
                          <a:cubicBezTo>
                            <a:pt x="2" y="20"/>
                            <a:pt x="0" y="18"/>
                            <a:pt x="5" y="26"/>
                          </a:cubicBezTo>
                          <a:cubicBezTo>
                            <a:pt x="7" y="29"/>
                            <a:pt x="16" y="38"/>
                            <a:pt x="18" y="33"/>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120" name="Freeform 45">
                      <a:extLst>
                        <a:ext uri="{FF2B5EF4-FFF2-40B4-BE49-F238E27FC236}">
                          <a16:creationId xmlns:a16="http://schemas.microsoft.com/office/drawing/2014/main" id="{C6A7F774-D197-449D-B28A-26A3BDF097A0}"/>
                        </a:ext>
                      </a:extLst>
                    </p:cNvPr>
                    <p:cNvSpPr>
                      <a:spLocks noChangeAspect="1"/>
                    </p:cNvSpPr>
                    <p:nvPr/>
                  </p:nvSpPr>
                  <p:spPr bwMode="auto">
                    <a:xfrm>
                      <a:off x="8008" y="8739"/>
                      <a:ext cx="20" cy="14"/>
                    </a:xfrm>
                    <a:custGeom>
                      <a:avLst/>
                      <a:gdLst/>
                      <a:ahLst/>
                      <a:cxnLst>
                        <a:cxn ang="0">
                          <a:pos x="16" y="0"/>
                        </a:cxn>
                        <a:cxn ang="0">
                          <a:pos x="2" y="14"/>
                        </a:cxn>
                        <a:cxn ang="0">
                          <a:pos x="16" y="0"/>
                        </a:cxn>
                      </a:cxnLst>
                      <a:rect l="0" t="0" r="r" b="b"/>
                      <a:pathLst>
                        <a:path w="20" h="14">
                          <a:moveTo>
                            <a:pt x="16" y="0"/>
                          </a:moveTo>
                          <a:cubicBezTo>
                            <a:pt x="3" y="2"/>
                            <a:pt x="0" y="1"/>
                            <a:pt x="2" y="14"/>
                          </a:cubicBezTo>
                          <a:cubicBezTo>
                            <a:pt x="11" y="12"/>
                            <a:pt x="20" y="12"/>
                            <a:pt x="16" y="0"/>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grpSp>
              <p:grpSp>
                <p:nvGrpSpPr>
                  <p:cNvPr id="52" name="Lakshadweep Island">
                    <a:extLst>
                      <a:ext uri="{FF2B5EF4-FFF2-40B4-BE49-F238E27FC236}">
                        <a16:creationId xmlns:a16="http://schemas.microsoft.com/office/drawing/2014/main" id="{1D544AED-04D5-48DF-A66C-850211EABC62}"/>
                      </a:ext>
                    </a:extLst>
                  </p:cNvPr>
                  <p:cNvGrpSpPr>
                    <a:grpSpLocks noChangeAspect="1"/>
                  </p:cNvGrpSpPr>
                  <p:nvPr/>
                </p:nvGrpSpPr>
                <p:grpSpPr bwMode="auto">
                  <a:xfrm>
                    <a:off x="2690978" y="5632728"/>
                    <a:ext cx="343081" cy="785717"/>
                    <a:chOff x="900" y="8487"/>
                    <a:chExt cx="657" cy="1499"/>
                  </a:xfrm>
                  <a:grpFill/>
                </p:grpSpPr>
                <p:sp>
                  <p:nvSpPr>
                    <p:cNvPr id="60" name="Freeform 47">
                      <a:extLst>
                        <a:ext uri="{FF2B5EF4-FFF2-40B4-BE49-F238E27FC236}">
                          <a16:creationId xmlns:a16="http://schemas.microsoft.com/office/drawing/2014/main" id="{60E45812-9689-4526-9BF2-586E17447F57}"/>
                        </a:ext>
                      </a:extLst>
                    </p:cNvPr>
                    <p:cNvSpPr>
                      <a:spLocks noChangeAspect="1"/>
                    </p:cNvSpPr>
                    <p:nvPr/>
                  </p:nvSpPr>
                  <p:spPr bwMode="auto">
                    <a:xfrm>
                      <a:off x="942" y="8487"/>
                      <a:ext cx="38" cy="81"/>
                    </a:xfrm>
                    <a:custGeom>
                      <a:avLst/>
                      <a:gdLst/>
                      <a:ahLst/>
                      <a:cxnLst>
                        <a:cxn ang="0">
                          <a:pos x="26" y="70"/>
                        </a:cxn>
                        <a:cxn ang="0">
                          <a:pos x="36" y="58"/>
                        </a:cxn>
                        <a:cxn ang="0">
                          <a:pos x="38" y="10"/>
                        </a:cxn>
                        <a:cxn ang="0">
                          <a:pos x="20" y="4"/>
                        </a:cxn>
                        <a:cxn ang="0">
                          <a:pos x="12" y="16"/>
                        </a:cxn>
                        <a:cxn ang="0">
                          <a:pos x="0" y="52"/>
                        </a:cxn>
                        <a:cxn ang="0">
                          <a:pos x="14" y="81"/>
                        </a:cxn>
                        <a:cxn ang="0">
                          <a:pos x="26" y="70"/>
                        </a:cxn>
                      </a:cxnLst>
                      <a:rect l="0" t="0" r="r" b="b"/>
                      <a:pathLst>
                        <a:path w="38" h="81">
                          <a:moveTo>
                            <a:pt x="26" y="70"/>
                          </a:moveTo>
                          <a:cubicBezTo>
                            <a:pt x="31" y="66"/>
                            <a:pt x="33" y="63"/>
                            <a:pt x="36" y="58"/>
                          </a:cubicBezTo>
                          <a:cubicBezTo>
                            <a:pt x="33" y="42"/>
                            <a:pt x="32" y="25"/>
                            <a:pt x="38" y="10"/>
                          </a:cubicBezTo>
                          <a:cubicBezTo>
                            <a:pt x="35" y="0"/>
                            <a:pt x="30" y="3"/>
                            <a:pt x="20" y="4"/>
                          </a:cubicBezTo>
                          <a:cubicBezTo>
                            <a:pt x="13" y="7"/>
                            <a:pt x="15" y="10"/>
                            <a:pt x="12" y="16"/>
                          </a:cubicBezTo>
                          <a:cubicBezTo>
                            <a:pt x="11" y="40"/>
                            <a:pt x="11" y="37"/>
                            <a:pt x="0" y="52"/>
                          </a:cubicBezTo>
                          <a:cubicBezTo>
                            <a:pt x="3" y="68"/>
                            <a:pt x="3" y="70"/>
                            <a:pt x="14" y="81"/>
                          </a:cubicBezTo>
                          <a:cubicBezTo>
                            <a:pt x="24" y="79"/>
                            <a:pt x="31" y="80"/>
                            <a:pt x="26" y="70"/>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61" name="Freeform 48">
                      <a:extLst>
                        <a:ext uri="{FF2B5EF4-FFF2-40B4-BE49-F238E27FC236}">
                          <a16:creationId xmlns:a16="http://schemas.microsoft.com/office/drawing/2014/main" id="{DE2F472D-2488-4DE0-AC60-90F2C9CBBB2B}"/>
                        </a:ext>
                      </a:extLst>
                    </p:cNvPr>
                    <p:cNvSpPr>
                      <a:spLocks noChangeAspect="1"/>
                    </p:cNvSpPr>
                    <p:nvPr/>
                  </p:nvSpPr>
                  <p:spPr bwMode="auto">
                    <a:xfrm>
                      <a:off x="900" y="8617"/>
                      <a:ext cx="43" cy="64"/>
                    </a:xfrm>
                    <a:custGeom>
                      <a:avLst/>
                      <a:gdLst/>
                      <a:ahLst/>
                      <a:cxnLst>
                        <a:cxn ang="0">
                          <a:pos x="30" y="21"/>
                        </a:cxn>
                        <a:cxn ang="0">
                          <a:pos x="9" y="0"/>
                        </a:cxn>
                        <a:cxn ang="0">
                          <a:pos x="0" y="24"/>
                        </a:cxn>
                        <a:cxn ang="0">
                          <a:pos x="8" y="51"/>
                        </a:cxn>
                        <a:cxn ang="0">
                          <a:pos x="29" y="59"/>
                        </a:cxn>
                        <a:cxn ang="0">
                          <a:pos x="30" y="21"/>
                        </a:cxn>
                      </a:cxnLst>
                      <a:rect l="0" t="0" r="r" b="b"/>
                      <a:pathLst>
                        <a:path w="43" h="64">
                          <a:moveTo>
                            <a:pt x="30" y="21"/>
                          </a:moveTo>
                          <a:cubicBezTo>
                            <a:pt x="21" y="14"/>
                            <a:pt x="19" y="6"/>
                            <a:pt x="9" y="0"/>
                          </a:cubicBezTo>
                          <a:cubicBezTo>
                            <a:pt x="3" y="7"/>
                            <a:pt x="4" y="16"/>
                            <a:pt x="0" y="24"/>
                          </a:cubicBezTo>
                          <a:cubicBezTo>
                            <a:pt x="1" y="34"/>
                            <a:pt x="3" y="42"/>
                            <a:pt x="8" y="51"/>
                          </a:cubicBezTo>
                          <a:cubicBezTo>
                            <a:pt x="11" y="64"/>
                            <a:pt x="14" y="60"/>
                            <a:pt x="29" y="59"/>
                          </a:cubicBezTo>
                          <a:cubicBezTo>
                            <a:pt x="43" y="49"/>
                            <a:pt x="25" y="19"/>
                            <a:pt x="30" y="21"/>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62" name="Freeform 49">
                      <a:extLst>
                        <a:ext uri="{FF2B5EF4-FFF2-40B4-BE49-F238E27FC236}">
                          <a16:creationId xmlns:a16="http://schemas.microsoft.com/office/drawing/2014/main" id="{7AA2F545-ACD3-4853-A082-01288587EBB5}"/>
                        </a:ext>
                      </a:extLst>
                    </p:cNvPr>
                    <p:cNvSpPr>
                      <a:spLocks noChangeAspect="1"/>
                    </p:cNvSpPr>
                    <p:nvPr/>
                  </p:nvSpPr>
                  <p:spPr bwMode="auto">
                    <a:xfrm>
                      <a:off x="957" y="8910"/>
                      <a:ext cx="41" cy="26"/>
                    </a:xfrm>
                    <a:custGeom>
                      <a:avLst/>
                      <a:gdLst/>
                      <a:ahLst/>
                      <a:cxnLst>
                        <a:cxn ang="0">
                          <a:pos x="35" y="22"/>
                        </a:cxn>
                        <a:cxn ang="0">
                          <a:pos x="41" y="7"/>
                        </a:cxn>
                        <a:cxn ang="0">
                          <a:pos x="26" y="0"/>
                        </a:cxn>
                        <a:cxn ang="0">
                          <a:pos x="6" y="3"/>
                        </a:cxn>
                        <a:cxn ang="0">
                          <a:pos x="23" y="16"/>
                        </a:cxn>
                        <a:cxn ang="0">
                          <a:pos x="35" y="22"/>
                        </a:cxn>
                      </a:cxnLst>
                      <a:rect l="0" t="0" r="r" b="b"/>
                      <a:pathLst>
                        <a:path w="41" h="26">
                          <a:moveTo>
                            <a:pt x="35" y="22"/>
                          </a:moveTo>
                          <a:cubicBezTo>
                            <a:pt x="36" y="16"/>
                            <a:pt x="39" y="13"/>
                            <a:pt x="41" y="7"/>
                          </a:cubicBezTo>
                          <a:cubicBezTo>
                            <a:pt x="35" y="4"/>
                            <a:pt x="33" y="1"/>
                            <a:pt x="26" y="0"/>
                          </a:cubicBezTo>
                          <a:cubicBezTo>
                            <a:pt x="24" y="0"/>
                            <a:pt x="7" y="2"/>
                            <a:pt x="6" y="3"/>
                          </a:cubicBezTo>
                          <a:cubicBezTo>
                            <a:pt x="0" y="8"/>
                            <a:pt x="22" y="16"/>
                            <a:pt x="23" y="16"/>
                          </a:cubicBezTo>
                          <a:cubicBezTo>
                            <a:pt x="27" y="23"/>
                            <a:pt x="26" y="26"/>
                            <a:pt x="35" y="22"/>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63" name="Freeform 50">
                      <a:extLst>
                        <a:ext uri="{FF2B5EF4-FFF2-40B4-BE49-F238E27FC236}">
                          <a16:creationId xmlns:a16="http://schemas.microsoft.com/office/drawing/2014/main" id="{0AF1AA17-7534-498A-995D-2E6FB416EA82}"/>
                        </a:ext>
                      </a:extLst>
                    </p:cNvPr>
                    <p:cNvSpPr>
                      <a:spLocks noChangeAspect="1"/>
                    </p:cNvSpPr>
                    <p:nvPr/>
                  </p:nvSpPr>
                  <p:spPr bwMode="auto">
                    <a:xfrm rot="10800000">
                      <a:off x="1142" y="9114"/>
                      <a:ext cx="60" cy="47"/>
                    </a:xfrm>
                    <a:custGeom>
                      <a:avLst/>
                      <a:gdLst/>
                      <a:ahLst/>
                      <a:cxnLst>
                        <a:cxn ang="0">
                          <a:pos x="23" y="18"/>
                        </a:cxn>
                        <a:cxn ang="0">
                          <a:pos x="44" y="0"/>
                        </a:cxn>
                        <a:cxn ang="0">
                          <a:pos x="38" y="11"/>
                        </a:cxn>
                        <a:cxn ang="0">
                          <a:pos x="21" y="39"/>
                        </a:cxn>
                        <a:cxn ang="0">
                          <a:pos x="0" y="32"/>
                        </a:cxn>
                        <a:cxn ang="0">
                          <a:pos x="23" y="18"/>
                        </a:cxn>
                      </a:cxnLst>
                      <a:rect l="0" t="0" r="r" b="b"/>
                      <a:pathLst>
                        <a:path w="60" h="47">
                          <a:moveTo>
                            <a:pt x="23" y="18"/>
                          </a:moveTo>
                          <a:cubicBezTo>
                            <a:pt x="28" y="8"/>
                            <a:pt x="33" y="4"/>
                            <a:pt x="44" y="0"/>
                          </a:cubicBezTo>
                          <a:cubicBezTo>
                            <a:pt x="60" y="5"/>
                            <a:pt x="48" y="9"/>
                            <a:pt x="38" y="11"/>
                          </a:cubicBezTo>
                          <a:cubicBezTo>
                            <a:pt x="26" y="21"/>
                            <a:pt x="39" y="35"/>
                            <a:pt x="21" y="39"/>
                          </a:cubicBezTo>
                          <a:cubicBezTo>
                            <a:pt x="10" y="47"/>
                            <a:pt x="6" y="40"/>
                            <a:pt x="0" y="32"/>
                          </a:cubicBezTo>
                          <a:cubicBezTo>
                            <a:pt x="4" y="16"/>
                            <a:pt x="9" y="14"/>
                            <a:pt x="23" y="18"/>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64" name="Freeform 51">
                      <a:extLst>
                        <a:ext uri="{FF2B5EF4-FFF2-40B4-BE49-F238E27FC236}">
                          <a16:creationId xmlns:a16="http://schemas.microsoft.com/office/drawing/2014/main" id="{32E81A66-C7A7-467E-A674-607FAA440A62}"/>
                        </a:ext>
                      </a:extLst>
                    </p:cNvPr>
                    <p:cNvSpPr>
                      <a:spLocks noChangeAspect="1"/>
                    </p:cNvSpPr>
                    <p:nvPr/>
                  </p:nvSpPr>
                  <p:spPr bwMode="auto">
                    <a:xfrm>
                      <a:off x="1228" y="8903"/>
                      <a:ext cx="28" cy="23"/>
                    </a:xfrm>
                    <a:custGeom>
                      <a:avLst/>
                      <a:gdLst/>
                      <a:ahLst/>
                      <a:cxnLst>
                        <a:cxn ang="0">
                          <a:pos x="7" y="1"/>
                        </a:cxn>
                        <a:cxn ang="0">
                          <a:pos x="23" y="2"/>
                        </a:cxn>
                        <a:cxn ang="0">
                          <a:pos x="13" y="14"/>
                        </a:cxn>
                        <a:cxn ang="0">
                          <a:pos x="2" y="19"/>
                        </a:cxn>
                        <a:cxn ang="0">
                          <a:pos x="7" y="1"/>
                        </a:cxn>
                      </a:cxnLst>
                      <a:rect l="0" t="0" r="r" b="b"/>
                      <a:pathLst>
                        <a:path w="28" h="23">
                          <a:moveTo>
                            <a:pt x="7" y="1"/>
                          </a:moveTo>
                          <a:cubicBezTo>
                            <a:pt x="12" y="1"/>
                            <a:pt x="18" y="0"/>
                            <a:pt x="23" y="2"/>
                          </a:cubicBezTo>
                          <a:cubicBezTo>
                            <a:pt x="28" y="4"/>
                            <a:pt x="13" y="14"/>
                            <a:pt x="13" y="14"/>
                          </a:cubicBezTo>
                          <a:cubicBezTo>
                            <a:pt x="10" y="21"/>
                            <a:pt x="9" y="23"/>
                            <a:pt x="2" y="19"/>
                          </a:cubicBezTo>
                          <a:cubicBezTo>
                            <a:pt x="0" y="11"/>
                            <a:pt x="2" y="6"/>
                            <a:pt x="7" y="1"/>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65" name="Freeform 52">
                      <a:extLst>
                        <a:ext uri="{FF2B5EF4-FFF2-40B4-BE49-F238E27FC236}">
                          <a16:creationId xmlns:a16="http://schemas.microsoft.com/office/drawing/2014/main" id="{1517B472-E8B6-42B9-A5FB-98B5EFE6167B}"/>
                        </a:ext>
                      </a:extLst>
                    </p:cNvPr>
                    <p:cNvSpPr>
                      <a:spLocks noChangeAspect="1"/>
                    </p:cNvSpPr>
                    <p:nvPr/>
                  </p:nvSpPr>
                  <p:spPr bwMode="auto">
                    <a:xfrm>
                      <a:off x="1528" y="9057"/>
                      <a:ext cx="29" cy="20"/>
                    </a:xfrm>
                    <a:custGeom>
                      <a:avLst/>
                      <a:gdLst/>
                      <a:ahLst/>
                      <a:cxnLst>
                        <a:cxn ang="0">
                          <a:pos x="29" y="9"/>
                        </a:cxn>
                        <a:cxn ang="0">
                          <a:pos x="16" y="0"/>
                        </a:cxn>
                        <a:cxn ang="0">
                          <a:pos x="13" y="18"/>
                        </a:cxn>
                        <a:cxn ang="0">
                          <a:pos x="29" y="9"/>
                        </a:cxn>
                      </a:cxnLst>
                      <a:rect l="0" t="0" r="r" b="b"/>
                      <a:pathLst>
                        <a:path w="29" h="20">
                          <a:moveTo>
                            <a:pt x="29" y="9"/>
                          </a:moveTo>
                          <a:cubicBezTo>
                            <a:pt x="25" y="6"/>
                            <a:pt x="20" y="3"/>
                            <a:pt x="16" y="0"/>
                          </a:cubicBezTo>
                          <a:cubicBezTo>
                            <a:pt x="5" y="1"/>
                            <a:pt x="0" y="13"/>
                            <a:pt x="13" y="18"/>
                          </a:cubicBezTo>
                          <a:cubicBezTo>
                            <a:pt x="27" y="16"/>
                            <a:pt x="29" y="20"/>
                            <a:pt x="29" y="9"/>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66" name="Freeform 53">
                      <a:extLst>
                        <a:ext uri="{FF2B5EF4-FFF2-40B4-BE49-F238E27FC236}">
                          <a16:creationId xmlns:a16="http://schemas.microsoft.com/office/drawing/2014/main" id="{D17CB856-37F7-4C03-8D3B-27246517C460}"/>
                        </a:ext>
                      </a:extLst>
                    </p:cNvPr>
                    <p:cNvSpPr>
                      <a:spLocks noChangeAspect="1"/>
                    </p:cNvSpPr>
                    <p:nvPr/>
                  </p:nvSpPr>
                  <p:spPr bwMode="auto">
                    <a:xfrm>
                      <a:off x="1051" y="8989"/>
                      <a:ext cx="35" cy="22"/>
                    </a:xfrm>
                    <a:custGeom>
                      <a:avLst/>
                      <a:gdLst/>
                      <a:ahLst/>
                      <a:cxnLst>
                        <a:cxn ang="0">
                          <a:pos x="31" y="3"/>
                        </a:cxn>
                        <a:cxn ang="0">
                          <a:pos x="7" y="6"/>
                        </a:cxn>
                        <a:cxn ang="0">
                          <a:pos x="31" y="15"/>
                        </a:cxn>
                        <a:cxn ang="0">
                          <a:pos x="31" y="3"/>
                        </a:cxn>
                      </a:cxnLst>
                      <a:rect l="0" t="0" r="r" b="b"/>
                      <a:pathLst>
                        <a:path w="35" h="22">
                          <a:moveTo>
                            <a:pt x="31" y="3"/>
                          </a:moveTo>
                          <a:cubicBezTo>
                            <a:pt x="24" y="0"/>
                            <a:pt x="7" y="6"/>
                            <a:pt x="7" y="6"/>
                          </a:cubicBezTo>
                          <a:cubicBezTo>
                            <a:pt x="0" y="20"/>
                            <a:pt x="17" y="22"/>
                            <a:pt x="31" y="15"/>
                          </a:cubicBezTo>
                          <a:cubicBezTo>
                            <a:pt x="35" y="13"/>
                            <a:pt x="31" y="7"/>
                            <a:pt x="31" y="3"/>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67" name="Freeform 54">
                      <a:extLst>
                        <a:ext uri="{FF2B5EF4-FFF2-40B4-BE49-F238E27FC236}">
                          <a16:creationId xmlns:a16="http://schemas.microsoft.com/office/drawing/2014/main" id="{93EA9B8E-F57E-4653-9859-AF0D392FF218}"/>
                        </a:ext>
                      </a:extLst>
                    </p:cNvPr>
                    <p:cNvSpPr>
                      <a:spLocks noChangeAspect="1"/>
                    </p:cNvSpPr>
                    <p:nvPr/>
                  </p:nvSpPr>
                  <p:spPr bwMode="auto">
                    <a:xfrm>
                      <a:off x="1022" y="9024"/>
                      <a:ext cx="27" cy="15"/>
                    </a:xfrm>
                    <a:custGeom>
                      <a:avLst/>
                      <a:gdLst/>
                      <a:ahLst/>
                      <a:cxnLst>
                        <a:cxn ang="0">
                          <a:pos x="9" y="0"/>
                        </a:cxn>
                        <a:cxn ang="0">
                          <a:pos x="1" y="13"/>
                        </a:cxn>
                        <a:cxn ang="0">
                          <a:pos x="16" y="12"/>
                        </a:cxn>
                        <a:cxn ang="0">
                          <a:pos x="9" y="0"/>
                        </a:cxn>
                      </a:cxnLst>
                      <a:rect l="0" t="0" r="r" b="b"/>
                      <a:pathLst>
                        <a:path w="27" h="15">
                          <a:moveTo>
                            <a:pt x="9" y="0"/>
                          </a:moveTo>
                          <a:cubicBezTo>
                            <a:pt x="0" y="2"/>
                            <a:pt x="0" y="4"/>
                            <a:pt x="1" y="13"/>
                          </a:cubicBezTo>
                          <a:cubicBezTo>
                            <a:pt x="6" y="13"/>
                            <a:pt x="12" y="15"/>
                            <a:pt x="16" y="12"/>
                          </a:cubicBezTo>
                          <a:cubicBezTo>
                            <a:pt x="27" y="2"/>
                            <a:pt x="12" y="0"/>
                            <a:pt x="9" y="0"/>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68" name="Freeform 55">
                      <a:extLst>
                        <a:ext uri="{FF2B5EF4-FFF2-40B4-BE49-F238E27FC236}">
                          <a16:creationId xmlns:a16="http://schemas.microsoft.com/office/drawing/2014/main" id="{20B82CEE-D801-45BB-AF60-95307EC38647}"/>
                        </a:ext>
                      </a:extLst>
                    </p:cNvPr>
                    <p:cNvSpPr>
                      <a:spLocks noChangeAspect="1"/>
                    </p:cNvSpPr>
                    <p:nvPr/>
                  </p:nvSpPr>
                  <p:spPr bwMode="auto">
                    <a:xfrm>
                      <a:off x="1061" y="9279"/>
                      <a:ext cx="12" cy="15"/>
                    </a:xfrm>
                    <a:custGeom>
                      <a:avLst/>
                      <a:gdLst/>
                      <a:ahLst/>
                      <a:cxnLst>
                        <a:cxn ang="0">
                          <a:pos x="1" y="0"/>
                        </a:cxn>
                        <a:cxn ang="0">
                          <a:pos x="3" y="13"/>
                        </a:cxn>
                        <a:cxn ang="0">
                          <a:pos x="10" y="12"/>
                        </a:cxn>
                        <a:cxn ang="0">
                          <a:pos x="9" y="3"/>
                        </a:cxn>
                        <a:cxn ang="0">
                          <a:pos x="1" y="0"/>
                        </a:cxn>
                      </a:cxnLst>
                      <a:rect l="0" t="0" r="r" b="b"/>
                      <a:pathLst>
                        <a:path w="12" h="15">
                          <a:moveTo>
                            <a:pt x="1" y="0"/>
                          </a:moveTo>
                          <a:cubicBezTo>
                            <a:pt x="2" y="4"/>
                            <a:pt x="0" y="9"/>
                            <a:pt x="3" y="13"/>
                          </a:cubicBezTo>
                          <a:cubicBezTo>
                            <a:pt x="4" y="15"/>
                            <a:pt x="9" y="14"/>
                            <a:pt x="10" y="12"/>
                          </a:cubicBezTo>
                          <a:cubicBezTo>
                            <a:pt x="12" y="9"/>
                            <a:pt x="11" y="5"/>
                            <a:pt x="9" y="3"/>
                          </a:cubicBezTo>
                          <a:cubicBezTo>
                            <a:pt x="7" y="1"/>
                            <a:pt x="4" y="1"/>
                            <a:pt x="1" y="0"/>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69" name="Freeform 56">
                      <a:extLst>
                        <a:ext uri="{FF2B5EF4-FFF2-40B4-BE49-F238E27FC236}">
                          <a16:creationId xmlns:a16="http://schemas.microsoft.com/office/drawing/2014/main" id="{2ED8BE68-2EBF-4B9F-A6F8-E111116C33BC}"/>
                        </a:ext>
                      </a:extLst>
                    </p:cNvPr>
                    <p:cNvSpPr>
                      <a:spLocks noChangeAspect="1"/>
                    </p:cNvSpPr>
                    <p:nvPr/>
                  </p:nvSpPr>
                  <p:spPr bwMode="auto">
                    <a:xfrm>
                      <a:off x="1038" y="9316"/>
                      <a:ext cx="21" cy="19"/>
                    </a:xfrm>
                    <a:custGeom>
                      <a:avLst/>
                      <a:gdLst/>
                      <a:ahLst/>
                      <a:cxnLst>
                        <a:cxn ang="0">
                          <a:pos x="12" y="8"/>
                        </a:cxn>
                        <a:cxn ang="0">
                          <a:pos x="21" y="8"/>
                        </a:cxn>
                        <a:cxn ang="0">
                          <a:pos x="12" y="8"/>
                        </a:cxn>
                      </a:cxnLst>
                      <a:rect l="0" t="0" r="r" b="b"/>
                      <a:pathLst>
                        <a:path w="21" h="19">
                          <a:moveTo>
                            <a:pt x="12" y="8"/>
                          </a:moveTo>
                          <a:cubicBezTo>
                            <a:pt x="0" y="17"/>
                            <a:pt x="13" y="19"/>
                            <a:pt x="21" y="8"/>
                          </a:cubicBezTo>
                          <a:cubicBezTo>
                            <a:pt x="19" y="0"/>
                            <a:pt x="16" y="3"/>
                            <a:pt x="12" y="8"/>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70" name="Freeform 57">
                      <a:extLst>
                        <a:ext uri="{FF2B5EF4-FFF2-40B4-BE49-F238E27FC236}">
                          <a16:creationId xmlns:a16="http://schemas.microsoft.com/office/drawing/2014/main" id="{25A371FD-2759-44D1-BE83-847CAF4D6EE1}"/>
                        </a:ext>
                      </a:extLst>
                    </p:cNvPr>
                    <p:cNvSpPr>
                      <a:spLocks noChangeAspect="1"/>
                    </p:cNvSpPr>
                    <p:nvPr/>
                  </p:nvSpPr>
                  <p:spPr bwMode="auto">
                    <a:xfrm>
                      <a:off x="1511" y="9334"/>
                      <a:ext cx="25" cy="20"/>
                    </a:xfrm>
                    <a:custGeom>
                      <a:avLst/>
                      <a:gdLst/>
                      <a:ahLst/>
                      <a:cxnLst>
                        <a:cxn ang="0">
                          <a:pos x="16" y="5"/>
                        </a:cxn>
                        <a:cxn ang="0">
                          <a:pos x="13" y="20"/>
                        </a:cxn>
                        <a:cxn ang="0">
                          <a:pos x="21" y="18"/>
                        </a:cxn>
                        <a:cxn ang="0">
                          <a:pos x="16" y="5"/>
                        </a:cxn>
                      </a:cxnLst>
                      <a:rect l="0" t="0" r="r" b="b"/>
                      <a:pathLst>
                        <a:path w="25" h="20">
                          <a:moveTo>
                            <a:pt x="16" y="5"/>
                          </a:moveTo>
                          <a:cubicBezTo>
                            <a:pt x="2" y="7"/>
                            <a:pt x="0" y="13"/>
                            <a:pt x="13" y="20"/>
                          </a:cubicBezTo>
                          <a:cubicBezTo>
                            <a:pt x="16" y="19"/>
                            <a:pt x="19" y="20"/>
                            <a:pt x="21" y="18"/>
                          </a:cubicBezTo>
                          <a:cubicBezTo>
                            <a:pt x="25" y="12"/>
                            <a:pt x="9" y="0"/>
                            <a:pt x="16" y="5"/>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71" name="Freeform 58">
                      <a:extLst>
                        <a:ext uri="{FF2B5EF4-FFF2-40B4-BE49-F238E27FC236}">
                          <a16:creationId xmlns:a16="http://schemas.microsoft.com/office/drawing/2014/main" id="{C2BDBA31-9299-4210-85A6-960453307417}"/>
                        </a:ext>
                      </a:extLst>
                    </p:cNvPr>
                    <p:cNvSpPr>
                      <a:spLocks noChangeAspect="1"/>
                    </p:cNvSpPr>
                    <p:nvPr/>
                  </p:nvSpPr>
                  <p:spPr bwMode="auto">
                    <a:xfrm>
                      <a:off x="1208" y="8959"/>
                      <a:ext cx="17" cy="8"/>
                    </a:xfrm>
                    <a:custGeom>
                      <a:avLst/>
                      <a:gdLst/>
                      <a:ahLst/>
                      <a:cxnLst>
                        <a:cxn ang="0">
                          <a:pos x="10" y="0"/>
                        </a:cxn>
                        <a:cxn ang="0">
                          <a:pos x="7" y="8"/>
                        </a:cxn>
                        <a:cxn ang="0">
                          <a:pos x="10" y="0"/>
                        </a:cxn>
                      </a:cxnLst>
                      <a:rect l="0" t="0" r="r" b="b"/>
                      <a:pathLst>
                        <a:path w="17" h="8">
                          <a:moveTo>
                            <a:pt x="10" y="0"/>
                          </a:moveTo>
                          <a:cubicBezTo>
                            <a:pt x="5" y="2"/>
                            <a:pt x="0" y="4"/>
                            <a:pt x="7" y="8"/>
                          </a:cubicBezTo>
                          <a:cubicBezTo>
                            <a:pt x="16" y="6"/>
                            <a:pt x="17" y="5"/>
                            <a:pt x="10" y="0"/>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72" name="Freeform 59">
                      <a:extLst>
                        <a:ext uri="{FF2B5EF4-FFF2-40B4-BE49-F238E27FC236}">
                          <a16:creationId xmlns:a16="http://schemas.microsoft.com/office/drawing/2014/main" id="{2479460E-059A-49C5-B1A0-60569437D549}"/>
                        </a:ext>
                      </a:extLst>
                    </p:cNvPr>
                    <p:cNvSpPr>
                      <a:spLocks noChangeAspect="1"/>
                    </p:cNvSpPr>
                    <p:nvPr/>
                  </p:nvSpPr>
                  <p:spPr bwMode="auto">
                    <a:xfrm>
                      <a:off x="1296" y="8838"/>
                      <a:ext cx="34" cy="10"/>
                    </a:xfrm>
                    <a:custGeom>
                      <a:avLst/>
                      <a:gdLst/>
                      <a:ahLst/>
                      <a:cxnLst>
                        <a:cxn ang="0">
                          <a:pos x="33" y="0"/>
                        </a:cxn>
                        <a:cxn ang="0">
                          <a:pos x="24" y="9"/>
                        </a:cxn>
                        <a:cxn ang="0">
                          <a:pos x="33" y="0"/>
                        </a:cxn>
                      </a:cxnLst>
                      <a:rect l="0" t="0" r="r" b="b"/>
                      <a:pathLst>
                        <a:path w="34" h="10">
                          <a:moveTo>
                            <a:pt x="33" y="0"/>
                          </a:moveTo>
                          <a:cubicBezTo>
                            <a:pt x="21" y="1"/>
                            <a:pt x="0" y="4"/>
                            <a:pt x="24" y="9"/>
                          </a:cubicBezTo>
                          <a:cubicBezTo>
                            <a:pt x="34" y="6"/>
                            <a:pt x="32" y="10"/>
                            <a:pt x="33" y="0"/>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73" name="Freeform 60">
                      <a:extLst>
                        <a:ext uri="{FF2B5EF4-FFF2-40B4-BE49-F238E27FC236}">
                          <a16:creationId xmlns:a16="http://schemas.microsoft.com/office/drawing/2014/main" id="{5B61A8D8-101E-4848-A5A5-B1C37B86991B}"/>
                        </a:ext>
                      </a:extLst>
                    </p:cNvPr>
                    <p:cNvSpPr>
                      <a:spLocks noChangeAspect="1"/>
                    </p:cNvSpPr>
                    <p:nvPr/>
                  </p:nvSpPr>
                  <p:spPr bwMode="auto">
                    <a:xfrm>
                      <a:off x="1218" y="8751"/>
                      <a:ext cx="22" cy="12"/>
                    </a:xfrm>
                    <a:custGeom>
                      <a:avLst/>
                      <a:gdLst/>
                      <a:ahLst/>
                      <a:cxnLst>
                        <a:cxn ang="0">
                          <a:pos x="9" y="0"/>
                        </a:cxn>
                        <a:cxn ang="0">
                          <a:pos x="1" y="12"/>
                        </a:cxn>
                        <a:cxn ang="0">
                          <a:pos x="9" y="0"/>
                        </a:cxn>
                      </a:cxnLst>
                      <a:rect l="0" t="0" r="r" b="b"/>
                      <a:pathLst>
                        <a:path w="22" h="12">
                          <a:moveTo>
                            <a:pt x="9" y="0"/>
                          </a:moveTo>
                          <a:cubicBezTo>
                            <a:pt x="0" y="2"/>
                            <a:pt x="0" y="1"/>
                            <a:pt x="1" y="12"/>
                          </a:cubicBezTo>
                          <a:cubicBezTo>
                            <a:pt x="22" y="9"/>
                            <a:pt x="12" y="10"/>
                            <a:pt x="9" y="0"/>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74" name="Freeform 61">
                      <a:extLst>
                        <a:ext uri="{FF2B5EF4-FFF2-40B4-BE49-F238E27FC236}">
                          <a16:creationId xmlns:a16="http://schemas.microsoft.com/office/drawing/2014/main" id="{2F89C635-E0D6-4CFC-8BC2-F23C61CBD233}"/>
                        </a:ext>
                      </a:extLst>
                    </p:cNvPr>
                    <p:cNvSpPr>
                      <a:spLocks noChangeAspect="1"/>
                    </p:cNvSpPr>
                    <p:nvPr/>
                  </p:nvSpPr>
                  <p:spPr bwMode="auto">
                    <a:xfrm>
                      <a:off x="1035" y="8778"/>
                      <a:ext cx="22" cy="12"/>
                    </a:xfrm>
                    <a:custGeom>
                      <a:avLst/>
                      <a:gdLst/>
                      <a:ahLst/>
                      <a:cxnLst>
                        <a:cxn ang="0">
                          <a:pos x="9" y="0"/>
                        </a:cxn>
                        <a:cxn ang="0">
                          <a:pos x="1" y="12"/>
                        </a:cxn>
                        <a:cxn ang="0">
                          <a:pos x="9" y="0"/>
                        </a:cxn>
                      </a:cxnLst>
                      <a:rect l="0" t="0" r="r" b="b"/>
                      <a:pathLst>
                        <a:path w="22" h="12">
                          <a:moveTo>
                            <a:pt x="9" y="0"/>
                          </a:moveTo>
                          <a:cubicBezTo>
                            <a:pt x="0" y="2"/>
                            <a:pt x="0" y="1"/>
                            <a:pt x="1" y="12"/>
                          </a:cubicBezTo>
                          <a:cubicBezTo>
                            <a:pt x="22" y="9"/>
                            <a:pt x="12" y="10"/>
                            <a:pt x="9" y="0"/>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75" name="Freeform 62">
                      <a:extLst>
                        <a:ext uri="{FF2B5EF4-FFF2-40B4-BE49-F238E27FC236}">
                          <a16:creationId xmlns:a16="http://schemas.microsoft.com/office/drawing/2014/main" id="{B85E0FBC-69C9-4B0A-A669-02E1273B73DB}"/>
                        </a:ext>
                      </a:extLst>
                    </p:cNvPr>
                    <p:cNvSpPr>
                      <a:spLocks noChangeAspect="1"/>
                    </p:cNvSpPr>
                    <p:nvPr/>
                  </p:nvSpPr>
                  <p:spPr bwMode="auto">
                    <a:xfrm>
                      <a:off x="1000" y="8912"/>
                      <a:ext cx="12" cy="15"/>
                    </a:xfrm>
                    <a:custGeom>
                      <a:avLst/>
                      <a:gdLst/>
                      <a:ahLst/>
                      <a:cxnLst>
                        <a:cxn ang="0">
                          <a:pos x="1" y="0"/>
                        </a:cxn>
                        <a:cxn ang="0">
                          <a:pos x="3" y="13"/>
                        </a:cxn>
                        <a:cxn ang="0">
                          <a:pos x="10" y="12"/>
                        </a:cxn>
                        <a:cxn ang="0">
                          <a:pos x="9" y="3"/>
                        </a:cxn>
                        <a:cxn ang="0">
                          <a:pos x="1" y="0"/>
                        </a:cxn>
                      </a:cxnLst>
                      <a:rect l="0" t="0" r="r" b="b"/>
                      <a:pathLst>
                        <a:path w="12" h="15">
                          <a:moveTo>
                            <a:pt x="1" y="0"/>
                          </a:moveTo>
                          <a:cubicBezTo>
                            <a:pt x="2" y="4"/>
                            <a:pt x="0" y="9"/>
                            <a:pt x="3" y="13"/>
                          </a:cubicBezTo>
                          <a:cubicBezTo>
                            <a:pt x="4" y="15"/>
                            <a:pt x="9" y="14"/>
                            <a:pt x="10" y="12"/>
                          </a:cubicBezTo>
                          <a:cubicBezTo>
                            <a:pt x="12" y="9"/>
                            <a:pt x="11" y="5"/>
                            <a:pt x="9" y="3"/>
                          </a:cubicBezTo>
                          <a:cubicBezTo>
                            <a:pt x="7" y="1"/>
                            <a:pt x="4" y="1"/>
                            <a:pt x="1" y="0"/>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76" name="Freeform 63">
                      <a:extLst>
                        <a:ext uri="{FF2B5EF4-FFF2-40B4-BE49-F238E27FC236}">
                          <a16:creationId xmlns:a16="http://schemas.microsoft.com/office/drawing/2014/main" id="{D9484873-D4C2-4BE6-B11D-1E3FE000CD1E}"/>
                        </a:ext>
                      </a:extLst>
                    </p:cNvPr>
                    <p:cNvSpPr>
                      <a:spLocks noChangeAspect="1"/>
                    </p:cNvSpPr>
                    <p:nvPr/>
                  </p:nvSpPr>
                  <p:spPr bwMode="auto">
                    <a:xfrm>
                      <a:off x="995" y="8946"/>
                      <a:ext cx="17" cy="8"/>
                    </a:xfrm>
                    <a:custGeom>
                      <a:avLst/>
                      <a:gdLst/>
                      <a:ahLst/>
                      <a:cxnLst>
                        <a:cxn ang="0">
                          <a:pos x="10" y="0"/>
                        </a:cxn>
                        <a:cxn ang="0">
                          <a:pos x="7" y="8"/>
                        </a:cxn>
                        <a:cxn ang="0">
                          <a:pos x="10" y="0"/>
                        </a:cxn>
                      </a:cxnLst>
                      <a:rect l="0" t="0" r="r" b="b"/>
                      <a:pathLst>
                        <a:path w="17" h="8">
                          <a:moveTo>
                            <a:pt x="10" y="0"/>
                          </a:moveTo>
                          <a:cubicBezTo>
                            <a:pt x="5" y="2"/>
                            <a:pt x="0" y="4"/>
                            <a:pt x="7" y="8"/>
                          </a:cubicBezTo>
                          <a:cubicBezTo>
                            <a:pt x="16" y="6"/>
                            <a:pt x="17" y="5"/>
                            <a:pt x="10" y="0"/>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77" name="Freeform 64">
                      <a:extLst>
                        <a:ext uri="{FF2B5EF4-FFF2-40B4-BE49-F238E27FC236}">
                          <a16:creationId xmlns:a16="http://schemas.microsoft.com/office/drawing/2014/main" id="{B0A379B2-89C9-4A17-ABED-7848E003E6A0}"/>
                        </a:ext>
                      </a:extLst>
                    </p:cNvPr>
                    <p:cNvSpPr>
                      <a:spLocks noChangeAspect="1"/>
                    </p:cNvSpPr>
                    <p:nvPr/>
                  </p:nvSpPr>
                  <p:spPr bwMode="auto">
                    <a:xfrm>
                      <a:off x="1142" y="9067"/>
                      <a:ext cx="22" cy="12"/>
                    </a:xfrm>
                    <a:custGeom>
                      <a:avLst/>
                      <a:gdLst/>
                      <a:ahLst/>
                      <a:cxnLst>
                        <a:cxn ang="0">
                          <a:pos x="9" y="0"/>
                        </a:cxn>
                        <a:cxn ang="0">
                          <a:pos x="1" y="12"/>
                        </a:cxn>
                        <a:cxn ang="0">
                          <a:pos x="9" y="0"/>
                        </a:cxn>
                      </a:cxnLst>
                      <a:rect l="0" t="0" r="r" b="b"/>
                      <a:pathLst>
                        <a:path w="22" h="12">
                          <a:moveTo>
                            <a:pt x="9" y="0"/>
                          </a:moveTo>
                          <a:cubicBezTo>
                            <a:pt x="0" y="2"/>
                            <a:pt x="0" y="1"/>
                            <a:pt x="1" y="12"/>
                          </a:cubicBezTo>
                          <a:cubicBezTo>
                            <a:pt x="22" y="9"/>
                            <a:pt x="12" y="10"/>
                            <a:pt x="9" y="0"/>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sp>
                  <p:nvSpPr>
                    <p:cNvPr id="78" name="Freeform 65">
                      <a:extLst>
                        <a:ext uri="{FF2B5EF4-FFF2-40B4-BE49-F238E27FC236}">
                          <a16:creationId xmlns:a16="http://schemas.microsoft.com/office/drawing/2014/main" id="{53DADAEA-95FA-4731-8F47-D25A4C3040F4}"/>
                        </a:ext>
                      </a:extLst>
                    </p:cNvPr>
                    <p:cNvSpPr>
                      <a:spLocks noChangeAspect="1"/>
                    </p:cNvSpPr>
                    <p:nvPr/>
                  </p:nvSpPr>
                  <p:spPr bwMode="auto">
                    <a:xfrm>
                      <a:off x="1258" y="9959"/>
                      <a:ext cx="48" cy="27"/>
                    </a:xfrm>
                    <a:custGeom>
                      <a:avLst/>
                      <a:gdLst/>
                      <a:ahLst/>
                      <a:cxnLst>
                        <a:cxn ang="0">
                          <a:pos x="7" y="16"/>
                        </a:cxn>
                        <a:cxn ang="0">
                          <a:pos x="47" y="8"/>
                        </a:cxn>
                        <a:cxn ang="0">
                          <a:pos x="46" y="2"/>
                        </a:cxn>
                        <a:cxn ang="0">
                          <a:pos x="29" y="11"/>
                        </a:cxn>
                        <a:cxn ang="0">
                          <a:pos x="2" y="13"/>
                        </a:cxn>
                        <a:cxn ang="0">
                          <a:pos x="7" y="16"/>
                        </a:cxn>
                      </a:cxnLst>
                      <a:rect l="0" t="0" r="r" b="b"/>
                      <a:pathLst>
                        <a:path w="48" h="27">
                          <a:moveTo>
                            <a:pt x="7" y="16"/>
                          </a:moveTo>
                          <a:cubicBezTo>
                            <a:pt x="21" y="15"/>
                            <a:pt x="36" y="17"/>
                            <a:pt x="47" y="8"/>
                          </a:cubicBezTo>
                          <a:cubicBezTo>
                            <a:pt x="47" y="6"/>
                            <a:pt x="48" y="3"/>
                            <a:pt x="46" y="2"/>
                          </a:cubicBezTo>
                          <a:cubicBezTo>
                            <a:pt x="41" y="0"/>
                            <a:pt x="31" y="9"/>
                            <a:pt x="29" y="11"/>
                          </a:cubicBezTo>
                          <a:cubicBezTo>
                            <a:pt x="22" y="17"/>
                            <a:pt x="11" y="12"/>
                            <a:pt x="2" y="13"/>
                          </a:cubicBezTo>
                          <a:cubicBezTo>
                            <a:pt x="0" y="27"/>
                            <a:pt x="21" y="25"/>
                            <a:pt x="7" y="16"/>
                          </a:cubicBezTo>
                          <a:close/>
                        </a:path>
                      </a:pathLst>
                    </a:custGeom>
                    <a:grp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algn="ctr"/>
                      <a:endParaRPr lang="en-US" dirty="0">
                        <a:solidFill>
                          <a:schemeClr val="tx1">
                            <a:lumMod val="85000"/>
                            <a:lumOff val="15000"/>
                          </a:schemeClr>
                        </a:solidFill>
                      </a:endParaRPr>
                    </a:p>
                  </p:txBody>
                </p:sp>
              </p:grpSp>
              <p:sp>
                <p:nvSpPr>
                  <p:cNvPr id="53" name="Freeform 1096">
                    <a:extLst>
                      <a:ext uri="{FF2B5EF4-FFF2-40B4-BE49-F238E27FC236}">
                        <a16:creationId xmlns:a16="http://schemas.microsoft.com/office/drawing/2014/main" id="{16A7B142-3F0D-4A4A-B3D7-F89C5B5778B2}"/>
                      </a:ext>
                    </a:extLst>
                  </p:cNvPr>
                  <p:cNvSpPr>
                    <a:spLocks/>
                  </p:cNvSpPr>
                  <p:nvPr/>
                </p:nvSpPr>
                <p:spPr bwMode="auto">
                  <a:xfrm>
                    <a:off x="5601475" y="3932664"/>
                    <a:ext cx="16178" cy="12444"/>
                  </a:xfrm>
                  <a:custGeom>
                    <a:avLst/>
                    <a:gdLst>
                      <a:gd name="T0" fmla="*/ 6 w 13"/>
                      <a:gd name="T1" fmla="*/ 10 h 10"/>
                      <a:gd name="T2" fmla="*/ 6 w 13"/>
                      <a:gd name="T3" fmla="*/ 10 h 10"/>
                      <a:gd name="T4" fmla="*/ 10 w 13"/>
                      <a:gd name="T5" fmla="*/ 10 h 10"/>
                      <a:gd name="T6" fmla="*/ 13 w 13"/>
                      <a:gd name="T7" fmla="*/ 6 h 10"/>
                      <a:gd name="T8" fmla="*/ 13 w 13"/>
                      <a:gd name="T9" fmla="*/ 6 h 10"/>
                      <a:gd name="T10" fmla="*/ 11 w 13"/>
                      <a:gd name="T11" fmla="*/ 3 h 10"/>
                      <a:gd name="T12" fmla="*/ 8 w 13"/>
                      <a:gd name="T13" fmla="*/ 1 h 10"/>
                      <a:gd name="T14" fmla="*/ 8 w 13"/>
                      <a:gd name="T15" fmla="*/ 1 h 10"/>
                      <a:gd name="T16" fmla="*/ 6 w 13"/>
                      <a:gd name="T17" fmla="*/ 0 h 10"/>
                      <a:gd name="T18" fmla="*/ 5 w 13"/>
                      <a:gd name="T19" fmla="*/ 0 h 10"/>
                      <a:gd name="T20" fmla="*/ 1 w 13"/>
                      <a:gd name="T21" fmla="*/ 0 h 10"/>
                      <a:gd name="T22" fmla="*/ 0 w 13"/>
                      <a:gd name="T23" fmla="*/ 3 h 10"/>
                      <a:gd name="T24" fmla="*/ 0 w 13"/>
                      <a:gd name="T25" fmla="*/ 3 h 10"/>
                      <a:gd name="T26" fmla="*/ 3 w 13"/>
                      <a:gd name="T27" fmla="*/ 8 h 10"/>
                      <a:gd name="T28" fmla="*/ 3 w 13"/>
                      <a:gd name="T29" fmla="*/ 8 h 10"/>
                      <a:gd name="T30" fmla="*/ 5 w 13"/>
                      <a:gd name="T31" fmla="*/ 10 h 10"/>
                      <a:gd name="T32" fmla="*/ 6 w 13"/>
                      <a:gd name="T33" fmla="*/ 10 h 10"/>
                      <a:gd name="T34" fmla="*/ 6 w 13"/>
                      <a:gd name="T35" fmla="*/ 10 h 10"/>
                      <a:gd name="T36" fmla="*/ 6 w 13"/>
                      <a:gd name="T3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10">
                        <a:moveTo>
                          <a:pt x="6" y="10"/>
                        </a:moveTo>
                        <a:lnTo>
                          <a:pt x="6" y="10"/>
                        </a:lnTo>
                        <a:lnTo>
                          <a:pt x="10" y="10"/>
                        </a:lnTo>
                        <a:lnTo>
                          <a:pt x="13" y="6"/>
                        </a:lnTo>
                        <a:lnTo>
                          <a:pt x="13" y="6"/>
                        </a:lnTo>
                        <a:lnTo>
                          <a:pt x="11" y="3"/>
                        </a:lnTo>
                        <a:lnTo>
                          <a:pt x="8" y="1"/>
                        </a:lnTo>
                        <a:lnTo>
                          <a:pt x="8" y="1"/>
                        </a:lnTo>
                        <a:lnTo>
                          <a:pt x="6" y="0"/>
                        </a:lnTo>
                        <a:lnTo>
                          <a:pt x="5" y="0"/>
                        </a:lnTo>
                        <a:lnTo>
                          <a:pt x="1" y="0"/>
                        </a:lnTo>
                        <a:lnTo>
                          <a:pt x="0" y="3"/>
                        </a:lnTo>
                        <a:lnTo>
                          <a:pt x="0" y="3"/>
                        </a:lnTo>
                        <a:lnTo>
                          <a:pt x="3" y="8"/>
                        </a:lnTo>
                        <a:lnTo>
                          <a:pt x="3" y="8"/>
                        </a:lnTo>
                        <a:lnTo>
                          <a:pt x="5" y="10"/>
                        </a:lnTo>
                        <a:lnTo>
                          <a:pt x="6" y="10"/>
                        </a:lnTo>
                        <a:lnTo>
                          <a:pt x="6" y="10"/>
                        </a:lnTo>
                        <a:lnTo>
                          <a:pt x="6" y="1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54" name="Freeform 1098">
                    <a:extLst>
                      <a:ext uri="{FF2B5EF4-FFF2-40B4-BE49-F238E27FC236}">
                        <a16:creationId xmlns:a16="http://schemas.microsoft.com/office/drawing/2014/main" id="{823578C0-0FE4-49E9-924C-CA50E4664C9C}"/>
                      </a:ext>
                    </a:extLst>
                  </p:cNvPr>
                  <p:cNvSpPr>
                    <a:spLocks/>
                  </p:cNvSpPr>
                  <p:nvPr/>
                </p:nvSpPr>
                <p:spPr bwMode="auto">
                  <a:xfrm>
                    <a:off x="5479517" y="3880397"/>
                    <a:ext cx="12444" cy="12444"/>
                  </a:xfrm>
                  <a:custGeom>
                    <a:avLst/>
                    <a:gdLst>
                      <a:gd name="T0" fmla="*/ 5 w 10"/>
                      <a:gd name="T1" fmla="*/ 10 h 10"/>
                      <a:gd name="T2" fmla="*/ 5 w 10"/>
                      <a:gd name="T3" fmla="*/ 10 h 10"/>
                      <a:gd name="T4" fmla="*/ 6 w 10"/>
                      <a:gd name="T5" fmla="*/ 7 h 10"/>
                      <a:gd name="T6" fmla="*/ 10 w 10"/>
                      <a:gd name="T7" fmla="*/ 3 h 10"/>
                      <a:gd name="T8" fmla="*/ 10 w 10"/>
                      <a:gd name="T9" fmla="*/ 3 h 10"/>
                      <a:gd name="T10" fmla="*/ 10 w 10"/>
                      <a:gd name="T11" fmla="*/ 0 h 10"/>
                      <a:gd name="T12" fmla="*/ 6 w 10"/>
                      <a:gd name="T13" fmla="*/ 0 h 10"/>
                      <a:gd name="T14" fmla="*/ 6 w 10"/>
                      <a:gd name="T15" fmla="*/ 0 h 10"/>
                      <a:gd name="T16" fmla="*/ 3 w 10"/>
                      <a:gd name="T17" fmla="*/ 2 h 10"/>
                      <a:gd name="T18" fmla="*/ 0 w 10"/>
                      <a:gd name="T19" fmla="*/ 5 h 10"/>
                      <a:gd name="T20" fmla="*/ 1 w 10"/>
                      <a:gd name="T21" fmla="*/ 8 h 10"/>
                      <a:gd name="T22" fmla="*/ 5 w 10"/>
                      <a:gd name="T23" fmla="*/ 10 h 10"/>
                      <a:gd name="T24" fmla="*/ 5 w 10"/>
                      <a:gd name="T2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5" y="10"/>
                        </a:moveTo>
                        <a:lnTo>
                          <a:pt x="5" y="10"/>
                        </a:lnTo>
                        <a:lnTo>
                          <a:pt x="6" y="7"/>
                        </a:lnTo>
                        <a:lnTo>
                          <a:pt x="10" y="3"/>
                        </a:lnTo>
                        <a:lnTo>
                          <a:pt x="10" y="3"/>
                        </a:lnTo>
                        <a:lnTo>
                          <a:pt x="10" y="0"/>
                        </a:lnTo>
                        <a:lnTo>
                          <a:pt x="6" y="0"/>
                        </a:lnTo>
                        <a:lnTo>
                          <a:pt x="6" y="0"/>
                        </a:lnTo>
                        <a:lnTo>
                          <a:pt x="3" y="2"/>
                        </a:lnTo>
                        <a:lnTo>
                          <a:pt x="0" y="5"/>
                        </a:lnTo>
                        <a:lnTo>
                          <a:pt x="1" y="8"/>
                        </a:lnTo>
                        <a:lnTo>
                          <a:pt x="5" y="10"/>
                        </a:lnTo>
                        <a:lnTo>
                          <a:pt x="5" y="1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55" name="Freeform 1102">
                    <a:extLst>
                      <a:ext uri="{FF2B5EF4-FFF2-40B4-BE49-F238E27FC236}">
                        <a16:creationId xmlns:a16="http://schemas.microsoft.com/office/drawing/2014/main" id="{068F8C7A-EFAA-4F48-AC78-DD6E19C3C481}"/>
                      </a:ext>
                    </a:extLst>
                  </p:cNvPr>
                  <p:cNvSpPr>
                    <a:spLocks/>
                  </p:cNvSpPr>
                  <p:nvPr/>
                </p:nvSpPr>
                <p:spPr bwMode="auto">
                  <a:xfrm>
                    <a:off x="5564140" y="3877908"/>
                    <a:ext cx="9956" cy="23645"/>
                  </a:xfrm>
                  <a:custGeom>
                    <a:avLst/>
                    <a:gdLst>
                      <a:gd name="T0" fmla="*/ 6 w 8"/>
                      <a:gd name="T1" fmla="*/ 19 h 19"/>
                      <a:gd name="T2" fmla="*/ 6 w 8"/>
                      <a:gd name="T3" fmla="*/ 19 h 19"/>
                      <a:gd name="T4" fmla="*/ 6 w 8"/>
                      <a:gd name="T5" fmla="*/ 10 h 19"/>
                      <a:gd name="T6" fmla="*/ 8 w 8"/>
                      <a:gd name="T7" fmla="*/ 2 h 19"/>
                      <a:gd name="T8" fmla="*/ 8 w 8"/>
                      <a:gd name="T9" fmla="*/ 2 h 19"/>
                      <a:gd name="T10" fmla="*/ 6 w 8"/>
                      <a:gd name="T11" fmla="*/ 0 h 19"/>
                      <a:gd name="T12" fmla="*/ 3 w 8"/>
                      <a:gd name="T13" fmla="*/ 2 h 19"/>
                      <a:gd name="T14" fmla="*/ 3 w 8"/>
                      <a:gd name="T15" fmla="*/ 2 h 19"/>
                      <a:gd name="T16" fmla="*/ 2 w 8"/>
                      <a:gd name="T17" fmla="*/ 7 h 19"/>
                      <a:gd name="T18" fmla="*/ 0 w 8"/>
                      <a:gd name="T19" fmla="*/ 10 h 19"/>
                      <a:gd name="T20" fmla="*/ 0 w 8"/>
                      <a:gd name="T21" fmla="*/ 10 h 19"/>
                      <a:gd name="T22" fmla="*/ 0 w 8"/>
                      <a:gd name="T23" fmla="*/ 15 h 19"/>
                      <a:gd name="T24" fmla="*/ 0 w 8"/>
                      <a:gd name="T25" fmla="*/ 17 h 19"/>
                      <a:gd name="T26" fmla="*/ 2 w 8"/>
                      <a:gd name="T27" fmla="*/ 19 h 19"/>
                      <a:gd name="T28" fmla="*/ 6 w 8"/>
                      <a:gd name="T29" fmla="*/ 19 h 19"/>
                      <a:gd name="T30" fmla="*/ 6 w 8"/>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9">
                        <a:moveTo>
                          <a:pt x="6" y="19"/>
                        </a:moveTo>
                        <a:lnTo>
                          <a:pt x="6" y="19"/>
                        </a:lnTo>
                        <a:lnTo>
                          <a:pt x="6" y="10"/>
                        </a:lnTo>
                        <a:lnTo>
                          <a:pt x="8" y="2"/>
                        </a:lnTo>
                        <a:lnTo>
                          <a:pt x="8" y="2"/>
                        </a:lnTo>
                        <a:lnTo>
                          <a:pt x="6" y="0"/>
                        </a:lnTo>
                        <a:lnTo>
                          <a:pt x="3" y="2"/>
                        </a:lnTo>
                        <a:lnTo>
                          <a:pt x="3" y="2"/>
                        </a:lnTo>
                        <a:lnTo>
                          <a:pt x="2" y="7"/>
                        </a:lnTo>
                        <a:lnTo>
                          <a:pt x="0" y="10"/>
                        </a:lnTo>
                        <a:lnTo>
                          <a:pt x="0" y="10"/>
                        </a:lnTo>
                        <a:lnTo>
                          <a:pt x="0" y="15"/>
                        </a:lnTo>
                        <a:lnTo>
                          <a:pt x="0" y="17"/>
                        </a:lnTo>
                        <a:lnTo>
                          <a:pt x="2" y="19"/>
                        </a:lnTo>
                        <a:lnTo>
                          <a:pt x="6" y="19"/>
                        </a:lnTo>
                        <a:lnTo>
                          <a:pt x="6" y="19"/>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56" name="Freeform 1104">
                    <a:extLst>
                      <a:ext uri="{FF2B5EF4-FFF2-40B4-BE49-F238E27FC236}">
                        <a16:creationId xmlns:a16="http://schemas.microsoft.com/office/drawing/2014/main" id="{07227EC6-543D-49D4-8B13-24548C7F612F}"/>
                      </a:ext>
                    </a:extLst>
                  </p:cNvPr>
                  <p:cNvSpPr>
                    <a:spLocks/>
                  </p:cNvSpPr>
                  <p:nvPr/>
                </p:nvSpPr>
                <p:spPr bwMode="auto">
                  <a:xfrm>
                    <a:off x="5520584" y="3909020"/>
                    <a:ext cx="12444" cy="12444"/>
                  </a:xfrm>
                  <a:custGeom>
                    <a:avLst/>
                    <a:gdLst>
                      <a:gd name="T0" fmla="*/ 10 w 10"/>
                      <a:gd name="T1" fmla="*/ 10 h 10"/>
                      <a:gd name="T2" fmla="*/ 10 w 10"/>
                      <a:gd name="T3" fmla="*/ 10 h 10"/>
                      <a:gd name="T4" fmla="*/ 8 w 10"/>
                      <a:gd name="T5" fmla="*/ 5 h 10"/>
                      <a:gd name="T6" fmla="*/ 7 w 10"/>
                      <a:gd name="T7" fmla="*/ 0 h 10"/>
                      <a:gd name="T8" fmla="*/ 7 w 10"/>
                      <a:gd name="T9" fmla="*/ 0 h 10"/>
                      <a:gd name="T10" fmla="*/ 0 w 10"/>
                      <a:gd name="T11" fmla="*/ 0 h 10"/>
                      <a:gd name="T12" fmla="*/ 0 w 10"/>
                      <a:gd name="T13" fmla="*/ 0 h 10"/>
                      <a:gd name="T14" fmla="*/ 0 w 10"/>
                      <a:gd name="T15" fmla="*/ 2 h 10"/>
                      <a:gd name="T16" fmla="*/ 0 w 10"/>
                      <a:gd name="T17" fmla="*/ 4 h 10"/>
                      <a:gd name="T18" fmla="*/ 0 w 10"/>
                      <a:gd name="T19" fmla="*/ 4 h 10"/>
                      <a:gd name="T20" fmla="*/ 0 w 10"/>
                      <a:gd name="T21" fmla="*/ 7 h 10"/>
                      <a:gd name="T22" fmla="*/ 2 w 10"/>
                      <a:gd name="T23" fmla="*/ 9 h 10"/>
                      <a:gd name="T24" fmla="*/ 10 w 10"/>
                      <a:gd name="T25" fmla="*/ 10 h 10"/>
                      <a:gd name="T26" fmla="*/ 10 w 10"/>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10" y="10"/>
                        </a:moveTo>
                        <a:lnTo>
                          <a:pt x="10" y="10"/>
                        </a:lnTo>
                        <a:lnTo>
                          <a:pt x="8" y="5"/>
                        </a:lnTo>
                        <a:lnTo>
                          <a:pt x="7" y="0"/>
                        </a:lnTo>
                        <a:lnTo>
                          <a:pt x="7" y="0"/>
                        </a:lnTo>
                        <a:lnTo>
                          <a:pt x="0" y="0"/>
                        </a:lnTo>
                        <a:lnTo>
                          <a:pt x="0" y="0"/>
                        </a:lnTo>
                        <a:lnTo>
                          <a:pt x="0" y="2"/>
                        </a:lnTo>
                        <a:lnTo>
                          <a:pt x="0" y="4"/>
                        </a:lnTo>
                        <a:lnTo>
                          <a:pt x="0" y="4"/>
                        </a:lnTo>
                        <a:lnTo>
                          <a:pt x="0" y="7"/>
                        </a:lnTo>
                        <a:lnTo>
                          <a:pt x="2" y="9"/>
                        </a:lnTo>
                        <a:lnTo>
                          <a:pt x="10" y="10"/>
                        </a:lnTo>
                        <a:lnTo>
                          <a:pt x="10" y="10"/>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57" name="Freeform 1108">
                    <a:extLst>
                      <a:ext uri="{FF2B5EF4-FFF2-40B4-BE49-F238E27FC236}">
                        <a16:creationId xmlns:a16="http://schemas.microsoft.com/office/drawing/2014/main" id="{38EE8402-E4B6-4B78-A3BA-050BDC8F749C}"/>
                      </a:ext>
                    </a:extLst>
                  </p:cNvPr>
                  <p:cNvSpPr>
                    <a:spLocks/>
                  </p:cNvSpPr>
                  <p:nvPr/>
                </p:nvSpPr>
                <p:spPr bwMode="auto">
                  <a:xfrm>
                    <a:off x="5570363" y="3864219"/>
                    <a:ext cx="9956" cy="7467"/>
                  </a:xfrm>
                  <a:custGeom>
                    <a:avLst/>
                    <a:gdLst>
                      <a:gd name="T0" fmla="*/ 3 w 8"/>
                      <a:gd name="T1" fmla="*/ 6 h 6"/>
                      <a:gd name="T2" fmla="*/ 3 w 8"/>
                      <a:gd name="T3" fmla="*/ 6 h 6"/>
                      <a:gd name="T4" fmla="*/ 6 w 8"/>
                      <a:gd name="T5" fmla="*/ 6 h 6"/>
                      <a:gd name="T6" fmla="*/ 6 w 8"/>
                      <a:gd name="T7" fmla="*/ 6 h 6"/>
                      <a:gd name="T8" fmla="*/ 8 w 8"/>
                      <a:gd name="T9" fmla="*/ 5 h 6"/>
                      <a:gd name="T10" fmla="*/ 6 w 8"/>
                      <a:gd name="T11" fmla="*/ 1 h 6"/>
                      <a:gd name="T12" fmla="*/ 1 w 8"/>
                      <a:gd name="T13" fmla="*/ 0 h 6"/>
                      <a:gd name="T14" fmla="*/ 1 w 8"/>
                      <a:gd name="T15" fmla="*/ 0 h 6"/>
                      <a:gd name="T16" fmla="*/ 0 w 8"/>
                      <a:gd name="T17" fmla="*/ 1 h 6"/>
                      <a:gd name="T18" fmla="*/ 0 w 8"/>
                      <a:gd name="T19" fmla="*/ 3 h 6"/>
                      <a:gd name="T20" fmla="*/ 1 w 8"/>
                      <a:gd name="T21" fmla="*/ 5 h 6"/>
                      <a:gd name="T22" fmla="*/ 3 w 8"/>
                      <a:gd name="T23" fmla="*/ 6 h 6"/>
                      <a:gd name="T24" fmla="*/ 3 w 8"/>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3" y="6"/>
                        </a:moveTo>
                        <a:lnTo>
                          <a:pt x="3" y="6"/>
                        </a:lnTo>
                        <a:lnTo>
                          <a:pt x="6" y="6"/>
                        </a:lnTo>
                        <a:lnTo>
                          <a:pt x="6" y="6"/>
                        </a:lnTo>
                        <a:lnTo>
                          <a:pt x="8" y="5"/>
                        </a:lnTo>
                        <a:lnTo>
                          <a:pt x="6" y="1"/>
                        </a:lnTo>
                        <a:lnTo>
                          <a:pt x="1" y="0"/>
                        </a:lnTo>
                        <a:lnTo>
                          <a:pt x="1" y="0"/>
                        </a:lnTo>
                        <a:lnTo>
                          <a:pt x="0" y="1"/>
                        </a:lnTo>
                        <a:lnTo>
                          <a:pt x="0" y="3"/>
                        </a:lnTo>
                        <a:lnTo>
                          <a:pt x="1" y="5"/>
                        </a:lnTo>
                        <a:lnTo>
                          <a:pt x="3" y="6"/>
                        </a:lnTo>
                        <a:lnTo>
                          <a:pt x="3" y="6"/>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58" name="Freeform 1109">
                    <a:extLst>
                      <a:ext uri="{FF2B5EF4-FFF2-40B4-BE49-F238E27FC236}">
                        <a16:creationId xmlns:a16="http://schemas.microsoft.com/office/drawing/2014/main" id="{3DFF0034-A3F9-4BC2-BB70-516CC462761D}"/>
                      </a:ext>
                    </a:extLst>
                  </p:cNvPr>
                  <p:cNvSpPr>
                    <a:spLocks/>
                  </p:cNvSpPr>
                  <p:nvPr/>
                </p:nvSpPr>
                <p:spPr bwMode="auto">
                  <a:xfrm>
                    <a:off x="5584053" y="3870441"/>
                    <a:ext cx="8711" cy="6222"/>
                  </a:xfrm>
                  <a:custGeom>
                    <a:avLst/>
                    <a:gdLst>
                      <a:gd name="T0" fmla="*/ 7 w 7"/>
                      <a:gd name="T1" fmla="*/ 3 h 5"/>
                      <a:gd name="T2" fmla="*/ 7 w 7"/>
                      <a:gd name="T3" fmla="*/ 3 h 5"/>
                      <a:gd name="T4" fmla="*/ 7 w 7"/>
                      <a:gd name="T5" fmla="*/ 1 h 5"/>
                      <a:gd name="T6" fmla="*/ 7 w 7"/>
                      <a:gd name="T7" fmla="*/ 1 h 5"/>
                      <a:gd name="T8" fmla="*/ 2 w 7"/>
                      <a:gd name="T9" fmla="*/ 0 h 5"/>
                      <a:gd name="T10" fmla="*/ 2 w 7"/>
                      <a:gd name="T11" fmla="*/ 0 h 5"/>
                      <a:gd name="T12" fmla="*/ 0 w 7"/>
                      <a:gd name="T13" fmla="*/ 1 h 5"/>
                      <a:gd name="T14" fmla="*/ 0 w 7"/>
                      <a:gd name="T15" fmla="*/ 3 h 5"/>
                      <a:gd name="T16" fmla="*/ 2 w 7"/>
                      <a:gd name="T17" fmla="*/ 5 h 5"/>
                      <a:gd name="T18" fmla="*/ 2 w 7"/>
                      <a:gd name="T19" fmla="*/ 5 h 5"/>
                      <a:gd name="T20" fmla="*/ 5 w 7"/>
                      <a:gd name="T21" fmla="*/ 5 h 5"/>
                      <a:gd name="T22" fmla="*/ 7 w 7"/>
                      <a:gd name="T23" fmla="*/ 3 h 5"/>
                      <a:gd name="T24" fmla="*/ 7 w 7"/>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5">
                        <a:moveTo>
                          <a:pt x="7" y="3"/>
                        </a:moveTo>
                        <a:lnTo>
                          <a:pt x="7" y="3"/>
                        </a:lnTo>
                        <a:lnTo>
                          <a:pt x="7" y="1"/>
                        </a:lnTo>
                        <a:lnTo>
                          <a:pt x="7" y="1"/>
                        </a:lnTo>
                        <a:lnTo>
                          <a:pt x="2" y="0"/>
                        </a:lnTo>
                        <a:lnTo>
                          <a:pt x="2" y="0"/>
                        </a:lnTo>
                        <a:lnTo>
                          <a:pt x="0" y="1"/>
                        </a:lnTo>
                        <a:lnTo>
                          <a:pt x="0" y="3"/>
                        </a:lnTo>
                        <a:lnTo>
                          <a:pt x="2" y="5"/>
                        </a:lnTo>
                        <a:lnTo>
                          <a:pt x="2" y="5"/>
                        </a:lnTo>
                        <a:lnTo>
                          <a:pt x="5" y="5"/>
                        </a:lnTo>
                        <a:lnTo>
                          <a:pt x="7" y="3"/>
                        </a:lnTo>
                        <a:lnTo>
                          <a:pt x="7" y="3"/>
                        </a:lnTo>
                        <a:close/>
                      </a:path>
                    </a:pathLst>
                  </a:cu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IN">
                      <a:solidFill>
                        <a:schemeClr val="tx1">
                          <a:lumMod val="85000"/>
                          <a:lumOff val="15000"/>
                        </a:schemeClr>
                      </a:solidFill>
                    </a:endParaRPr>
                  </a:p>
                </p:txBody>
              </p:sp>
              <p:sp>
                <p:nvSpPr>
                  <p:cNvPr id="59" name="Freeform 1145">
                    <a:extLst>
                      <a:ext uri="{FF2B5EF4-FFF2-40B4-BE49-F238E27FC236}">
                        <a16:creationId xmlns:a16="http://schemas.microsoft.com/office/drawing/2014/main" id="{76DFA364-EC86-4F5F-858D-302A40A4BBFC}"/>
                      </a:ext>
                    </a:extLst>
                  </p:cNvPr>
                  <p:cNvSpPr>
                    <a:spLocks/>
                  </p:cNvSpPr>
                  <p:nvPr/>
                </p:nvSpPr>
                <p:spPr bwMode="auto">
                  <a:xfrm>
                    <a:off x="3365162" y="5764524"/>
                    <a:ext cx="12444" cy="24889"/>
                  </a:xfrm>
                  <a:custGeom>
                    <a:avLst/>
                    <a:gdLst>
                      <a:gd name="T0" fmla="*/ 2 w 10"/>
                      <a:gd name="T1" fmla="*/ 20 h 20"/>
                      <a:gd name="T2" fmla="*/ 2 w 10"/>
                      <a:gd name="T3" fmla="*/ 20 h 20"/>
                      <a:gd name="T4" fmla="*/ 9 w 10"/>
                      <a:gd name="T5" fmla="*/ 18 h 20"/>
                      <a:gd name="T6" fmla="*/ 10 w 10"/>
                      <a:gd name="T7" fmla="*/ 18 h 20"/>
                      <a:gd name="T8" fmla="*/ 10 w 10"/>
                      <a:gd name="T9" fmla="*/ 15 h 20"/>
                      <a:gd name="T10" fmla="*/ 10 w 10"/>
                      <a:gd name="T11" fmla="*/ 15 h 20"/>
                      <a:gd name="T12" fmla="*/ 10 w 10"/>
                      <a:gd name="T13" fmla="*/ 6 h 20"/>
                      <a:gd name="T14" fmla="*/ 10 w 10"/>
                      <a:gd name="T15" fmla="*/ 3 h 20"/>
                      <a:gd name="T16" fmla="*/ 9 w 10"/>
                      <a:gd name="T17" fmla="*/ 0 h 20"/>
                      <a:gd name="T18" fmla="*/ 9 w 10"/>
                      <a:gd name="T19" fmla="*/ 0 h 20"/>
                      <a:gd name="T20" fmla="*/ 5 w 10"/>
                      <a:gd name="T21" fmla="*/ 1 h 20"/>
                      <a:gd name="T22" fmla="*/ 4 w 10"/>
                      <a:gd name="T23" fmla="*/ 5 h 20"/>
                      <a:gd name="T24" fmla="*/ 4 w 10"/>
                      <a:gd name="T25" fmla="*/ 5 h 20"/>
                      <a:gd name="T26" fmla="*/ 2 w 10"/>
                      <a:gd name="T27" fmla="*/ 10 h 20"/>
                      <a:gd name="T28" fmla="*/ 0 w 10"/>
                      <a:gd name="T29" fmla="*/ 13 h 20"/>
                      <a:gd name="T30" fmla="*/ 0 w 10"/>
                      <a:gd name="T31" fmla="*/ 13 h 20"/>
                      <a:gd name="T32" fmla="*/ 0 w 10"/>
                      <a:gd name="T33" fmla="*/ 16 h 20"/>
                      <a:gd name="T34" fmla="*/ 0 w 10"/>
                      <a:gd name="T35" fmla="*/ 18 h 20"/>
                      <a:gd name="T36" fmla="*/ 0 w 10"/>
                      <a:gd name="T37" fmla="*/ 18 h 20"/>
                      <a:gd name="T38" fmla="*/ 2 w 10"/>
                      <a:gd name="T39" fmla="*/ 20 h 20"/>
                      <a:gd name="T40" fmla="*/ 2 w 10"/>
                      <a:gd name="T41" fmla="*/ 20 h 20"/>
                      <a:gd name="T42" fmla="*/ 2 w 10"/>
                      <a:gd name="T43" fmla="*/ 18 h 20"/>
                      <a:gd name="T44" fmla="*/ 2 w 10"/>
                      <a:gd name="T45" fmla="*/ 20 h 20"/>
                      <a:gd name="T46" fmla="*/ 2 w 10"/>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 h="20">
                        <a:moveTo>
                          <a:pt x="2" y="20"/>
                        </a:moveTo>
                        <a:lnTo>
                          <a:pt x="2" y="20"/>
                        </a:lnTo>
                        <a:lnTo>
                          <a:pt x="9" y="18"/>
                        </a:lnTo>
                        <a:lnTo>
                          <a:pt x="10" y="18"/>
                        </a:lnTo>
                        <a:lnTo>
                          <a:pt x="10" y="15"/>
                        </a:lnTo>
                        <a:lnTo>
                          <a:pt x="10" y="15"/>
                        </a:lnTo>
                        <a:lnTo>
                          <a:pt x="10" y="6"/>
                        </a:lnTo>
                        <a:lnTo>
                          <a:pt x="10" y="3"/>
                        </a:lnTo>
                        <a:lnTo>
                          <a:pt x="9" y="0"/>
                        </a:lnTo>
                        <a:lnTo>
                          <a:pt x="9" y="0"/>
                        </a:lnTo>
                        <a:lnTo>
                          <a:pt x="5" y="1"/>
                        </a:lnTo>
                        <a:lnTo>
                          <a:pt x="4" y="5"/>
                        </a:lnTo>
                        <a:lnTo>
                          <a:pt x="4" y="5"/>
                        </a:lnTo>
                        <a:lnTo>
                          <a:pt x="2" y="10"/>
                        </a:lnTo>
                        <a:lnTo>
                          <a:pt x="0" y="13"/>
                        </a:lnTo>
                        <a:lnTo>
                          <a:pt x="0" y="13"/>
                        </a:lnTo>
                        <a:lnTo>
                          <a:pt x="0" y="16"/>
                        </a:lnTo>
                        <a:lnTo>
                          <a:pt x="0" y="18"/>
                        </a:lnTo>
                        <a:lnTo>
                          <a:pt x="0" y="18"/>
                        </a:lnTo>
                        <a:lnTo>
                          <a:pt x="2" y="20"/>
                        </a:lnTo>
                        <a:lnTo>
                          <a:pt x="2" y="20"/>
                        </a:lnTo>
                        <a:lnTo>
                          <a:pt x="2" y="18"/>
                        </a:lnTo>
                        <a:lnTo>
                          <a:pt x="2" y="20"/>
                        </a:lnTo>
                        <a:lnTo>
                          <a:pt x="2" y="20"/>
                        </a:ln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IN"/>
                  </a:p>
                </p:txBody>
              </p:sp>
            </p:grpSp>
            <p:sp>
              <p:nvSpPr>
                <p:cNvPr id="10" name="Freeform 161">
                  <a:extLst>
                    <a:ext uri="{FF2B5EF4-FFF2-40B4-BE49-F238E27FC236}">
                      <a16:creationId xmlns:a16="http://schemas.microsoft.com/office/drawing/2014/main" id="{7FEBF5E6-AE28-45AA-9DDC-A3712D3A4438}"/>
                    </a:ext>
                  </a:extLst>
                </p:cNvPr>
                <p:cNvSpPr>
                  <a:spLocks/>
                </p:cNvSpPr>
                <p:nvPr/>
              </p:nvSpPr>
              <p:spPr bwMode="auto">
                <a:xfrm>
                  <a:off x="3623372" y="2344640"/>
                  <a:ext cx="47625" cy="55562"/>
                </a:xfrm>
                <a:custGeom>
                  <a:avLst/>
                  <a:gdLst/>
                  <a:ahLst/>
                  <a:cxnLst>
                    <a:cxn ang="0">
                      <a:pos x="14" y="0"/>
                    </a:cxn>
                    <a:cxn ang="0">
                      <a:pos x="0" y="9"/>
                    </a:cxn>
                    <a:cxn ang="0">
                      <a:pos x="8" y="25"/>
                    </a:cxn>
                    <a:cxn ang="0">
                      <a:pos x="24" y="28"/>
                    </a:cxn>
                    <a:cxn ang="0">
                      <a:pos x="14" y="0"/>
                    </a:cxn>
                  </a:cxnLst>
                  <a:rect l="0" t="0" r="r" b="b"/>
                  <a:pathLst>
                    <a:path w="30" h="35">
                      <a:moveTo>
                        <a:pt x="14" y="0"/>
                      </a:moveTo>
                      <a:cubicBezTo>
                        <a:pt x="5" y="1"/>
                        <a:pt x="3" y="1"/>
                        <a:pt x="0" y="9"/>
                      </a:cubicBezTo>
                      <a:cubicBezTo>
                        <a:pt x="4" y="16"/>
                        <a:pt x="1" y="21"/>
                        <a:pt x="8" y="25"/>
                      </a:cubicBezTo>
                      <a:cubicBezTo>
                        <a:pt x="10" y="35"/>
                        <a:pt x="16" y="32"/>
                        <a:pt x="24" y="28"/>
                      </a:cubicBezTo>
                      <a:cubicBezTo>
                        <a:pt x="30" y="16"/>
                        <a:pt x="28" y="2"/>
                        <a:pt x="14" y="0"/>
                      </a:cubicBezTo>
                      <a:close/>
                    </a:path>
                  </a:pathLst>
                </a:custGeom>
                <a:grpFill/>
                <a:ln w="9525">
                  <a:solidFill>
                    <a:schemeClr val="accent2">
                      <a:lumMod val="20000"/>
                      <a:lumOff val="80000"/>
                    </a:schemeClr>
                  </a:solidFill>
                  <a:round/>
                  <a:headEnd/>
                  <a:tailEnd/>
                </a:ln>
              </p:spPr>
              <p:txBody>
                <a:bodyPr vert="horz" wrap="square" lIns="68580" tIns="34290" rIns="68580" bIns="34290" numCol="1" anchor="t" anchorCtr="0" compatLnSpc="1">
                  <a:prstTxWarp prst="textNoShape">
                    <a:avLst/>
                  </a:prstTxWarp>
                </a:bodyPr>
                <a:lstStyle/>
                <a:p>
                  <a:endParaRPr lang="en-US" dirty="0"/>
                </a:p>
              </p:txBody>
            </p:sp>
          </p:grpSp>
          <p:sp>
            <p:nvSpPr>
              <p:cNvPr id="8" name="Diu">
                <a:extLst>
                  <a:ext uri="{FF2B5EF4-FFF2-40B4-BE49-F238E27FC236}">
                    <a16:creationId xmlns:a16="http://schemas.microsoft.com/office/drawing/2014/main" id="{86CD0DFC-4A86-484F-A71D-BD80365BDE18}"/>
                  </a:ext>
                </a:extLst>
              </p:cNvPr>
              <p:cNvSpPr>
                <a:spLocks noChangeAspect="1"/>
              </p:cNvSpPr>
              <p:nvPr/>
            </p:nvSpPr>
            <p:spPr bwMode="auto">
              <a:xfrm>
                <a:off x="2641677" y="4142030"/>
                <a:ext cx="16149" cy="13240"/>
              </a:xfrm>
              <a:custGeom>
                <a:avLst/>
                <a:gdLst/>
                <a:ahLst/>
                <a:cxnLst>
                  <a:cxn ang="0">
                    <a:pos x="29" y="21"/>
                  </a:cxn>
                  <a:cxn ang="0">
                    <a:pos x="18" y="10"/>
                  </a:cxn>
                  <a:cxn ang="0">
                    <a:pos x="0" y="16"/>
                  </a:cxn>
                  <a:cxn ang="0">
                    <a:pos x="11" y="25"/>
                  </a:cxn>
                  <a:cxn ang="0">
                    <a:pos x="26" y="24"/>
                  </a:cxn>
                  <a:cxn ang="0">
                    <a:pos x="29" y="21"/>
                  </a:cxn>
                </a:cxnLst>
                <a:rect l="0" t="0" r="r" b="b"/>
                <a:pathLst>
                  <a:path w="31" h="26">
                    <a:moveTo>
                      <a:pt x="29" y="21"/>
                    </a:moveTo>
                    <a:cubicBezTo>
                      <a:pt x="26" y="15"/>
                      <a:pt x="24" y="13"/>
                      <a:pt x="18" y="10"/>
                    </a:cubicBezTo>
                    <a:cubicBezTo>
                      <a:pt x="10" y="0"/>
                      <a:pt x="4" y="8"/>
                      <a:pt x="0" y="16"/>
                    </a:cubicBezTo>
                    <a:cubicBezTo>
                      <a:pt x="3" y="22"/>
                      <a:pt x="4" y="24"/>
                      <a:pt x="11" y="25"/>
                    </a:cubicBezTo>
                    <a:cubicBezTo>
                      <a:pt x="16" y="25"/>
                      <a:pt x="21" y="26"/>
                      <a:pt x="26" y="24"/>
                    </a:cubicBezTo>
                    <a:cubicBezTo>
                      <a:pt x="31" y="22"/>
                      <a:pt x="24" y="16"/>
                      <a:pt x="29" y="21"/>
                    </a:cubicBezTo>
                    <a:close/>
                  </a:path>
                </a:pathLst>
              </a:custGeom>
              <a:grpFill/>
              <a:ln w="9525">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chorCtr="0"/>
              <a:lstStyle/>
              <a:p>
                <a:pPr algn="ctr"/>
                <a:endParaRPr lang="en-US" dirty="0">
                  <a:solidFill>
                    <a:schemeClr val="tx1">
                      <a:lumMod val="85000"/>
                      <a:lumOff val="15000"/>
                    </a:schemeClr>
                  </a:solidFill>
                </a:endParaRPr>
              </a:p>
            </p:txBody>
          </p:sp>
        </p:grpSp>
        <p:sp>
          <p:nvSpPr>
            <p:cNvPr id="6" name="Daman">
              <a:extLst>
                <a:ext uri="{FF2B5EF4-FFF2-40B4-BE49-F238E27FC236}">
                  <a16:creationId xmlns:a16="http://schemas.microsoft.com/office/drawing/2014/main" id="{4AF5D87D-BC68-4446-87D9-E5A9B3908302}"/>
                </a:ext>
              </a:extLst>
            </p:cNvPr>
            <p:cNvSpPr>
              <a:spLocks noChangeAspect="1"/>
            </p:cNvSpPr>
            <p:nvPr/>
          </p:nvSpPr>
          <p:spPr bwMode="auto">
            <a:xfrm>
              <a:off x="2951132" y="4210272"/>
              <a:ext cx="22922" cy="22408"/>
            </a:xfrm>
            <a:custGeom>
              <a:avLst/>
              <a:gdLst/>
              <a:ahLst/>
              <a:cxnLst>
                <a:cxn ang="0">
                  <a:pos x="0" y="41"/>
                </a:cxn>
                <a:cxn ang="0">
                  <a:pos x="17" y="44"/>
                </a:cxn>
                <a:cxn ang="0">
                  <a:pos x="30" y="38"/>
                </a:cxn>
                <a:cxn ang="0">
                  <a:pos x="35" y="27"/>
                </a:cxn>
                <a:cxn ang="0">
                  <a:pos x="44" y="14"/>
                </a:cxn>
                <a:cxn ang="0">
                  <a:pos x="33" y="5"/>
                </a:cxn>
                <a:cxn ang="0">
                  <a:pos x="9" y="0"/>
                </a:cxn>
                <a:cxn ang="0">
                  <a:pos x="8" y="11"/>
                </a:cxn>
                <a:cxn ang="0">
                  <a:pos x="0" y="24"/>
                </a:cxn>
                <a:cxn ang="0">
                  <a:pos x="0" y="41"/>
                </a:cxn>
              </a:cxnLst>
              <a:rect l="0" t="0" r="r" b="b"/>
              <a:pathLst>
                <a:path w="44" h="44">
                  <a:moveTo>
                    <a:pt x="0" y="41"/>
                  </a:moveTo>
                  <a:lnTo>
                    <a:pt x="17" y="44"/>
                  </a:lnTo>
                  <a:lnTo>
                    <a:pt x="30" y="38"/>
                  </a:lnTo>
                  <a:lnTo>
                    <a:pt x="35" y="27"/>
                  </a:lnTo>
                  <a:lnTo>
                    <a:pt x="44" y="14"/>
                  </a:lnTo>
                  <a:lnTo>
                    <a:pt x="33" y="5"/>
                  </a:lnTo>
                  <a:lnTo>
                    <a:pt x="9" y="0"/>
                  </a:lnTo>
                  <a:lnTo>
                    <a:pt x="8" y="11"/>
                  </a:lnTo>
                  <a:lnTo>
                    <a:pt x="0" y="24"/>
                  </a:lnTo>
                  <a:lnTo>
                    <a:pt x="0" y="4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en-US" dirty="0"/>
            </a:p>
          </p:txBody>
        </p:sp>
      </p:grpSp>
      <p:grpSp>
        <p:nvGrpSpPr>
          <p:cNvPr id="121" name="Group 120">
            <a:extLst>
              <a:ext uri="{FF2B5EF4-FFF2-40B4-BE49-F238E27FC236}">
                <a16:creationId xmlns:a16="http://schemas.microsoft.com/office/drawing/2014/main" id="{3F7265AA-7BBF-41F1-8167-6E70363CE186}"/>
              </a:ext>
            </a:extLst>
          </p:cNvPr>
          <p:cNvGrpSpPr/>
          <p:nvPr/>
        </p:nvGrpSpPr>
        <p:grpSpPr>
          <a:xfrm>
            <a:off x="4219" y="2295206"/>
            <a:ext cx="4352820" cy="3544863"/>
            <a:chOff x="1409404" y="1552724"/>
            <a:chExt cx="5803760" cy="4726484"/>
          </a:xfrm>
        </p:grpSpPr>
        <p:sp>
          <p:nvSpPr>
            <p:cNvPr id="122" name="Text Box 123">
              <a:extLst>
                <a:ext uri="{FF2B5EF4-FFF2-40B4-BE49-F238E27FC236}">
                  <a16:creationId xmlns:a16="http://schemas.microsoft.com/office/drawing/2014/main" id="{FE979B36-8440-48DF-9B5C-F3D69B4A3AF5}"/>
                </a:ext>
              </a:extLst>
            </p:cNvPr>
            <p:cNvSpPr txBox="1">
              <a:spLocks noChangeArrowheads="1"/>
            </p:cNvSpPr>
            <p:nvPr/>
          </p:nvSpPr>
          <p:spPr bwMode="auto">
            <a:xfrm>
              <a:off x="3164623" y="1552724"/>
              <a:ext cx="942567"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Jammu &amp; Kashmir</a:t>
              </a:r>
            </a:p>
          </p:txBody>
        </p:sp>
        <p:sp>
          <p:nvSpPr>
            <p:cNvPr id="123" name="Text Box 124">
              <a:extLst>
                <a:ext uri="{FF2B5EF4-FFF2-40B4-BE49-F238E27FC236}">
                  <a16:creationId xmlns:a16="http://schemas.microsoft.com/office/drawing/2014/main" id="{68CA8CDD-FA3A-486B-9BE8-98E6B2C192F4}"/>
                </a:ext>
              </a:extLst>
            </p:cNvPr>
            <p:cNvSpPr txBox="1">
              <a:spLocks noChangeArrowheads="1"/>
            </p:cNvSpPr>
            <p:nvPr/>
          </p:nvSpPr>
          <p:spPr bwMode="auto">
            <a:xfrm>
              <a:off x="3562985" y="1945403"/>
              <a:ext cx="961803"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Himachal Pradesh </a:t>
              </a:r>
            </a:p>
          </p:txBody>
        </p:sp>
        <p:sp>
          <p:nvSpPr>
            <p:cNvPr id="124" name="Text Box 125">
              <a:extLst>
                <a:ext uri="{FF2B5EF4-FFF2-40B4-BE49-F238E27FC236}">
                  <a16:creationId xmlns:a16="http://schemas.microsoft.com/office/drawing/2014/main" id="{02E4C938-68B2-4EF2-85EE-E9977628786C}"/>
                </a:ext>
              </a:extLst>
            </p:cNvPr>
            <p:cNvSpPr txBox="1">
              <a:spLocks noChangeArrowheads="1"/>
            </p:cNvSpPr>
            <p:nvPr/>
          </p:nvSpPr>
          <p:spPr bwMode="auto">
            <a:xfrm>
              <a:off x="3902391" y="2391241"/>
              <a:ext cx="707241" cy="153888"/>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Uttarakhand</a:t>
              </a:r>
            </a:p>
          </p:txBody>
        </p:sp>
        <p:sp>
          <p:nvSpPr>
            <p:cNvPr id="125" name="Text Box 126">
              <a:extLst>
                <a:ext uri="{FF2B5EF4-FFF2-40B4-BE49-F238E27FC236}">
                  <a16:creationId xmlns:a16="http://schemas.microsoft.com/office/drawing/2014/main" id="{8088871B-7ED0-440F-A01A-4A38A869C92A}"/>
                </a:ext>
              </a:extLst>
            </p:cNvPr>
            <p:cNvSpPr txBox="1">
              <a:spLocks noChangeArrowheads="1"/>
            </p:cNvSpPr>
            <p:nvPr/>
          </p:nvSpPr>
          <p:spPr bwMode="auto">
            <a:xfrm>
              <a:off x="3128551" y="2239119"/>
              <a:ext cx="359075"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Punjab</a:t>
              </a:r>
            </a:p>
          </p:txBody>
        </p:sp>
        <p:sp>
          <p:nvSpPr>
            <p:cNvPr id="126" name="Text Box 127">
              <a:extLst>
                <a:ext uri="{FF2B5EF4-FFF2-40B4-BE49-F238E27FC236}">
                  <a16:creationId xmlns:a16="http://schemas.microsoft.com/office/drawing/2014/main" id="{E989861D-8850-4B0C-8F45-57690FD5A4D3}"/>
                </a:ext>
              </a:extLst>
            </p:cNvPr>
            <p:cNvSpPr txBox="1">
              <a:spLocks noChangeArrowheads="1"/>
            </p:cNvSpPr>
            <p:nvPr/>
          </p:nvSpPr>
          <p:spPr bwMode="auto">
            <a:xfrm>
              <a:off x="2894427" y="2947823"/>
              <a:ext cx="509756"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Rajasthan</a:t>
              </a:r>
            </a:p>
          </p:txBody>
        </p:sp>
        <p:sp>
          <p:nvSpPr>
            <p:cNvPr id="127" name="Text Box 129">
              <a:extLst>
                <a:ext uri="{FF2B5EF4-FFF2-40B4-BE49-F238E27FC236}">
                  <a16:creationId xmlns:a16="http://schemas.microsoft.com/office/drawing/2014/main" id="{5BDE69FF-C8C3-457D-BFA6-438BAA04A4C1}"/>
                </a:ext>
              </a:extLst>
            </p:cNvPr>
            <p:cNvSpPr txBox="1">
              <a:spLocks noChangeArrowheads="1"/>
            </p:cNvSpPr>
            <p:nvPr/>
          </p:nvSpPr>
          <p:spPr bwMode="auto">
            <a:xfrm>
              <a:off x="4023677" y="2912657"/>
              <a:ext cx="722955"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Uttar Pradesh</a:t>
              </a:r>
            </a:p>
          </p:txBody>
        </p:sp>
        <p:sp>
          <p:nvSpPr>
            <p:cNvPr id="128" name="Text Box 130">
              <a:extLst>
                <a:ext uri="{FF2B5EF4-FFF2-40B4-BE49-F238E27FC236}">
                  <a16:creationId xmlns:a16="http://schemas.microsoft.com/office/drawing/2014/main" id="{2BEF0708-1BA9-43DF-B2F0-5D19E9D3691B}"/>
                </a:ext>
              </a:extLst>
            </p:cNvPr>
            <p:cNvSpPr txBox="1">
              <a:spLocks noChangeArrowheads="1"/>
            </p:cNvSpPr>
            <p:nvPr/>
          </p:nvSpPr>
          <p:spPr bwMode="auto">
            <a:xfrm>
              <a:off x="3429547" y="3618507"/>
              <a:ext cx="872035"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Madhya Pradesh</a:t>
              </a:r>
            </a:p>
          </p:txBody>
        </p:sp>
        <p:sp>
          <p:nvSpPr>
            <p:cNvPr id="129" name="Text Box 131">
              <a:extLst>
                <a:ext uri="{FF2B5EF4-FFF2-40B4-BE49-F238E27FC236}">
                  <a16:creationId xmlns:a16="http://schemas.microsoft.com/office/drawing/2014/main" id="{6174C8D0-0930-41D2-A2A3-88CAB245601E}"/>
                </a:ext>
              </a:extLst>
            </p:cNvPr>
            <p:cNvSpPr txBox="1">
              <a:spLocks noChangeArrowheads="1"/>
            </p:cNvSpPr>
            <p:nvPr/>
          </p:nvSpPr>
          <p:spPr bwMode="auto">
            <a:xfrm>
              <a:off x="2686492" y="3581401"/>
              <a:ext cx="387927"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Gujarat</a:t>
              </a:r>
            </a:p>
          </p:txBody>
        </p:sp>
        <p:sp>
          <p:nvSpPr>
            <p:cNvPr id="130" name="Text Box 132">
              <a:extLst>
                <a:ext uri="{FF2B5EF4-FFF2-40B4-BE49-F238E27FC236}">
                  <a16:creationId xmlns:a16="http://schemas.microsoft.com/office/drawing/2014/main" id="{3AE1F755-6D5E-43DF-BC90-FFD9083192DE}"/>
                </a:ext>
              </a:extLst>
            </p:cNvPr>
            <p:cNvSpPr txBox="1">
              <a:spLocks noChangeArrowheads="1"/>
            </p:cNvSpPr>
            <p:nvPr/>
          </p:nvSpPr>
          <p:spPr bwMode="auto">
            <a:xfrm>
              <a:off x="3067515" y="4218419"/>
              <a:ext cx="670056"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Maharashtra</a:t>
              </a:r>
            </a:p>
          </p:txBody>
        </p:sp>
        <p:sp>
          <p:nvSpPr>
            <p:cNvPr id="131" name="Text Box 133">
              <a:extLst>
                <a:ext uri="{FF2B5EF4-FFF2-40B4-BE49-F238E27FC236}">
                  <a16:creationId xmlns:a16="http://schemas.microsoft.com/office/drawing/2014/main" id="{ECE3D533-04F0-423A-9AFC-792779E53556}"/>
                </a:ext>
              </a:extLst>
            </p:cNvPr>
            <p:cNvSpPr txBox="1">
              <a:spLocks noChangeArrowheads="1"/>
            </p:cNvSpPr>
            <p:nvPr/>
          </p:nvSpPr>
          <p:spPr bwMode="auto">
            <a:xfrm>
              <a:off x="3047848" y="5257057"/>
              <a:ext cx="524183"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Karnataka</a:t>
              </a:r>
            </a:p>
          </p:txBody>
        </p:sp>
        <p:sp>
          <p:nvSpPr>
            <p:cNvPr id="132" name="Text Box 134">
              <a:extLst>
                <a:ext uri="{FF2B5EF4-FFF2-40B4-BE49-F238E27FC236}">
                  <a16:creationId xmlns:a16="http://schemas.microsoft.com/office/drawing/2014/main" id="{0AB56866-3950-4B73-AA40-26287CA81D69}"/>
                </a:ext>
              </a:extLst>
            </p:cNvPr>
            <p:cNvSpPr txBox="1">
              <a:spLocks noChangeArrowheads="1"/>
            </p:cNvSpPr>
            <p:nvPr/>
          </p:nvSpPr>
          <p:spPr bwMode="auto">
            <a:xfrm>
              <a:off x="2939039" y="4959407"/>
              <a:ext cx="208391"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Goa</a:t>
              </a:r>
            </a:p>
          </p:txBody>
        </p:sp>
        <p:sp>
          <p:nvSpPr>
            <p:cNvPr id="133" name="Text Box 135">
              <a:extLst>
                <a:ext uri="{FF2B5EF4-FFF2-40B4-BE49-F238E27FC236}">
                  <a16:creationId xmlns:a16="http://schemas.microsoft.com/office/drawing/2014/main" id="{5B7A77BC-EC08-410C-9B12-98C4542D34C2}"/>
                </a:ext>
              </a:extLst>
            </p:cNvPr>
            <p:cNvSpPr txBox="1">
              <a:spLocks noChangeArrowheads="1"/>
            </p:cNvSpPr>
            <p:nvPr/>
          </p:nvSpPr>
          <p:spPr bwMode="auto">
            <a:xfrm>
              <a:off x="3282956" y="5971432"/>
              <a:ext cx="327013"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Kerala</a:t>
              </a:r>
            </a:p>
          </p:txBody>
        </p:sp>
        <p:sp>
          <p:nvSpPr>
            <p:cNvPr id="134" name="Text Box 136">
              <a:extLst>
                <a:ext uri="{FF2B5EF4-FFF2-40B4-BE49-F238E27FC236}">
                  <a16:creationId xmlns:a16="http://schemas.microsoft.com/office/drawing/2014/main" id="{385474CD-C59F-4CB7-9EA3-F35E1DC4DD7D}"/>
                </a:ext>
              </a:extLst>
            </p:cNvPr>
            <p:cNvSpPr txBox="1">
              <a:spLocks noChangeArrowheads="1"/>
            </p:cNvSpPr>
            <p:nvPr/>
          </p:nvSpPr>
          <p:spPr bwMode="auto">
            <a:xfrm>
              <a:off x="3635688" y="5816932"/>
              <a:ext cx="591509"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Tamil Nadu</a:t>
              </a:r>
            </a:p>
          </p:txBody>
        </p:sp>
        <p:sp>
          <p:nvSpPr>
            <p:cNvPr id="135" name="Text Box 137">
              <a:extLst>
                <a:ext uri="{FF2B5EF4-FFF2-40B4-BE49-F238E27FC236}">
                  <a16:creationId xmlns:a16="http://schemas.microsoft.com/office/drawing/2014/main" id="{A68899D2-71A5-43DF-AE7F-072069936C54}"/>
                </a:ext>
              </a:extLst>
            </p:cNvPr>
            <p:cNvSpPr txBox="1">
              <a:spLocks noChangeArrowheads="1"/>
            </p:cNvSpPr>
            <p:nvPr/>
          </p:nvSpPr>
          <p:spPr bwMode="auto">
            <a:xfrm>
              <a:off x="3814712" y="5088417"/>
              <a:ext cx="830356"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Andhra Pradesh</a:t>
              </a:r>
            </a:p>
          </p:txBody>
        </p:sp>
        <p:sp>
          <p:nvSpPr>
            <p:cNvPr id="136" name="Text Box 138">
              <a:extLst>
                <a:ext uri="{FF2B5EF4-FFF2-40B4-BE49-F238E27FC236}">
                  <a16:creationId xmlns:a16="http://schemas.microsoft.com/office/drawing/2014/main" id="{CAFB9BD6-2F6B-44A0-A3B3-EDEFD6AAAA52}"/>
                </a:ext>
              </a:extLst>
            </p:cNvPr>
            <p:cNvSpPr txBox="1">
              <a:spLocks noChangeArrowheads="1"/>
            </p:cNvSpPr>
            <p:nvPr/>
          </p:nvSpPr>
          <p:spPr bwMode="auto">
            <a:xfrm>
              <a:off x="4610876" y="4166121"/>
              <a:ext cx="425153" cy="153888"/>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Odisha</a:t>
              </a:r>
            </a:p>
          </p:txBody>
        </p:sp>
        <p:sp>
          <p:nvSpPr>
            <p:cNvPr id="137" name="Text Box 139">
              <a:extLst>
                <a:ext uri="{FF2B5EF4-FFF2-40B4-BE49-F238E27FC236}">
                  <a16:creationId xmlns:a16="http://schemas.microsoft.com/office/drawing/2014/main" id="{514FB5D2-844C-4566-AA66-706826880B05}"/>
                </a:ext>
              </a:extLst>
            </p:cNvPr>
            <p:cNvSpPr txBox="1">
              <a:spLocks noChangeArrowheads="1"/>
            </p:cNvSpPr>
            <p:nvPr/>
          </p:nvSpPr>
          <p:spPr bwMode="auto">
            <a:xfrm>
              <a:off x="4173656" y="3821003"/>
              <a:ext cx="692499"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Chhattisgarh </a:t>
              </a:r>
            </a:p>
          </p:txBody>
        </p:sp>
        <p:sp>
          <p:nvSpPr>
            <p:cNvPr id="138" name="Text Box 140">
              <a:extLst>
                <a:ext uri="{FF2B5EF4-FFF2-40B4-BE49-F238E27FC236}">
                  <a16:creationId xmlns:a16="http://schemas.microsoft.com/office/drawing/2014/main" id="{8545BF37-648C-485E-A8CD-FADF95964461}"/>
                </a:ext>
              </a:extLst>
            </p:cNvPr>
            <p:cNvSpPr txBox="1">
              <a:spLocks noChangeArrowheads="1"/>
            </p:cNvSpPr>
            <p:nvPr/>
          </p:nvSpPr>
          <p:spPr bwMode="auto">
            <a:xfrm>
              <a:off x="4968351" y="3128219"/>
              <a:ext cx="272512"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Bihar</a:t>
              </a:r>
            </a:p>
          </p:txBody>
        </p:sp>
        <p:sp>
          <p:nvSpPr>
            <p:cNvPr id="139" name="Text Box 141">
              <a:extLst>
                <a:ext uri="{FF2B5EF4-FFF2-40B4-BE49-F238E27FC236}">
                  <a16:creationId xmlns:a16="http://schemas.microsoft.com/office/drawing/2014/main" id="{FBF99F08-1B8B-47D7-8D03-FD85C40B984F}"/>
                </a:ext>
              </a:extLst>
            </p:cNvPr>
            <p:cNvSpPr txBox="1">
              <a:spLocks noChangeArrowheads="1"/>
            </p:cNvSpPr>
            <p:nvPr/>
          </p:nvSpPr>
          <p:spPr bwMode="auto">
            <a:xfrm>
              <a:off x="4753475" y="3498079"/>
              <a:ext cx="535404"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Jharkhand</a:t>
              </a:r>
            </a:p>
          </p:txBody>
        </p:sp>
        <p:sp>
          <p:nvSpPr>
            <p:cNvPr id="140" name="Text Box 142">
              <a:extLst>
                <a:ext uri="{FF2B5EF4-FFF2-40B4-BE49-F238E27FC236}">
                  <a16:creationId xmlns:a16="http://schemas.microsoft.com/office/drawing/2014/main" id="{6CCBD670-4F1C-49F2-B721-C804161F8FE5}"/>
                </a:ext>
              </a:extLst>
            </p:cNvPr>
            <p:cNvSpPr txBox="1">
              <a:spLocks noChangeArrowheads="1"/>
            </p:cNvSpPr>
            <p:nvPr/>
          </p:nvSpPr>
          <p:spPr bwMode="auto">
            <a:xfrm>
              <a:off x="5271348" y="3613095"/>
              <a:ext cx="652423"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West Bengal</a:t>
              </a:r>
            </a:p>
          </p:txBody>
        </p:sp>
        <p:sp>
          <p:nvSpPr>
            <p:cNvPr id="141" name="Text Box 143">
              <a:extLst>
                <a:ext uri="{FF2B5EF4-FFF2-40B4-BE49-F238E27FC236}">
                  <a16:creationId xmlns:a16="http://schemas.microsoft.com/office/drawing/2014/main" id="{6974342B-C06C-47EA-9931-4147DB047624}"/>
                </a:ext>
              </a:extLst>
            </p:cNvPr>
            <p:cNvSpPr txBox="1">
              <a:spLocks noChangeArrowheads="1"/>
            </p:cNvSpPr>
            <p:nvPr/>
          </p:nvSpPr>
          <p:spPr bwMode="auto">
            <a:xfrm>
              <a:off x="6026636" y="2904868"/>
              <a:ext cx="336631"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Assam</a:t>
              </a:r>
            </a:p>
          </p:txBody>
        </p:sp>
        <p:sp>
          <p:nvSpPr>
            <p:cNvPr id="142" name="Text Box 144">
              <a:extLst>
                <a:ext uri="{FF2B5EF4-FFF2-40B4-BE49-F238E27FC236}">
                  <a16:creationId xmlns:a16="http://schemas.microsoft.com/office/drawing/2014/main" id="{B7825DB6-AFC9-4171-AABD-8B807CFE5B10}"/>
                </a:ext>
              </a:extLst>
            </p:cNvPr>
            <p:cNvSpPr txBox="1">
              <a:spLocks noChangeArrowheads="1"/>
            </p:cNvSpPr>
            <p:nvPr/>
          </p:nvSpPr>
          <p:spPr bwMode="auto">
            <a:xfrm>
              <a:off x="5608963" y="3102945"/>
              <a:ext cx="570671"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Meghalaya</a:t>
              </a:r>
            </a:p>
          </p:txBody>
        </p:sp>
        <p:sp>
          <p:nvSpPr>
            <p:cNvPr id="143" name="Text Box 145">
              <a:extLst>
                <a:ext uri="{FF2B5EF4-FFF2-40B4-BE49-F238E27FC236}">
                  <a16:creationId xmlns:a16="http://schemas.microsoft.com/office/drawing/2014/main" id="{52AB0E77-1013-4CD1-8571-F50A25322A5A}"/>
                </a:ext>
              </a:extLst>
            </p:cNvPr>
            <p:cNvSpPr txBox="1">
              <a:spLocks noChangeArrowheads="1"/>
            </p:cNvSpPr>
            <p:nvPr/>
          </p:nvSpPr>
          <p:spPr bwMode="auto">
            <a:xfrm>
              <a:off x="6227896" y="3429100"/>
              <a:ext cx="464872"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Mizoram</a:t>
              </a:r>
            </a:p>
          </p:txBody>
        </p:sp>
        <p:sp>
          <p:nvSpPr>
            <p:cNvPr id="144" name="Text Box 146">
              <a:extLst>
                <a:ext uri="{FF2B5EF4-FFF2-40B4-BE49-F238E27FC236}">
                  <a16:creationId xmlns:a16="http://schemas.microsoft.com/office/drawing/2014/main" id="{4EAB0357-ED5B-43F0-82C5-ECA50FF77D82}"/>
                </a:ext>
              </a:extLst>
            </p:cNvPr>
            <p:cNvSpPr txBox="1">
              <a:spLocks noChangeArrowheads="1"/>
            </p:cNvSpPr>
            <p:nvPr/>
          </p:nvSpPr>
          <p:spPr bwMode="auto">
            <a:xfrm>
              <a:off x="6337323" y="3202203"/>
              <a:ext cx="445635"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Manipur</a:t>
              </a:r>
            </a:p>
          </p:txBody>
        </p:sp>
        <p:sp>
          <p:nvSpPr>
            <p:cNvPr id="145" name="Text Box 147">
              <a:extLst>
                <a:ext uri="{FF2B5EF4-FFF2-40B4-BE49-F238E27FC236}">
                  <a16:creationId xmlns:a16="http://schemas.microsoft.com/office/drawing/2014/main" id="{72EBE74A-23D5-460E-9473-F8EAD31CFBCD}"/>
                </a:ext>
              </a:extLst>
            </p:cNvPr>
            <p:cNvSpPr txBox="1">
              <a:spLocks noChangeArrowheads="1"/>
            </p:cNvSpPr>
            <p:nvPr/>
          </p:nvSpPr>
          <p:spPr bwMode="auto">
            <a:xfrm>
              <a:off x="6447077" y="2943227"/>
              <a:ext cx="490519"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Nagaland</a:t>
              </a:r>
            </a:p>
          </p:txBody>
        </p:sp>
        <p:sp>
          <p:nvSpPr>
            <p:cNvPr id="146" name="Text Box 148">
              <a:extLst>
                <a:ext uri="{FF2B5EF4-FFF2-40B4-BE49-F238E27FC236}">
                  <a16:creationId xmlns:a16="http://schemas.microsoft.com/office/drawing/2014/main" id="{1543C148-E7DF-4906-B6F7-A0BC4443DEDB}"/>
                </a:ext>
              </a:extLst>
            </p:cNvPr>
            <p:cNvSpPr txBox="1">
              <a:spLocks noChangeArrowheads="1"/>
            </p:cNvSpPr>
            <p:nvPr/>
          </p:nvSpPr>
          <p:spPr bwMode="auto">
            <a:xfrm>
              <a:off x="6061875" y="2497867"/>
              <a:ext cx="974627"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Arunachal Pradesh</a:t>
              </a:r>
            </a:p>
          </p:txBody>
        </p:sp>
        <p:sp>
          <p:nvSpPr>
            <p:cNvPr id="147" name="Text Box 149">
              <a:extLst>
                <a:ext uri="{FF2B5EF4-FFF2-40B4-BE49-F238E27FC236}">
                  <a16:creationId xmlns:a16="http://schemas.microsoft.com/office/drawing/2014/main" id="{D400F0E9-F86B-4EA5-A08A-6013E28A13F3}"/>
                </a:ext>
              </a:extLst>
            </p:cNvPr>
            <p:cNvSpPr txBox="1">
              <a:spLocks noChangeArrowheads="1"/>
            </p:cNvSpPr>
            <p:nvPr/>
          </p:nvSpPr>
          <p:spPr bwMode="auto">
            <a:xfrm>
              <a:off x="5335127" y="2741611"/>
              <a:ext cx="335028"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Sikkim</a:t>
              </a:r>
            </a:p>
          </p:txBody>
        </p:sp>
        <p:sp>
          <p:nvSpPr>
            <p:cNvPr id="148" name="Text Box 150">
              <a:extLst>
                <a:ext uri="{FF2B5EF4-FFF2-40B4-BE49-F238E27FC236}">
                  <a16:creationId xmlns:a16="http://schemas.microsoft.com/office/drawing/2014/main" id="{EE52F574-AC7E-4B4A-BFF7-7F11B749C6E6}"/>
                </a:ext>
              </a:extLst>
            </p:cNvPr>
            <p:cNvSpPr txBox="1">
              <a:spLocks noChangeArrowheads="1"/>
            </p:cNvSpPr>
            <p:nvPr/>
          </p:nvSpPr>
          <p:spPr bwMode="auto">
            <a:xfrm>
              <a:off x="5784728" y="3403755"/>
              <a:ext cx="376707"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Tripura</a:t>
              </a:r>
            </a:p>
          </p:txBody>
        </p:sp>
        <p:sp>
          <p:nvSpPr>
            <p:cNvPr id="149" name="Text Box 151">
              <a:extLst>
                <a:ext uri="{FF2B5EF4-FFF2-40B4-BE49-F238E27FC236}">
                  <a16:creationId xmlns:a16="http://schemas.microsoft.com/office/drawing/2014/main" id="{F475C8B7-7A7F-4DCD-8A88-217BEFA2200D}"/>
                </a:ext>
              </a:extLst>
            </p:cNvPr>
            <p:cNvSpPr txBox="1">
              <a:spLocks noChangeArrowheads="1"/>
            </p:cNvSpPr>
            <p:nvPr/>
          </p:nvSpPr>
          <p:spPr bwMode="auto">
            <a:xfrm>
              <a:off x="5297492" y="6005340"/>
              <a:ext cx="1915672" cy="153888"/>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Andaman &amp; Nicobar Islands</a:t>
              </a:r>
            </a:p>
          </p:txBody>
        </p:sp>
        <p:sp>
          <p:nvSpPr>
            <p:cNvPr id="150" name="Text Box 152">
              <a:extLst>
                <a:ext uri="{FF2B5EF4-FFF2-40B4-BE49-F238E27FC236}">
                  <a16:creationId xmlns:a16="http://schemas.microsoft.com/office/drawing/2014/main" id="{D1CEEF43-CCE0-4026-AA2C-08B6AAA2126E}"/>
                </a:ext>
              </a:extLst>
            </p:cNvPr>
            <p:cNvSpPr txBox="1">
              <a:spLocks noChangeArrowheads="1"/>
            </p:cNvSpPr>
            <p:nvPr/>
          </p:nvSpPr>
          <p:spPr bwMode="auto">
            <a:xfrm>
              <a:off x="2384283" y="5940352"/>
              <a:ext cx="939684" cy="153888"/>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Lakshadweep</a:t>
              </a:r>
            </a:p>
          </p:txBody>
        </p:sp>
        <p:sp>
          <p:nvSpPr>
            <p:cNvPr id="151" name="Text Box 153">
              <a:extLst>
                <a:ext uri="{FF2B5EF4-FFF2-40B4-BE49-F238E27FC236}">
                  <a16:creationId xmlns:a16="http://schemas.microsoft.com/office/drawing/2014/main" id="{6C0A1385-1991-4E2A-AF1A-E53329E3B0A2}"/>
                </a:ext>
              </a:extLst>
            </p:cNvPr>
            <p:cNvSpPr txBox="1">
              <a:spLocks noChangeArrowheads="1"/>
            </p:cNvSpPr>
            <p:nvPr/>
          </p:nvSpPr>
          <p:spPr bwMode="auto">
            <a:xfrm>
              <a:off x="4278011" y="5603805"/>
              <a:ext cx="629325"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Puducherry </a:t>
              </a:r>
            </a:p>
          </p:txBody>
        </p:sp>
        <p:sp>
          <p:nvSpPr>
            <p:cNvPr id="152" name="Text Box 155">
              <a:extLst>
                <a:ext uri="{FF2B5EF4-FFF2-40B4-BE49-F238E27FC236}">
                  <a16:creationId xmlns:a16="http://schemas.microsoft.com/office/drawing/2014/main" id="{195100AD-A966-48FF-8A28-AA2D2543ECCF}"/>
                </a:ext>
              </a:extLst>
            </p:cNvPr>
            <p:cNvSpPr txBox="1">
              <a:spLocks noChangeArrowheads="1"/>
            </p:cNvSpPr>
            <p:nvPr/>
          </p:nvSpPr>
          <p:spPr bwMode="auto">
            <a:xfrm>
              <a:off x="1409404" y="4244545"/>
              <a:ext cx="1291491"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Dadra and Nagar Haveli </a:t>
              </a:r>
            </a:p>
          </p:txBody>
        </p:sp>
        <p:sp>
          <p:nvSpPr>
            <p:cNvPr id="153" name="Text Box 157">
              <a:extLst>
                <a:ext uri="{FF2B5EF4-FFF2-40B4-BE49-F238E27FC236}">
                  <a16:creationId xmlns:a16="http://schemas.microsoft.com/office/drawing/2014/main" id="{27E6F9C2-8F61-406D-BE77-E540EC7B3005}"/>
                </a:ext>
              </a:extLst>
            </p:cNvPr>
            <p:cNvSpPr txBox="1">
              <a:spLocks noChangeArrowheads="1"/>
            </p:cNvSpPr>
            <p:nvPr/>
          </p:nvSpPr>
          <p:spPr bwMode="auto">
            <a:xfrm>
              <a:off x="1947300" y="4153303"/>
              <a:ext cx="753595" cy="153888"/>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Daman &amp; Diu</a:t>
              </a:r>
            </a:p>
          </p:txBody>
        </p:sp>
        <p:sp>
          <p:nvSpPr>
            <p:cNvPr id="154" name="Text Box 164">
              <a:extLst>
                <a:ext uri="{FF2B5EF4-FFF2-40B4-BE49-F238E27FC236}">
                  <a16:creationId xmlns:a16="http://schemas.microsoft.com/office/drawing/2014/main" id="{40DC78E6-DC29-4CE0-ABA5-DAFA70AB506E}"/>
                </a:ext>
              </a:extLst>
            </p:cNvPr>
            <p:cNvSpPr txBox="1">
              <a:spLocks noChangeArrowheads="1"/>
            </p:cNvSpPr>
            <p:nvPr/>
          </p:nvSpPr>
          <p:spPr bwMode="auto">
            <a:xfrm>
              <a:off x="3420187" y="2650304"/>
              <a:ext cx="657616" cy="369332"/>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fontAlgn="ctr">
                <a:lnSpc>
                  <a:spcPct val="90000"/>
                </a:lnSpc>
                <a:spcBef>
                  <a:spcPct val="0"/>
                </a:spcBef>
                <a:spcAft>
                  <a:spcPct val="0"/>
                </a:spcAft>
                <a:defRPr sz="1200" b="1" i="1">
                  <a:solidFill>
                    <a:schemeClr val="tx1">
                      <a:lumMod val="85000"/>
                      <a:lumOff val="15000"/>
                    </a:schemeClr>
                  </a:solidFill>
                </a:defRPr>
              </a:lvl1pPr>
            </a:lstStyle>
            <a:p>
              <a:pPr algn="ctr">
                <a:lnSpc>
                  <a:spcPct val="100000"/>
                </a:lnSpc>
                <a:spcBef>
                  <a:spcPts val="0"/>
                </a:spcBef>
                <a:spcAft>
                  <a:spcPts val="0"/>
                </a:spcAft>
              </a:pPr>
              <a:r>
                <a:rPr lang="en-US" sz="900" dirty="0"/>
                <a:t>New Delhi</a:t>
              </a:r>
            </a:p>
          </p:txBody>
        </p:sp>
        <p:sp>
          <p:nvSpPr>
            <p:cNvPr id="155" name="Text Box 128">
              <a:extLst>
                <a:ext uri="{FF2B5EF4-FFF2-40B4-BE49-F238E27FC236}">
                  <a16:creationId xmlns:a16="http://schemas.microsoft.com/office/drawing/2014/main" id="{E3E30C4F-98B8-487E-8850-B75C0D5C62C6}"/>
                </a:ext>
              </a:extLst>
            </p:cNvPr>
            <p:cNvSpPr txBox="1">
              <a:spLocks noChangeArrowheads="1"/>
            </p:cNvSpPr>
            <p:nvPr/>
          </p:nvSpPr>
          <p:spPr bwMode="auto">
            <a:xfrm>
              <a:off x="3160415" y="2490617"/>
              <a:ext cx="432811"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Haryana</a:t>
              </a:r>
            </a:p>
          </p:txBody>
        </p:sp>
        <p:cxnSp>
          <p:nvCxnSpPr>
            <p:cNvPr id="156" name="Straight Connector 155">
              <a:extLst>
                <a:ext uri="{FF2B5EF4-FFF2-40B4-BE49-F238E27FC236}">
                  <a16:creationId xmlns:a16="http://schemas.microsoft.com/office/drawing/2014/main" id="{75B941F3-2A92-4E15-9EFB-61CE7563D054}"/>
                </a:ext>
              </a:extLst>
            </p:cNvPr>
            <p:cNvCxnSpPr>
              <a:stCxn id="152" idx="3"/>
            </p:cNvCxnSpPr>
            <p:nvPr/>
          </p:nvCxnSpPr>
          <p:spPr>
            <a:xfrm flipV="1">
              <a:off x="2700895" y="4255796"/>
              <a:ext cx="294720" cy="142637"/>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84B8CB05-503C-421D-8405-1705F2412257}"/>
                </a:ext>
              </a:extLst>
            </p:cNvPr>
            <p:cNvCxnSpPr>
              <a:stCxn id="153" idx="3"/>
            </p:cNvCxnSpPr>
            <p:nvPr/>
          </p:nvCxnSpPr>
          <p:spPr>
            <a:xfrm flipV="1">
              <a:off x="2700895" y="4224559"/>
              <a:ext cx="250239" cy="5688"/>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8" name="Text Box 153">
              <a:extLst>
                <a:ext uri="{FF2B5EF4-FFF2-40B4-BE49-F238E27FC236}">
                  <a16:creationId xmlns:a16="http://schemas.microsoft.com/office/drawing/2014/main" id="{9CAB7C81-DFFD-4AB1-9468-FAEABF14006B}"/>
                </a:ext>
              </a:extLst>
            </p:cNvPr>
            <p:cNvSpPr txBox="1">
              <a:spLocks noChangeArrowheads="1"/>
            </p:cNvSpPr>
            <p:nvPr/>
          </p:nvSpPr>
          <p:spPr bwMode="auto">
            <a:xfrm>
              <a:off x="2571751" y="2032895"/>
              <a:ext cx="640499" cy="307776"/>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Chandigarh</a:t>
              </a:r>
            </a:p>
          </p:txBody>
        </p:sp>
        <p:cxnSp>
          <p:nvCxnSpPr>
            <p:cNvPr id="160" name="Straight Connector 159">
              <a:extLst>
                <a:ext uri="{FF2B5EF4-FFF2-40B4-BE49-F238E27FC236}">
                  <a16:creationId xmlns:a16="http://schemas.microsoft.com/office/drawing/2014/main" id="{767907BE-B458-4F57-9E90-802D9D63223A}"/>
                </a:ext>
              </a:extLst>
            </p:cNvPr>
            <p:cNvCxnSpPr>
              <a:endCxn id="158" idx="3"/>
            </p:cNvCxnSpPr>
            <p:nvPr/>
          </p:nvCxnSpPr>
          <p:spPr>
            <a:xfrm flipH="1" flipV="1">
              <a:off x="3212249" y="2186783"/>
              <a:ext cx="427815" cy="169792"/>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93F0A808-E591-4994-97B8-29E52D8BB72F}"/>
                </a:ext>
              </a:extLst>
            </p:cNvPr>
            <p:cNvCxnSpPr>
              <a:endCxn id="151" idx="1"/>
            </p:cNvCxnSpPr>
            <p:nvPr/>
          </p:nvCxnSpPr>
          <p:spPr>
            <a:xfrm>
              <a:off x="4116517" y="5756115"/>
              <a:ext cx="161493" cy="157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2" name="Text Box 137">
              <a:extLst>
                <a:ext uri="{FF2B5EF4-FFF2-40B4-BE49-F238E27FC236}">
                  <a16:creationId xmlns:a16="http://schemas.microsoft.com/office/drawing/2014/main" id="{4643E379-539B-4F4D-BCB1-28845D2C355E}"/>
                </a:ext>
              </a:extLst>
            </p:cNvPr>
            <p:cNvSpPr txBox="1">
              <a:spLocks noChangeArrowheads="1"/>
            </p:cNvSpPr>
            <p:nvPr/>
          </p:nvSpPr>
          <p:spPr bwMode="auto">
            <a:xfrm>
              <a:off x="3643629" y="4648249"/>
              <a:ext cx="830356" cy="153888"/>
            </a:xfrm>
            <a:prstGeom prst="rect">
              <a:avLst/>
            </a:prstGeom>
            <a:noFill/>
            <a:ln w="9525" algn="ctr">
              <a:noFill/>
              <a:miter lim="800000"/>
              <a:headEnd/>
              <a:tailEnd/>
            </a:ln>
            <a:effectLst/>
          </p:spPr>
          <p:txBody>
            <a:bodyPr vert="horz" wrap="square" lIns="0" tIns="0" rIns="0" bIns="0" anchor="ctr" anchorCtr="0">
              <a:spAutoFit/>
            </a:bodyPr>
            <a:lstStyle>
              <a:defPPr>
                <a:defRPr lang="en-US"/>
              </a:defPPr>
              <a:lvl1pPr algn="ctr" fontAlgn="base">
                <a:spcBef>
                  <a:spcPct val="0"/>
                </a:spcBef>
                <a:spcAft>
                  <a:spcPct val="0"/>
                </a:spcAft>
                <a:defRPr sz="1000">
                  <a:solidFill>
                    <a:schemeClr val="tx1">
                      <a:lumMod val="85000"/>
                      <a:lumOff val="15000"/>
                    </a:schemeClr>
                  </a:solidFill>
                </a:defRPr>
              </a:lvl1pPr>
            </a:lstStyle>
            <a:p>
              <a:pPr>
                <a:spcBef>
                  <a:spcPts val="0"/>
                </a:spcBef>
                <a:spcAft>
                  <a:spcPts val="0"/>
                </a:spcAft>
              </a:pPr>
              <a:r>
                <a:rPr lang="en-US" sz="750" dirty="0"/>
                <a:t>Telangana</a:t>
              </a:r>
            </a:p>
          </p:txBody>
        </p:sp>
      </p:grpSp>
      <p:graphicFrame>
        <p:nvGraphicFramePr>
          <p:cNvPr id="163" name="Table 163">
            <a:extLst>
              <a:ext uri="{FF2B5EF4-FFF2-40B4-BE49-F238E27FC236}">
                <a16:creationId xmlns:a16="http://schemas.microsoft.com/office/drawing/2014/main" id="{129AD6B4-B486-4AAE-838B-4D8A24726D98}"/>
              </a:ext>
            </a:extLst>
          </p:cNvPr>
          <p:cNvGraphicFramePr>
            <a:graphicFrameLocks noGrp="1"/>
          </p:cNvGraphicFramePr>
          <p:nvPr/>
        </p:nvGraphicFramePr>
        <p:xfrm>
          <a:off x="51503" y="2289499"/>
          <a:ext cx="1168797" cy="312420"/>
        </p:xfrm>
        <a:graphic>
          <a:graphicData uri="http://schemas.openxmlformats.org/drawingml/2006/table">
            <a:tbl>
              <a:tblPr firstRow="1" bandRow="1">
                <a:tableStyleId>{5C22544A-7EE6-4342-B048-85BDC9FD1C3A}</a:tableStyleId>
              </a:tblPr>
              <a:tblGrid>
                <a:gridCol w="217436">
                  <a:extLst>
                    <a:ext uri="{9D8B030D-6E8A-4147-A177-3AD203B41FA5}">
                      <a16:colId xmlns:a16="http://schemas.microsoft.com/office/drawing/2014/main" val="2132688496"/>
                    </a:ext>
                  </a:extLst>
                </a:gridCol>
                <a:gridCol w="951361">
                  <a:extLst>
                    <a:ext uri="{9D8B030D-6E8A-4147-A177-3AD203B41FA5}">
                      <a16:colId xmlns:a16="http://schemas.microsoft.com/office/drawing/2014/main" val="2909269995"/>
                    </a:ext>
                  </a:extLst>
                </a:gridCol>
              </a:tblGrid>
              <a:tr h="278130">
                <a:tc>
                  <a:txBody>
                    <a:bodyPr/>
                    <a:lstStyle/>
                    <a:p>
                      <a:pPr algn="ctr"/>
                      <a:endParaRPr lang="en-IN" sz="800" b="0" dirty="0">
                        <a:solidFill>
                          <a:schemeClr val="tx1"/>
                        </a:solidFill>
                      </a:endParaRPr>
                    </a:p>
                  </a:txBody>
                  <a:tcPr marL="68580" marR="68580" marT="34290" marB="34290" anchor="ctr">
                    <a:solidFill>
                      <a:schemeClr val="accent1">
                        <a:lumMod val="20000"/>
                        <a:lumOff val="80000"/>
                      </a:schemeClr>
                    </a:solidFill>
                  </a:tcPr>
                </a:tc>
                <a:tc>
                  <a:txBody>
                    <a:bodyPr/>
                    <a:lstStyle/>
                    <a:p>
                      <a:pPr algn="ctr"/>
                      <a:r>
                        <a:rPr lang="en-IN" sz="800" b="0" dirty="0">
                          <a:solidFill>
                            <a:schemeClr val="tx1"/>
                          </a:solidFill>
                        </a:rPr>
                        <a:t>LMO manufacturers</a:t>
                      </a:r>
                    </a:p>
                  </a:txBody>
                  <a:tcPr marL="68580" marR="68580" marT="34290" marB="34290" anchor="ctr">
                    <a:noFill/>
                  </a:tcPr>
                </a:tc>
                <a:extLst>
                  <a:ext uri="{0D108BD9-81ED-4DB2-BD59-A6C34878D82A}">
                    <a16:rowId xmlns:a16="http://schemas.microsoft.com/office/drawing/2014/main" val="1737406116"/>
                  </a:ext>
                </a:extLst>
              </a:tr>
            </a:tbl>
          </a:graphicData>
        </a:graphic>
      </p:graphicFrame>
    </p:spTree>
    <p:extLst>
      <p:ext uri="{BB962C8B-B14F-4D97-AF65-F5344CB8AC3E}">
        <p14:creationId xmlns:p14="http://schemas.microsoft.com/office/powerpoint/2010/main" val="152640865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0346-60D8-4A47-95AF-2115E4777B8E}"/>
              </a:ext>
            </a:extLst>
          </p:cNvPr>
          <p:cNvSpPr>
            <a:spLocks noGrp="1"/>
          </p:cNvSpPr>
          <p:nvPr>
            <p:ph type="title"/>
          </p:nvPr>
        </p:nvSpPr>
        <p:spPr>
          <a:xfrm>
            <a:off x="838200" y="961643"/>
            <a:ext cx="7943850" cy="781812"/>
          </a:xfrm>
          <a:noFill/>
        </p:spPr>
        <p:txBody>
          <a:bodyPr>
            <a:normAutofit/>
          </a:bodyPr>
          <a:lstStyle/>
          <a:p>
            <a:pPr algn="ctr"/>
            <a:r>
              <a:rPr lang="en-IN" b="1" spc="-50" dirty="0">
                <a:solidFill>
                  <a:schemeClr val="accent2">
                    <a:lumMod val="75000"/>
                  </a:schemeClr>
                </a:solidFill>
                <a:latin typeface="Calibri" panose="020F0502020204030204" pitchFamily="34" charset="0"/>
              </a:rPr>
              <a:t>LMO Manufacturers In India</a:t>
            </a:r>
          </a:p>
        </p:txBody>
      </p:sp>
      <p:sp>
        <p:nvSpPr>
          <p:cNvPr id="3" name="Content Placeholder 2">
            <a:extLst>
              <a:ext uri="{FF2B5EF4-FFF2-40B4-BE49-F238E27FC236}">
                <a16:creationId xmlns:a16="http://schemas.microsoft.com/office/drawing/2014/main" id="{6CD3E202-3FF8-43CE-B675-9F8D83A40E98}"/>
              </a:ext>
            </a:extLst>
          </p:cNvPr>
          <p:cNvSpPr>
            <a:spLocks noGrp="1"/>
          </p:cNvSpPr>
          <p:nvPr>
            <p:ph idx="1"/>
          </p:nvPr>
        </p:nvSpPr>
        <p:spPr>
          <a:xfrm>
            <a:off x="990600" y="4193165"/>
            <a:ext cx="7391400" cy="1826635"/>
          </a:xfrm>
          <a:noFill/>
          <a:ln w="19050">
            <a:solidFill>
              <a:schemeClr val="accent3"/>
            </a:solidFill>
          </a:ln>
        </p:spPr>
        <p:txBody>
          <a:bodyPr>
            <a:noAutofit/>
          </a:bodyPr>
          <a:lstStyle/>
          <a:p>
            <a:pPr algn="l" fontAlgn="base"/>
            <a:r>
              <a:rPr lang="en-GB" sz="2000" b="1" dirty="0">
                <a:solidFill>
                  <a:srgbClr val="3E3E3E"/>
                </a:solidFill>
                <a:latin typeface="Calibri" panose="020F0502020204030204" pitchFamily="34" charset="0"/>
              </a:rPr>
              <a:t> Inox Air Products</a:t>
            </a:r>
          </a:p>
          <a:p>
            <a:pPr lvl="1" fontAlgn="base"/>
            <a:r>
              <a:rPr lang="en-GB" sz="2000" dirty="0">
                <a:solidFill>
                  <a:srgbClr val="3E3E3E"/>
                </a:solidFill>
                <a:latin typeface="Calibri" panose="020F0502020204030204" pitchFamily="34" charset="0"/>
              </a:rPr>
              <a:t>Meets around 60 per cent of the country’s LMO demand, </a:t>
            </a:r>
          </a:p>
          <a:p>
            <a:pPr lvl="1" fontAlgn="base"/>
            <a:r>
              <a:rPr lang="en-GB" sz="2000" dirty="0">
                <a:solidFill>
                  <a:srgbClr val="3E3E3E"/>
                </a:solidFill>
                <a:latin typeface="Calibri" panose="020F0502020204030204" pitchFamily="34" charset="0"/>
              </a:rPr>
              <a:t>Manufacturing 2,000 MT per day, </a:t>
            </a:r>
          </a:p>
          <a:p>
            <a:pPr lvl="1" fontAlgn="base"/>
            <a:r>
              <a:rPr lang="en-GB" sz="2000" dirty="0">
                <a:solidFill>
                  <a:srgbClr val="3E3E3E"/>
                </a:solidFill>
                <a:latin typeface="Calibri" panose="020F0502020204030204" pitchFamily="34" charset="0"/>
              </a:rPr>
              <a:t>Supplying to 800 hospitals,</a:t>
            </a:r>
          </a:p>
          <a:p>
            <a:pPr lvl="1" fontAlgn="base"/>
            <a:r>
              <a:rPr lang="en-GB" sz="2000" dirty="0">
                <a:solidFill>
                  <a:srgbClr val="3E3E3E"/>
                </a:solidFill>
                <a:latin typeface="Calibri" panose="020F0502020204030204" pitchFamily="34" charset="0"/>
              </a:rPr>
              <a:t>Has 550 transport tankers and 600 drivers.</a:t>
            </a:r>
          </a:p>
        </p:txBody>
      </p:sp>
      <p:graphicFrame>
        <p:nvGraphicFramePr>
          <p:cNvPr id="4" name="Diagram 3">
            <a:extLst>
              <a:ext uri="{FF2B5EF4-FFF2-40B4-BE49-F238E27FC236}">
                <a16:creationId xmlns:a16="http://schemas.microsoft.com/office/drawing/2014/main" id="{D590A878-54CA-4167-9FD3-0E482A85FE21}"/>
              </a:ext>
            </a:extLst>
          </p:cNvPr>
          <p:cNvGraphicFramePr/>
          <p:nvPr/>
        </p:nvGraphicFramePr>
        <p:xfrm>
          <a:off x="1495424" y="1975573"/>
          <a:ext cx="6429375" cy="20630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1727904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2682D-2852-49CB-B5F8-DE6209420C9F}"/>
              </a:ext>
            </a:extLst>
          </p:cNvPr>
          <p:cNvSpPr>
            <a:spLocks noGrp="1"/>
          </p:cNvSpPr>
          <p:nvPr>
            <p:ph type="title"/>
          </p:nvPr>
        </p:nvSpPr>
        <p:spPr>
          <a:xfrm>
            <a:off x="822325" y="2743200"/>
            <a:ext cx="7543800" cy="1500187"/>
          </a:xfrm>
        </p:spPr>
        <p:txBody>
          <a:bodyPr>
            <a:normAutofit/>
          </a:bodyPr>
          <a:lstStyle/>
          <a:p>
            <a:pPr algn="ctr" eaLnBrk="1" fontAlgn="auto" hangingPunct="1">
              <a:spcAft>
                <a:spcPts val="0"/>
              </a:spcAft>
              <a:defRPr/>
            </a:pPr>
            <a:r>
              <a:rPr lang="en-US" sz="4400" b="1" spc="-50" dirty="0">
                <a:solidFill>
                  <a:schemeClr val="accent2">
                    <a:lumMod val="75000"/>
                  </a:schemeClr>
                </a:solidFill>
                <a:latin typeface="Calibri" panose="020F0502020204030204" pitchFamily="34" charset="0"/>
              </a:rPr>
              <a:t>Thank You!</a:t>
            </a:r>
          </a:p>
        </p:txBody>
      </p:sp>
      <p:sp>
        <p:nvSpPr>
          <p:cNvPr id="3" name="Text Placeholder 2">
            <a:extLst>
              <a:ext uri="{FF2B5EF4-FFF2-40B4-BE49-F238E27FC236}">
                <a16:creationId xmlns:a16="http://schemas.microsoft.com/office/drawing/2014/main" id="{3DDC4C97-4694-4FA3-A1C6-32E6107E510E}"/>
              </a:ext>
            </a:extLst>
          </p:cNvPr>
          <p:cNvSpPr>
            <a:spLocks noGrp="1"/>
          </p:cNvSpPr>
          <p:nvPr>
            <p:ph type="body" idx="1"/>
          </p:nvPr>
        </p:nvSpPr>
        <p:spPr>
          <a:xfrm>
            <a:off x="822325" y="4452938"/>
            <a:ext cx="7543800" cy="1719262"/>
          </a:xfrm>
        </p:spPr>
        <p:txBody>
          <a:bodyPr rtlCol="0">
            <a:normAutofit fontScale="25000" lnSpcReduction="20000"/>
          </a:bodyPr>
          <a:lstStyle/>
          <a:p>
            <a:pPr algn="just" eaLnBrk="1" fontAlgn="auto" hangingPunct="1">
              <a:lnSpc>
                <a:spcPct val="170000"/>
              </a:lnSpc>
              <a:defRPr/>
            </a:pPr>
            <a:r>
              <a:rPr lang="en-US" sz="4800" cap="none" dirty="0">
                <a:solidFill>
                  <a:schemeClr val="tx1"/>
                </a:solidFill>
                <a:latin typeface="Calibri" panose="020F0502020204030204" pitchFamily="34" charset="0"/>
                <a:cs typeface="Calibri" panose="020F0502020204030204" pitchFamily="34" charset="0"/>
              </a:rPr>
              <a:t>This presentation was made possible with support from the United States Agency for International Development funded RISE program, under the terms of the cooperative agreement 7200AA19CA00003. The contents are the responsibility of the RISE program and do not necessarily reflect the views of USAID or the United States Government.​</a:t>
            </a:r>
          </a:p>
          <a:p>
            <a:pPr algn="just" eaLnBrk="1" fontAlgn="auto" hangingPunct="1">
              <a:defRPr/>
            </a:pPr>
            <a:endParaRPr lang="en-US" dirty="0">
              <a:latin typeface="Calibri" panose="020F0502020204030204" pitchFamily="34" charset="0"/>
            </a:endParaRPr>
          </a:p>
        </p:txBody>
      </p:sp>
    </p:spTree>
    <p:extLst>
      <p:ext uri="{BB962C8B-B14F-4D97-AF65-F5344CB8AC3E}">
        <p14:creationId xmlns:p14="http://schemas.microsoft.com/office/powerpoint/2010/main" val="93679910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76D92-6BF8-4FA8-8021-DB872EA7C895}"/>
              </a:ext>
            </a:extLst>
          </p:cNvPr>
          <p:cNvSpPr>
            <a:spLocks noGrp="1"/>
          </p:cNvSpPr>
          <p:nvPr>
            <p:ph type="title"/>
          </p:nvPr>
        </p:nvSpPr>
        <p:spPr>
          <a:xfrm>
            <a:off x="800100" y="2057400"/>
            <a:ext cx="7543800" cy="2287588"/>
          </a:xfrm>
        </p:spPr>
        <p:txBody>
          <a:bodyPr>
            <a:normAutofit/>
          </a:bodyPr>
          <a:lstStyle/>
          <a:p>
            <a:pPr eaLnBrk="1" hangingPunct="1">
              <a:lnSpc>
                <a:spcPct val="100000"/>
              </a:lnSpc>
              <a:defRPr/>
            </a:pPr>
            <a:r>
              <a:rPr lang="en-US" sz="3600" b="1" spc="-50" dirty="0">
                <a:solidFill>
                  <a:schemeClr val="accent2">
                    <a:lumMod val="75000"/>
                  </a:schemeClr>
                </a:solidFill>
                <a:latin typeface="Calibri" panose="020F0502020204030204" pitchFamily="34" charset="0"/>
              </a:rPr>
              <a:t>Session IV: Oxygen Inventory Management And Oxygen Audits </a:t>
            </a:r>
            <a:endParaRPr lang="en-US" sz="3600" dirty="0">
              <a:solidFill>
                <a:schemeClr val="accent2">
                  <a:lumMod val="75000"/>
                </a:schemeClr>
              </a:solidFill>
              <a:latin typeface="Calibri" panose="020F0502020204030204" pitchFamily="34" charset="0"/>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529"/>
        <p:cNvGrpSpPr/>
        <p:nvPr/>
      </p:nvGrpSpPr>
      <p:grpSpPr>
        <a:xfrm>
          <a:off x="0" y="0"/>
          <a:ext cx="0" cy="0"/>
          <a:chOff x="0" y="0"/>
          <a:chExt cx="0" cy="0"/>
        </a:xfrm>
      </p:grpSpPr>
      <p:sp>
        <p:nvSpPr>
          <p:cNvPr id="530" name="Google Shape;530;p2"/>
          <p:cNvSpPr txBox="1"/>
          <p:nvPr/>
        </p:nvSpPr>
        <p:spPr>
          <a:xfrm>
            <a:off x="914400" y="1163641"/>
            <a:ext cx="4876799" cy="586992"/>
          </a:xfrm>
          <a:prstGeom prst="rect">
            <a:avLst/>
          </a:prstGeom>
          <a:noFill/>
          <a:ln>
            <a:noFill/>
          </a:ln>
        </p:spPr>
        <p:txBody>
          <a:bodyPr spcFirstLastPara="1" wrap="square" lIns="0" tIns="0" rIns="0" bIns="0" anchor="ctr" anchorCtr="0">
            <a:noAutofit/>
          </a:bodyPr>
          <a:lstStyle/>
          <a:p>
            <a:pPr>
              <a:lnSpc>
                <a:spcPct val="125000"/>
              </a:lnSpc>
              <a:spcBef>
                <a:spcPts val="0"/>
              </a:spcBef>
              <a:spcAft>
                <a:spcPts val="0"/>
              </a:spcAft>
              <a:buClr>
                <a:schemeClr val="accent1"/>
              </a:buClr>
              <a:buSzPts val="3200"/>
            </a:pPr>
            <a:r>
              <a:rPr lang="en-US" sz="3600" b="1" spc="-50" dirty="0">
                <a:solidFill>
                  <a:schemeClr val="accent2">
                    <a:lumMod val="75000"/>
                  </a:schemeClr>
                </a:solidFill>
                <a:latin typeface="Calibri" panose="020F0502020204030204" pitchFamily="34" charset="0"/>
                <a:ea typeface="+mj-ea"/>
                <a:cs typeface="+mj-cs"/>
                <a:sym typeface="Arial"/>
              </a:rPr>
              <a:t>Session Overview</a:t>
            </a:r>
          </a:p>
        </p:txBody>
      </p:sp>
      <p:sp>
        <p:nvSpPr>
          <p:cNvPr id="533" name="Google Shape;533;p2"/>
          <p:cNvSpPr txBox="1"/>
          <p:nvPr/>
        </p:nvSpPr>
        <p:spPr>
          <a:xfrm>
            <a:off x="914400" y="3342100"/>
            <a:ext cx="2996516" cy="802522"/>
          </a:xfrm>
          <a:prstGeom prst="rect">
            <a:avLst/>
          </a:prstGeom>
          <a:noFill/>
          <a:ln>
            <a:noFill/>
          </a:ln>
        </p:spPr>
        <p:txBody>
          <a:bodyPr spcFirstLastPara="1" wrap="square" lIns="0" tIns="0" rIns="0" bIns="0" anchor="t" anchorCtr="0">
            <a:noAutofit/>
          </a:bodyPr>
          <a:lstStyle/>
          <a:p>
            <a:pPr algn="just">
              <a:lnSpc>
                <a:spcPct val="110000"/>
              </a:lnSpc>
              <a:spcBef>
                <a:spcPts val="0"/>
              </a:spcBef>
              <a:spcAft>
                <a:spcPts val="0"/>
              </a:spcAft>
              <a:buClr>
                <a:schemeClr val="accent1"/>
              </a:buClr>
              <a:buSzPts val="2000"/>
            </a:pPr>
            <a:r>
              <a:rPr lang="en-US" b="1" spc="-50" dirty="0">
                <a:solidFill>
                  <a:schemeClr val="accent2"/>
                </a:solidFill>
                <a:latin typeface="Calibri" panose="020F0502020204030204" pitchFamily="34" charset="0"/>
                <a:ea typeface="+mj-ea"/>
                <a:cs typeface="+mj-cs"/>
                <a:sym typeface="Arial"/>
              </a:rPr>
              <a:t>KEY TOPICS THAT WILL BE COVERED IN THIS SESSION</a:t>
            </a:r>
          </a:p>
          <a:p>
            <a:pPr algn="just">
              <a:lnSpc>
                <a:spcPct val="110000"/>
              </a:lnSpc>
              <a:spcBef>
                <a:spcPts val="0"/>
              </a:spcBef>
              <a:spcAft>
                <a:spcPts val="0"/>
              </a:spcAft>
              <a:buClr>
                <a:schemeClr val="accent1"/>
              </a:buClr>
              <a:buSzPts val="2000"/>
            </a:pPr>
            <a:r>
              <a:rPr lang="en-US" b="1" dirty="0">
                <a:latin typeface="Calibri" panose="020F0502020204030204" pitchFamily="34" charset="0"/>
                <a:ea typeface="Arial"/>
                <a:cs typeface="Arial"/>
                <a:sym typeface="Arial"/>
              </a:rPr>
              <a:t> </a:t>
            </a:r>
          </a:p>
        </p:txBody>
      </p:sp>
      <p:sp>
        <p:nvSpPr>
          <p:cNvPr id="542" name="Google Shape;542;p2"/>
          <p:cNvSpPr txBox="1">
            <a:spLocks noGrp="1"/>
          </p:cNvSpPr>
          <p:nvPr>
            <p:ph type="sldNum" idx="12"/>
          </p:nvPr>
        </p:nvSpPr>
        <p:spPr>
          <a:xfrm>
            <a:off x="571500" y="5702738"/>
            <a:ext cx="135862" cy="123444"/>
          </a:xfrm>
          <a:prstGeom prst="rect">
            <a:avLst/>
          </a:prstGeom>
          <a:noFill/>
          <a:ln>
            <a:noFill/>
          </a:ln>
        </p:spPr>
        <p:txBody>
          <a:bodyPr spcFirstLastPara="1" vert="horz" wrap="square" lIns="0" tIns="0" rIns="0" bIns="0" numCol="1" anchor="ctr" anchorCtr="0" compatLnSpc="1">
            <a:prstTxWarp prst="textNoShape">
              <a:avLst/>
            </a:prstTxWarp>
            <a:noAutofit/>
          </a:bodyPr>
          <a:lstStyle/>
          <a:p>
            <a:fld id="{00000000-1234-1234-1234-123412341234}" type="slidenum">
              <a:rPr lang="en-US"/>
              <a:pPr/>
              <a:t>89</a:t>
            </a:fld>
            <a:endParaRPr/>
          </a:p>
        </p:txBody>
      </p:sp>
      <p:grpSp>
        <p:nvGrpSpPr>
          <p:cNvPr id="32" name="Group 31">
            <a:extLst>
              <a:ext uri="{FF2B5EF4-FFF2-40B4-BE49-F238E27FC236}">
                <a16:creationId xmlns:a16="http://schemas.microsoft.com/office/drawing/2014/main" id="{A7C7677C-4FC6-4FA2-9FED-423EBF139B05}"/>
              </a:ext>
            </a:extLst>
          </p:cNvPr>
          <p:cNvGrpSpPr/>
          <p:nvPr/>
        </p:nvGrpSpPr>
        <p:grpSpPr>
          <a:xfrm>
            <a:off x="4495800" y="1476433"/>
            <a:ext cx="4400762" cy="4505152"/>
            <a:chOff x="4743452" y="732928"/>
            <a:chExt cx="4400762" cy="4505152"/>
          </a:xfrm>
        </p:grpSpPr>
        <p:grpSp>
          <p:nvGrpSpPr>
            <p:cNvPr id="33" name="Group 32">
              <a:extLst>
                <a:ext uri="{FF2B5EF4-FFF2-40B4-BE49-F238E27FC236}">
                  <a16:creationId xmlns:a16="http://schemas.microsoft.com/office/drawing/2014/main" id="{96E6DA72-2A12-4A87-A27B-0C8E171B88A0}"/>
                </a:ext>
              </a:extLst>
            </p:cNvPr>
            <p:cNvGrpSpPr/>
            <p:nvPr/>
          </p:nvGrpSpPr>
          <p:grpSpPr>
            <a:xfrm>
              <a:off x="4743452" y="732928"/>
              <a:ext cx="4400762" cy="4505152"/>
              <a:chOff x="6324599" y="-16469"/>
              <a:chExt cx="5867683" cy="6006869"/>
            </a:xfrm>
          </p:grpSpPr>
          <p:grpSp>
            <p:nvGrpSpPr>
              <p:cNvPr id="38" name="Group 37">
                <a:extLst>
                  <a:ext uri="{FF2B5EF4-FFF2-40B4-BE49-F238E27FC236}">
                    <a16:creationId xmlns:a16="http://schemas.microsoft.com/office/drawing/2014/main" id="{043F712C-71F3-4EA9-8183-8CE0395A1287}"/>
                  </a:ext>
                </a:extLst>
              </p:cNvPr>
              <p:cNvGrpSpPr/>
              <p:nvPr/>
            </p:nvGrpSpPr>
            <p:grpSpPr>
              <a:xfrm>
                <a:off x="6324599" y="-16469"/>
                <a:ext cx="5867683" cy="6006869"/>
                <a:chOff x="6324600" y="842195"/>
                <a:chExt cx="5867683" cy="6002613"/>
              </a:xfrm>
            </p:grpSpPr>
            <p:sp>
              <p:nvSpPr>
                <p:cNvPr id="40" name="Rectangle: Rounded Corners 39">
                  <a:extLst>
                    <a:ext uri="{FF2B5EF4-FFF2-40B4-BE49-F238E27FC236}">
                      <a16:creationId xmlns:a16="http://schemas.microsoft.com/office/drawing/2014/main" id="{1F967544-5741-49BC-A130-A5F9309A35CF}"/>
                    </a:ext>
                  </a:extLst>
                </p:cNvPr>
                <p:cNvSpPr/>
                <p:nvPr/>
              </p:nvSpPr>
              <p:spPr>
                <a:xfrm>
                  <a:off x="6324601" y="5993685"/>
                  <a:ext cx="5610225" cy="851123"/>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sz="2000" u="sng" dirty="0">
                    <a:latin typeface="Calibri" panose="020F0502020204030204" pitchFamily="34" charset="0"/>
                  </a:endParaRPr>
                </a:p>
              </p:txBody>
            </p:sp>
            <p:sp>
              <p:nvSpPr>
                <p:cNvPr id="41" name="Freeform: Shape 40">
                  <a:extLst>
                    <a:ext uri="{FF2B5EF4-FFF2-40B4-BE49-F238E27FC236}">
                      <a16:creationId xmlns:a16="http://schemas.microsoft.com/office/drawing/2014/main" id="{5E0D57F0-417C-4ABC-BF10-C6E4E5666A6C}"/>
                    </a:ext>
                  </a:extLst>
                </p:cNvPr>
                <p:cNvSpPr/>
                <p:nvPr/>
              </p:nvSpPr>
              <p:spPr>
                <a:xfrm>
                  <a:off x="7307647" y="842195"/>
                  <a:ext cx="4627177" cy="851123"/>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endParaRPr lang="en-GB" sz="2000" u="sng" dirty="0">
                    <a:latin typeface="Calibri" panose="020F0502020204030204" pitchFamily="34" charset="0"/>
                  </a:endParaRPr>
                </a:p>
              </p:txBody>
            </p:sp>
            <p:sp>
              <p:nvSpPr>
                <p:cNvPr id="42" name="Rectangle: Rounded Corners 41">
                  <a:extLst>
                    <a:ext uri="{FF2B5EF4-FFF2-40B4-BE49-F238E27FC236}">
                      <a16:creationId xmlns:a16="http://schemas.microsoft.com/office/drawing/2014/main" id="{330F9B5C-2B4C-46E7-8FA7-533CC39FA851}"/>
                    </a:ext>
                  </a:extLst>
                </p:cNvPr>
                <p:cNvSpPr/>
                <p:nvPr/>
              </p:nvSpPr>
              <p:spPr>
                <a:xfrm>
                  <a:off x="6324600" y="1494911"/>
                  <a:ext cx="5610225" cy="851123"/>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sz="2000" dirty="0">
                    <a:latin typeface="Calibri" panose="020F0502020204030204" pitchFamily="34" charset="0"/>
                  </a:endParaRPr>
                </a:p>
              </p:txBody>
            </p:sp>
            <p:sp>
              <p:nvSpPr>
                <p:cNvPr id="43" name="Rectangle 42" descr="Line Arrow: Straight">
                  <a:extLst>
                    <a:ext uri="{FF2B5EF4-FFF2-40B4-BE49-F238E27FC236}">
                      <a16:creationId xmlns:a16="http://schemas.microsoft.com/office/drawing/2014/main" id="{9DE3740B-6D25-42A5-8D22-B806293EE703}"/>
                    </a:ext>
                  </a:extLst>
                </p:cNvPr>
                <p:cNvSpPr/>
                <p:nvPr/>
              </p:nvSpPr>
              <p:spPr>
                <a:xfrm>
                  <a:off x="6582064" y="1686415"/>
                  <a:ext cx="468117" cy="453395"/>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44" name="Freeform: Shape 43">
                  <a:extLst>
                    <a:ext uri="{FF2B5EF4-FFF2-40B4-BE49-F238E27FC236}">
                      <a16:creationId xmlns:a16="http://schemas.microsoft.com/office/drawing/2014/main" id="{102D00EE-0595-4E4A-A99E-34474F986830}"/>
                    </a:ext>
                  </a:extLst>
                </p:cNvPr>
                <p:cNvSpPr/>
                <p:nvPr/>
              </p:nvSpPr>
              <p:spPr>
                <a:xfrm>
                  <a:off x="7264400" y="1489360"/>
                  <a:ext cx="4670423" cy="856675"/>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r>
                    <a:rPr lang="en-US" sz="2000" u="sng" dirty="0">
                      <a:latin typeface="Calibri" panose="020F0502020204030204" pitchFamily="34" charset="0"/>
                    </a:rPr>
                    <a:t>Inventory management</a:t>
                  </a:r>
                </a:p>
              </p:txBody>
            </p:sp>
            <p:sp>
              <p:nvSpPr>
                <p:cNvPr id="45" name="Rectangle: Rounded Corners 44">
                  <a:extLst>
                    <a:ext uri="{FF2B5EF4-FFF2-40B4-BE49-F238E27FC236}">
                      <a16:creationId xmlns:a16="http://schemas.microsoft.com/office/drawing/2014/main" id="{0A274934-F457-4D76-B356-7041EE8ED571}"/>
                    </a:ext>
                  </a:extLst>
                </p:cNvPr>
                <p:cNvSpPr/>
                <p:nvPr/>
              </p:nvSpPr>
              <p:spPr>
                <a:xfrm>
                  <a:off x="6324601" y="2619732"/>
                  <a:ext cx="5610225" cy="851123"/>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6" name="Freeform: Shape 45">
                  <a:extLst>
                    <a:ext uri="{FF2B5EF4-FFF2-40B4-BE49-F238E27FC236}">
                      <a16:creationId xmlns:a16="http://schemas.microsoft.com/office/drawing/2014/main" id="{6D3423FF-B3A4-4003-B3BD-14DD03F26C32}"/>
                    </a:ext>
                  </a:extLst>
                </p:cNvPr>
                <p:cNvSpPr/>
                <p:nvPr/>
              </p:nvSpPr>
              <p:spPr>
                <a:xfrm>
                  <a:off x="7353299" y="2542712"/>
                  <a:ext cx="4581525" cy="928143"/>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r>
                    <a:rPr lang="en-US" sz="2000" u="sng" dirty="0">
                      <a:latin typeface="Calibri" panose="020F0502020204030204" pitchFamily="34" charset="0"/>
                    </a:rPr>
                    <a:t>Unit conversion</a:t>
                  </a:r>
                </a:p>
              </p:txBody>
            </p:sp>
            <p:sp>
              <p:nvSpPr>
                <p:cNvPr id="47" name="Rectangle: Rounded Corners 46">
                  <a:extLst>
                    <a:ext uri="{FF2B5EF4-FFF2-40B4-BE49-F238E27FC236}">
                      <a16:creationId xmlns:a16="http://schemas.microsoft.com/office/drawing/2014/main" id="{7747F5F0-8371-4FCF-9FEB-F1D82AE66F76}"/>
                    </a:ext>
                  </a:extLst>
                </p:cNvPr>
                <p:cNvSpPr/>
                <p:nvPr/>
              </p:nvSpPr>
              <p:spPr>
                <a:xfrm>
                  <a:off x="6324600" y="3744553"/>
                  <a:ext cx="5610225" cy="851123"/>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8" name="Freeform: Shape 47">
                  <a:extLst>
                    <a:ext uri="{FF2B5EF4-FFF2-40B4-BE49-F238E27FC236}">
                      <a16:creationId xmlns:a16="http://schemas.microsoft.com/office/drawing/2014/main" id="{4F576689-62FB-4E93-B063-D5AED5085FBA}"/>
                    </a:ext>
                  </a:extLst>
                </p:cNvPr>
                <p:cNvSpPr/>
                <p:nvPr/>
              </p:nvSpPr>
              <p:spPr>
                <a:xfrm>
                  <a:off x="7307647" y="3744553"/>
                  <a:ext cx="4627177" cy="851123"/>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r>
                    <a:rPr lang="en-US" sz="2000" u="sng" dirty="0">
                      <a:latin typeface="Calibri" panose="020F0502020204030204" pitchFamily="34" charset="0"/>
                    </a:rPr>
                    <a:t>Calculation of demand and supply</a:t>
                  </a:r>
                </a:p>
              </p:txBody>
            </p:sp>
            <p:sp>
              <p:nvSpPr>
                <p:cNvPr id="49" name="Rectangle: Rounded Corners 48">
                  <a:extLst>
                    <a:ext uri="{FF2B5EF4-FFF2-40B4-BE49-F238E27FC236}">
                      <a16:creationId xmlns:a16="http://schemas.microsoft.com/office/drawing/2014/main" id="{DCD758D0-5872-4801-84F4-A2512101FA54}"/>
                    </a:ext>
                  </a:extLst>
                </p:cNvPr>
                <p:cNvSpPr/>
                <p:nvPr/>
              </p:nvSpPr>
              <p:spPr>
                <a:xfrm>
                  <a:off x="6324601" y="4871008"/>
                  <a:ext cx="5610225" cy="851123"/>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0" name="Freeform: Shape 49">
                  <a:extLst>
                    <a:ext uri="{FF2B5EF4-FFF2-40B4-BE49-F238E27FC236}">
                      <a16:creationId xmlns:a16="http://schemas.microsoft.com/office/drawing/2014/main" id="{21EBB46E-F763-4322-96B3-B50E73365A51}"/>
                    </a:ext>
                  </a:extLst>
                </p:cNvPr>
                <p:cNvSpPr/>
                <p:nvPr/>
              </p:nvSpPr>
              <p:spPr>
                <a:xfrm>
                  <a:off x="7307648" y="4871008"/>
                  <a:ext cx="4884635" cy="851123"/>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r>
                    <a:rPr lang="en-US" sz="2000" u="sng" dirty="0">
                      <a:latin typeface="Calibri" panose="020F0502020204030204" pitchFamily="34" charset="0"/>
                    </a:rPr>
                    <a:t>Oxygen audit and rational use of oxygen</a:t>
                  </a:r>
                </a:p>
              </p:txBody>
            </p:sp>
          </p:grpSp>
          <p:sp>
            <p:nvSpPr>
              <p:cNvPr id="39" name="Freeform: Shape 38">
                <a:extLst>
                  <a:ext uri="{FF2B5EF4-FFF2-40B4-BE49-F238E27FC236}">
                    <a16:creationId xmlns:a16="http://schemas.microsoft.com/office/drawing/2014/main" id="{3A981766-64ED-4B7F-B822-4A0056D3E2A5}"/>
                  </a:ext>
                </a:extLst>
              </p:cNvPr>
              <p:cNvSpPr/>
              <p:nvPr/>
            </p:nvSpPr>
            <p:spPr>
              <a:xfrm>
                <a:off x="7307649" y="5138674"/>
                <a:ext cx="4627177" cy="851726"/>
              </a:xfrm>
              <a:custGeom>
                <a:avLst/>
                <a:gdLst>
                  <a:gd name="connsiteX0" fmla="*/ 0 w 4627177"/>
                  <a:gd name="connsiteY0" fmla="*/ 0 h 851123"/>
                  <a:gd name="connsiteX1" fmla="*/ 4627177 w 4627177"/>
                  <a:gd name="connsiteY1" fmla="*/ 0 h 851123"/>
                  <a:gd name="connsiteX2" fmla="*/ 4627177 w 4627177"/>
                  <a:gd name="connsiteY2" fmla="*/ 851123 h 851123"/>
                  <a:gd name="connsiteX3" fmla="*/ 0 w 4627177"/>
                  <a:gd name="connsiteY3" fmla="*/ 851123 h 851123"/>
                  <a:gd name="connsiteX4" fmla="*/ 0 w 4627177"/>
                  <a:gd name="connsiteY4" fmla="*/ 0 h 85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7177" h="851123">
                    <a:moveTo>
                      <a:pt x="0" y="0"/>
                    </a:moveTo>
                    <a:lnTo>
                      <a:pt x="4627177" y="0"/>
                    </a:lnTo>
                    <a:lnTo>
                      <a:pt x="4627177" y="851123"/>
                    </a:lnTo>
                    <a:lnTo>
                      <a:pt x="0" y="85112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7558" tIns="67558" rIns="67558" bIns="67558" numCol="1" spcCol="1270" anchor="ctr" anchorCtr="0">
                <a:noAutofit/>
              </a:bodyPr>
              <a:lstStyle/>
              <a:p>
                <a:pPr defTabSz="633413">
                  <a:lnSpc>
                    <a:spcPct val="90000"/>
                  </a:lnSpc>
                  <a:spcAft>
                    <a:spcPct val="35000"/>
                  </a:spcAft>
                </a:pPr>
                <a:r>
                  <a:rPr lang="en-US" sz="2000" u="sng" dirty="0">
                    <a:latin typeface="Calibri" panose="020F0502020204030204" pitchFamily="34" charset="0"/>
                  </a:rPr>
                  <a:t>Oxygen monitoring platforms-ODAS, OCMIS</a:t>
                </a:r>
              </a:p>
            </p:txBody>
          </p:sp>
        </p:grpSp>
        <p:sp>
          <p:nvSpPr>
            <p:cNvPr id="34" name="Rectangle 33" descr="Line Arrow: Straight">
              <a:extLst>
                <a:ext uri="{FF2B5EF4-FFF2-40B4-BE49-F238E27FC236}">
                  <a16:creationId xmlns:a16="http://schemas.microsoft.com/office/drawing/2014/main" id="{DAE88C3C-7622-4B74-8746-2F40F8C36D29}"/>
                </a:ext>
              </a:extLst>
            </p:cNvPr>
            <p:cNvSpPr/>
            <p:nvPr/>
          </p:nvSpPr>
          <p:spPr>
            <a:xfrm>
              <a:off x="4936548" y="3060830"/>
              <a:ext cx="351088" cy="340287"/>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5" name="Rectangle 34" descr="Line Arrow: Straight">
              <a:extLst>
                <a:ext uri="{FF2B5EF4-FFF2-40B4-BE49-F238E27FC236}">
                  <a16:creationId xmlns:a16="http://schemas.microsoft.com/office/drawing/2014/main" id="{4D49DEF8-6506-4B0D-85BE-23F8B09E79E9}"/>
                </a:ext>
              </a:extLst>
            </p:cNvPr>
            <p:cNvSpPr/>
            <p:nvPr/>
          </p:nvSpPr>
          <p:spPr>
            <a:xfrm>
              <a:off x="4936546" y="4749067"/>
              <a:ext cx="351088" cy="340287"/>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6" name="Rectangle 35" descr="Line Arrow: Straight">
              <a:extLst>
                <a:ext uri="{FF2B5EF4-FFF2-40B4-BE49-F238E27FC236}">
                  <a16:creationId xmlns:a16="http://schemas.microsoft.com/office/drawing/2014/main" id="{2030302A-7D07-4D4E-918E-A50F35DB8EBC}"/>
                </a:ext>
              </a:extLst>
            </p:cNvPr>
            <p:cNvSpPr/>
            <p:nvPr/>
          </p:nvSpPr>
          <p:spPr>
            <a:xfrm>
              <a:off x="4936545" y="2214149"/>
              <a:ext cx="351088" cy="340287"/>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37" name="Rectangle 36" descr="Line Arrow: Straight">
              <a:extLst>
                <a:ext uri="{FF2B5EF4-FFF2-40B4-BE49-F238E27FC236}">
                  <a16:creationId xmlns:a16="http://schemas.microsoft.com/office/drawing/2014/main" id="{461D36A7-C5F7-4367-92D8-C35FAD6D659D}"/>
                </a:ext>
              </a:extLst>
            </p:cNvPr>
            <p:cNvSpPr/>
            <p:nvPr/>
          </p:nvSpPr>
          <p:spPr>
            <a:xfrm>
              <a:off x="4936546" y="3905933"/>
              <a:ext cx="351088" cy="340287"/>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Tree>
    <p:extLst>
      <p:ext uri="{BB962C8B-B14F-4D97-AF65-F5344CB8AC3E}">
        <p14:creationId xmlns:p14="http://schemas.microsoft.com/office/powerpoint/2010/main" val="3030670803"/>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CC7938-F9C2-4286-87C3-BD76401EC81C}"/>
              </a:ext>
            </a:extLst>
          </p:cNvPr>
          <p:cNvSpPr>
            <a:spLocks noGrp="1"/>
          </p:cNvSpPr>
          <p:nvPr>
            <p:ph idx="1"/>
          </p:nvPr>
        </p:nvSpPr>
        <p:spPr>
          <a:xfrm>
            <a:off x="228601" y="2438400"/>
            <a:ext cx="2667000" cy="1981200"/>
          </a:xfrm>
        </p:spPr>
        <p:txBody>
          <a:bodyPr rtlCol="0" anchor="ctr">
            <a:noAutofit/>
          </a:bodyPr>
          <a:lstStyle/>
          <a:p>
            <a:pPr marL="0" indent="0" algn="ctr" eaLnBrk="1" fontAlgn="auto" hangingPunct="1">
              <a:lnSpc>
                <a:spcPct val="110000"/>
              </a:lnSpc>
              <a:spcBef>
                <a:spcPts val="0"/>
              </a:spcBef>
              <a:spcAft>
                <a:spcPts val="0"/>
              </a:spcAft>
              <a:buFont typeface="Calibri" panose="020F0502020204030204" pitchFamily="34" charset="0"/>
              <a:buNone/>
              <a:defRPr/>
            </a:pPr>
            <a:r>
              <a:rPr lang="en-US" sz="3600" b="1" spc="-50" dirty="0">
                <a:solidFill>
                  <a:schemeClr val="bg1"/>
                </a:solidFill>
              </a:rPr>
              <a:t>Medical Oxygen</a:t>
            </a:r>
            <a:endParaRPr lang="en-US" sz="3600" dirty="0">
              <a:solidFill>
                <a:schemeClr val="bg1"/>
              </a:solidFill>
            </a:endParaRPr>
          </a:p>
        </p:txBody>
      </p:sp>
      <p:sp>
        <p:nvSpPr>
          <p:cNvPr id="4" name="Google Shape;571;ge9eb37db0a_0_1">
            <a:extLst>
              <a:ext uri="{FF2B5EF4-FFF2-40B4-BE49-F238E27FC236}">
                <a16:creationId xmlns:a16="http://schemas.microsoft.com/office/drawing/2014/main" id="{3714505A-5EEC-47EE-8F6D-D482D2650933}"/>
              </a:ext>
            </a:extLst>
          </p:cNvPr>
          <p:cNvSpPr txBox="1"/>
          <p:nvPr/>
        </p:nvSpPr>
        <p:spPr>
          <a:xfrm>
            <a:off x="3124200" y="198900"/>
            <a:ext cx="6019800" cy="3877962"/>
          </a:xfrm>
          <a:prstGeom prst="rect">
            <a:avLst/>
          </a:prstGeom>
          <a:noFill/>
          <a:ln>
            <a:noFill/>
          </a:ln>
        </p:spPr>
        <p:txBody>
          <a:bodyPr spcFirstLastPara="1" wrap="square" lIns="68569" tIns="68569" rIns="68569" bIns="68569" anchor="t" anchorCtr="0">
            <a:spAutoFit/>
          </a:bodyPr>
          <a:lstStyle/>
          <a:p>
            <a:pPr marL="381000" indent="-285750">
              <a:lnSpc>
                <a:spcPct val="150000"/>
              </a:lnSpc>
              <a:buClr>
                <a:schemeClr val="accent2"/>
              </a:buClr>
              <a:buSzPts val="1600"/>
              <a:buFont typeface="Arial" panose="020B0604020202020204" pitchFamily="34" charset="0"/>
              <a:buChar char="•"/>
            </a:pPr>
            <a:r>
              <a:rPr lang="en-GB" b="0" i="0" dirty="0">
                <a:solidFill>
                  <a:schemeClr val="accent2"/>
                </a:solidFill>
                <a:effectLst/>
                <a:latin typeface="+mn-lt"/>
                <a:cs typeface="Calibri" panose="020F0502020204030204" pitchFamily="34" charset="0"/>
              </a:rPr>
              <a:t>Usually accomplished by a large storage system of </a:t>
            </a:r>
            <a:r>
              <a:rPr lang="en-GB" b="1" i="0" dirty="0">
                <a:solidFill>
                  <a:schemeClr val="accent2"/>
                </a:solidFill>
                <a:effectLst/>
                <a:latin typeface="+mn-lt"/>
                <a:cs typeface="Calibri" panose="020F0502020204030204" pitchFamily="34" charset="0"/>
              </a:rPr>
              <a:t>liquid oxygen </a:t>
            </a:r>
            <a:r>
              <a:rPr lang="en-GB" b="0" i="0" dirty="0">
                <a:solidFill>
                  <a:schemeClr val="accent2"/>
                </a:solidFill>
                <a:effectLst/>
                <a:latin typeface="+mn-lt"/>
                <a:cs typeface="Calibri" panose="020F0502020204030204" pitchFamily="34" charset="0"/>
              </a:rPr>
              <a:t>at the hospital which is evaporated into a concentrated oxygen supply, pressures are usually around </a:t>
            </a:r>
            <a:r>
              <a:rPr lang="en-GB" b="1" i="0" dirty="0">
                <a:solidFill>
                  <a:schemeClr val="accent2"/>
                </a:solidFill>
                <a:effectLst/>
                <a:latin typeface="+mn-lt"/>
                <a:cs typeface="Calibri" panose="020F0502020204030204" pitchFamily="34" charset="0"/>
              </a:rPr>
              <a:t>345–380 kPa (50.0–55.1 psi) </a:t>
            </a:r>
          </a:p>
          <a:p>
            <a:pPr marL="381000" indent="-285750">
              <a:lnSpc>
                <a:spcPct val="150000"/>
              </a:lnSpc>
              <a:spcBef>
                <a:spcPts val="0"/>
              </a:spcBef>
              <a:spcAft>
                <a:spcPts val="0"/>
              </a:spcAft>
              <a:buClr>
                <a:schemeClr val="accent2"/>
              </a:buClr>
              <a:buSzPts val="1600"/>
              <a:buFont typeface="Arial" panose="020B0604020202020204" pitchFamily="34" charset="0"/>
              <a:buChar char="•"/>
            </a:pPr>
            <a:r>
              <a:rPr lang="en-GB" b="0" i="0" dirty="0">
                <a:solidFill>
                  <a:schemeClr val="accent2"/>
                </a:solidFill>
                <a:effectLst/>
                <a:latin typeface="+mn-lt"/>
                <a:cs typeface="Calibri" panose="020F0502020204030204" pitchFamily="34" charset="0"/>
              </a:rPr>
              <a:t>The </a:t>
            </a:r>
            <a:r>
              <a:rPr lang="en-GB" b="1" i="0" dirty="0">
                <a:solidFill>
                  <a:schemeClr val="accent2"/>
                </a:solidFill>
                <a:effectLst/>
                <a:latin typeface="+mn-lt"/>
                <a:cs typeface="Calibri" panose="020F0502020204030204" pitchFamily="34" charset="0"/>
              </a:rPr>
              <a:t>gaseous oxygen </a:t>
            </a:r>
            <a:r>
              <a:rPr lang="en-GB" b="0" i="0" dirty="0">
                <a:solidFill>
                  <a:schemeClr val="accent2"/>
                </a:solidFill>
                <a:effectLst/>
                <a:latin typeface="+mn-lt"/>
                <a:cs typeface="Calibri" panose="020F0502020204030204" pitchFamily="34" charset="0"/>
              </a:rPr>
              <a:t>is stored in the cylinders at</a:t>
            </a:r>
            <a:r>
              <a:rPr lang="en-GB" b="1" i="0" dirty="0">
                <a:solidFill>
                  <a:schemeClr val="accent2"/>
                </a:solidFill>
                <a:effectLst/>
                <a:latin typeface="+mn-lt"/>
                <a:cs typeface="Calibri" panose="020F0502020204030204" pitchFamily="34" charset="0"/>
              </a:rPr>
              <a:t> 2000 psi </a:t>
            </a:r>
            <a:r>
              <a:rPr lang="en-GB" b="0" i="0" dirty="0">
                <a:solidFill>
                  <a:schemeClr val="accent2"/>
                </a:solidFill>
                <a:effectLst/>
                <a:latin typeface="+mn-lt"/>
                <a:cs typeface="Calibri" panose="020F0502020204030204" pitchFamily="34" charset="0"/>
              </a:rPr>
              <a:t>with a pressure regulator that allows </a:t>
            </a:r>
            <a:r>
              <a:rPr lang="en-GB" b="1" i="0" dirty="0">
                <a:solidFill>
                  <a:schemeClr val="accent2"/>
                </a:solidFill>
                <a:effectLst/>
                <a:latin typeface="+mn-lt"/>
                <a:cs typeface="Calibri" panose="020F0502020204030204" pitchFamily="34" charset="0"/>
              </a:rPr>
              <a:t>50 psi to the patient.</a:t>
            </a:r>
          </a:p>
          <a:p>
            <a:pPr marL="381000" indent="-285750">
              <a:lnSpc>
                <a:spcPct val="150000"/>
              </a:lnSpc>
              <a:spcBef>
                <a:spcPts val="0"/>
              </a:spcBef>
              <a:spcAft>
                <a:spcPts val="0"/>
              </a:spcAft>
              <a:buClr>
                <a:schemeClr val="accent2"/>
              </a:buClr>
              <a:buSzPts val="1600"/>
              <a:buFont typeface="Arial" panose="020B0604020202020204" pitchFamily="34" charset="0"/>
              <a:buChar char="•"/>
            </a:pPr>
            <a:r>
              <a:rPr lang="en-GB" b="0" i="0" dirty="0">
                <a:solidFill>
                  <a:schemeClr val="accent2"/>
                </a:solidFill>
                <a:effectLst/>
                <a:latin typeface="+mn-lt"/>
                <a:cs typeface="Calibri" panose="020F0502020204030204" pitchFamily="34" charset="0"/>
              </a:rPr>
              <a:t> The temperature of liquefaction in the case of oxygen is –</a:t>
            </a:r>
            <a:r>
              <a:rPr lang="en-GB" b="1" i="0" dirty="0">
                <a:solidFill>
                  <a:schemeClr val="accent2"/>
                </a:solidFill>
                <a:effectLst/>
                <a:latin typeface="+mn-lt"/>
                <a:cs typeface="Calibri" panose="020F0502020204030204" pitchFamily="34" charset="0"/>
              </a:rPr>
              <a:t> 180°C at a pressure of </a:t>
            </a:r>
            <a:r>
              <a:rPr lang="en-IN" b="1" i="0" dirty="0">
                <a:solidFill>
                  <a:schemeClr val="accent2"/>
                </a:solidFill>
                <a:effectLst/>
                <a:latin typeface="+mn-lt"/>
                <a:cs typeface="Calibri" panose="020F0502020204030204" pitchFamily="34" charset="0"/>
              </a:rPr>
              <a:t> 49.2 atmospheres.</a:t>
            </a:r>
          </a:p>
        </p:txBody>
      </p:sp>
      <p:pic>
        <p:nvPicPr>
          <p:cNvPr id="6" name="Picture 5">
            <a:extLst>
              <a:ext uri="{FF2B5EF4-FFF2-40B4-BE49-F238E27FC236}">
                <a16:creationId xmlns:a16="http://schemas.microsoft.com/office/drawing/2014/main" id="{1A15096C-2E30-42E5-8509-79FABCC40A95}"/>
              </a:ext>
            </a:extLst>
          </p:cNvPr>
          <p:cNvPicPr>
            <a:picLocks noChangeAspect="1"/>
          </p:cNvPicPr>
          <p:nvPr/>
        </p:nvPicPr>
        <p:blipFill>
          <a:blip r:embed="rId3"/>
          <a:stretch>
            <a:fillRect/>
          </a:stretch>
        </p:blipFill>
        <p:spPr>
          <a:xfrm>
            <a:off x="5727000" y="4267200"/>
            <a:ext cx="3417000" cy="2391900"/>
          </a:xfrm>
          <a:prstGeom prst="rect">
            <a:avLst/>
          </a:prstGeom>
        </p:spPr>
      </p:pic>
      <p:pic>
        <p:nvPicPr>
          <p:cNvPr id="8" name="Picture 7">
            <a:extLst>
              <a:ext uri="{FF2B5EF4-FFF2-40B4-BE49-F238E27FC236}">
                <a16:creationId xmlns:a16="http://schemas.microsoft.com/office/drawing/2014/main" id="{886EF42D-7E21-4F2E-AA71-228FFC23A05A}"/>
              </a:ext>
            </a:extLst>
          </p:cNvPr>
          <p:cNvPicPr>
            <a:picLocks noChangeAspect="1"/>
          </p:cNvPicPr>
          <p:nvPr/>
        </p:nvPicPr>
        <p:blipFill>
          <a:blip r:embed="rId4"/>
          <a:stretch>
            <a:fillRect/>
          </a:stretch>
        </p:blipFill>
        <p:spPr>
          <a:xfrm>
            <a:off x="3276600" y="4138904"/>
            <a:ext cx="2362200" cy="2520196"/>
          </a:xfrm>
          <a:prstGeom prst="rect">
            <a:avLst/>
          </a:prstGeom>
        </p:spPr>
      </p:pic>
    </p:spTree>
    <p:extLst>
      <p:ext uri="{BB962C8B-B14F-4D97-AF65-F5344CB8AC3E}">
        <p14:creationId xmlns:p14="http://schemas.microsoft.com/office/powerpoint/2010/main" val="348608785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1739AE-5DB1-1241-90BF-50072E470643}"/>
              </a:ext>
            </a:extLst>
          </p:cNvPr>
          <p:cNvSpPr>
            <a:spLocks noGrp="1"/>
          </p:cNvSpPr>
          <p:nvPr>
            <p:ph type="body" sz="quarter" idx="13"/>
          </p:nvPr>
        </p:nvSpPr>
        <p:spPr>
          <a:xfrm>
            <a:off x="935420" y="1905000"/>
            <a:ext cx="7598979" cy="4038600"/>
          </a:xfrm>
        </p:spPr>
        <p:txBody>
          <a:bodyPr/>
          <a:lstStyle/>
          <a:p>
            <a:pPr>
              <a:lnSpc>
                <a:spcPct val="150000"/>
              </a:lnSpc>
              <a:spcAft>
                <a:spcPts val="450"/>
              </a:spcAft>
              <a:buClr>
                <a:schemeClr val="accent1"/>
              </a:buClr>
            </a:pPr>
            <a:r>
              <a:rPr lang="en-US" sz="2000" b="1" u="sng" dirty="0">
                <a:solidFill>
                  <a:schemeClr val="tx2"/>
                </a:solidFill>
                <a:latin typeface="Calibri" panose="020F0502020204030204" pitchFamily="34" charset="0"/>
              </a:rPr>
              <a:t>Oxygen Calculation</a:t>
            </a:r>
          </a:p>
          <a:p>
            <a:pPr marL="214313" indent="-214313">
              <a:lnSpc>
                <a:spcPct val="150000"/>
              </a:lnSpc>
              <a:spcAft>
                <a:spcPts val="450"/>
              </a:spcAft>
              <a:buClr>
                <a:schemeClr val="accent1"/>
              </a:buClr>
              <a:buFont typeface="Arial" panose="020B0604020202020204" pitchFamily="34" charset="0"/>
              <a:buChar char="•"/>
            </a:pPr>
            <a:r>
              <a:rPr lang="en-US" sz="2000" dirty="0">
                <a:latin typeface="Calibri" panose="020F0502020204030204" pitchFamily="34" charset="0"/>
              </a:rPr>
              <a:t>To understand capacity of oxygen available in the facility</a:t>
            </a:r>
          </a:p>
          <a:p>
            <a:pPr marL="214313" indent="-214313">
              <a:lnSpc>
                <a:spcPct val="150000"/>
              </a:lnSpc>
              <a:spcAft>
                <a:spcPts val="450"/>
              </a:spcAft>
              <a:buClr>
                <a:schemeClr val="accent1"/>
              </a:buClr>
              <a:buFont typeface="Arial" panose="020B0604020202020204" pitchFamily="34" charset="0"/>
              <a:buChar char="•"/>
            </a:pPr>
            <a:r>
              <a:rPr lang="en-US" sz="2000" dirty="0">
                <a:latin typeface="Calibri" panose="020F0502020204030204" pitchFamily="34" charset="0"/>
              </a:rPr>
              <a:t>To understand total litre per minute requirement in given circumstances </a:t>
            </a:r>
          </a:p>
          <a:p>
            <a:pPr marL="214313" indent="-214313">
              <a:lnSpc>
                <a:spcPct val="150000"/>
              </a:lnSpc>
              <a:spcAft>
                <a:spcPts val="450"/>
              </a:spcAft>
              <a:buClr>
                <a:schemeClr val="accent1"/>
              </a:buClr>
              <a:buFont typeface="Arial" panose="020B0604020202020204" pitchFamily="34" charset="0"/>
              <a:buChar char="•"/>
            </a:pPr>
            <a:r>
              <a:rPr lang="en-US" sz="2000" dirty="0">
                <a:latin typeface="Calibri" panose="020F0502020204030204" pitchFamily="34" charset="0"/>
              </a:rPr>
              <a:t>Helps understand complex conversion from Metric Ton to Kilo </a:t>
            </a:r>
            <a:r>
              <a:rPr lang="en-US" sz="2000" dirty="0" err="1">
                <a:latin typeface="Calibri" panose="020F0502020204030204" pitchFamily="34" charset="0"/>
              </a:rPr>
              <a:t>Litres</a:t>
            </a:r>
            <a:r>
              <a:rPr lang="en-US" sz="2000" dirty="0">
                <a:latin typeface="Calibri" panose="020F0502020204030204" pitchFamily="34" charset="0"/>
              </a:rPr>
              <a:t>, Kilo </a:t>
            </a:r>
            <a:r>
              <a:rPr lang="en-US" sz="2000" dirty="0" err="1">
                <a:latin typeface="Calibri" panose="020F0502020204030204" pitchFamily="34" charset="0"/>
              </a:rPr>
              <a:t>Litres</a:t>
            </a:r>
            <a:r>
              <a:rPr lang="en-US" sz="2000" dirty="0">
                <a:latin typeface="Calibri" panose="020F0502020204030204" pitchFamily="34" charset="0"/>
              </a:rPr>
              <a:t> of liquid oxygen to gaseous state of oxygen.</a:t>
            </a:r>
          </a:p>
          <a:p>
            <a:pPr marL="214313" indent="-214313">
              <a:lnSpc>
                <a:spcPct val="150000"/>
              </a:lnSpc>
              <a:spcAft>
                <a:spcPts val="450"/>
              </a:spcAft>
              <a:buClr>
                <a:schemeClr val="accent1"/>
              </a:buClr>
              <a:buFont typeface="Arial" panose="020B0604020202020204" pitchFamily="34" charset="0"/>
              <a:buChar char="•"/>
            </a:pPr>
            <a:r>
              <a:rPr lang="en-US" sz="2000" dirty="0">
                <a:latin typeface="Calibri" panose="020F0502020204030204" pitchFamily="34" charset="0"/>
              </a:rPr>
              <a:t>Factors amount of oxygen required through in LMO Tanks. </a:t>
            </a:r>
          </a:p>
          <a:p>
            <a:pPr marL="214313" indent="-214313">
              <a:lnSpc>
                <a:spcPct val="150000"/>
              </a:lnSpc>
              <a:spcAft>
                <a:spcPts val="450"/>
              </a:spcAft>
              <a:buClr>
                <a:schemeClr val="accent1"/>
              </a:buClr>
              <a:buFont typeface="Arial" panose="020B0604020202020204" pitchFamily="34" charset="0"/>
              <a:buChar char="•"/>
            </a:pPr>
            <a:r>
              <a:rPr lang="en-US" sz="2000" dirty="0">
                <a:latin typeface="Calibri" panose="020F0502020204030204" pitchFamily="34" charset="0"/>
              </a:rPr>
              <a:t>Factors amount of residual oxygen in jumbo cylinders.</a:t>
            </a:r>
            <a:endParaRPr lang="en-IN" sz="2000" dirty="0">
              <a:latin typeface="Calibri" panose="020F0502020204030204" pitchFamily="34" charset="0"/>
            </a:endParaRPr>
          </a:p>
          <a:p>
            <a:endParaRPr lang="en-US" sz="2000" dirty="0"/>
          </a:p>
        </p:txBody>
      </p:sp>
      <p:sp>
        <p:nvSpPr>
          <p:cNvPr id="3" name="Text Placeholder 2">
            <a:extLst>
              <a:ext uri="{FF2B5EF4-FFF2-40B4-BE49-F238E27FC236}">
                <a16:creationId xmlns:a16="http://schemas.microsoft.com/office/drawing/2014/main" id="{5B5B6581-5095-6549-9565-F21E1EF3B530}"/>
              </a:ext>
            </a:extLst>
          </p:cNvPr>
          <p:cNvSpPr>
            <a:spLocks noGrp="1"/>
          </p:cNvSpPr>
          <p:nvPr>
            <p:ph type="body" sz="quarter" idx="14"/>
          </p:nvPr>
        </p:nvSpPr>
        <p:spPr>
          <a:xfrm>
            <a:off x="914400" y="609600"/>
            <a:ext cx="7467600" cy="1095876"/>
          </a:xfrm>
        </p:spPr>
        <p:txBody>
          <a:bodyPr anchor="b">
            <a:normAutofit/>
          </a:bodyPr>
          <a:lstStyle/>
          <a:p>
            <a:pPr algn="ctr"/>
            <a:r>
              <a:rPr lang="en-IN" sz="3200" b="1" spc="-50" dirty="0">
                <a:solidFill>
                  <a:schemeClr val="accent2">
                    <a:lumMod val="75000"/>
                  </a:schemeClr>
                </a:solidFill>
                <a:latin typeface="Calibri" panose="020F0502020204030204" pitchFamily="34" charset="0"/>
                <a:ea typeface="+mj-ea"/>
                <a:cs typeface="+mj-cs"/>
              </a:rPr>
              <a:t>Inventory Management</a:t>
            </a:r>
            <a:endParaRPr lang="en-US" sz="3200" b="1" spc="-50" dirty="0">
              <a:solidFill>
                <a:schemeClr val="accent2">
                  <a:lumMod val="75000"/>
                </a:schemeClr>
              </a:solidFill>
              <a:latin typeface="Calibri" panose="020F0502020204030204" pitchFamily="34" charset="0"/>
              <a:ea typeface="+mj-ea"/>
              <a:cs typeface="+mj-cs"/>
            </a:endParaRPr>
          </a:p>
        </p:txBody>
      </p:sp>
    </p:spTree>
    <p:extLst>
      <p:ext uri="{BB962C8B-B14F-4D97-AF65-F5344CB8AC3E}">
        <p14:creationId xmlns:p14="http://schemas.microsoft.com/office/powerpoint/2010/main" val="764417530"/>
      </p:ext>
    </p:extLst>
  </p:cSld>
  <p:clrMapOvr>
    <a:masterClrMapping/>
  </p:clrMapOvr>
  <p:transition spd="med">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1739AE-5DB1-1241-90BF-50072E470643}"/>
              </a:ext>
            </a:extLst>
          </p:cNvPr>
          <p:cNvSpPr>
            <a:spLocks noGrp="1"/>
          </p:cNvSpPr>
          <p:nvPr>
            <p:ph type="body" sz="quarter" idx="13"/>
          </p:nvPr>
        </p:nvSpPr>
        <p:spPr>
          <a:xfrm>
            <a:off x="914400" y="1957387"/>
            <a:ext cx="7486650" cy="3605213"/>
          </a:xfrm>
        </p:spPr>
        <p:txBody>
          <a:bodyPr/>
          <a:lstStyle/>
          <a:p>
            <a:pPr algn="just">
              <a:lnSpc>
                <a:spcPct val="200000"/>
              </a:lnSpc>
            </a:pPr>
            <a:r>
              <a:rPr lang="en-IN" sz="2000" dirty="0">
                <a:latin typeface="Calibri" panose="020F0502020204030204" pitchFamily="34" charset="0"/>
              </a:rPr>
              <a:t>1 </a:t>
            </a:r>
            <a:r>
              <a:rPr lang="en-IN" sz="2000" dirty="0" err="1">
                <a:latin typeface="Calibri" panose="020F0502020204030204" pitchFamily="34" charset="0"/>
              </a:rPr>
              <a:t>CuM</a:t>
            </a:r>
            <a:r>
              <a:rPr lang="en-IN" sz="2000" dirty="0">
                <a:latin typeface="Calibri" panose="020F0502020204030204" pitchFamily="34" charset="0"/>
              </a:rPr>
              <a:t> (m3) = 1,000 litres (Gaseous O2)</a:t>
            </a:r>
          </a:p>
          <a:p>
            <a:pPr algn="just">
              <a:lnSpc>
                <a:spcPct val="200000"/>
              </a:lnSpc>
            </a:pPr>
            <a:r>
              <a:rPr lang="en-IN" sz="2000" dirty="0">
                <a:latin typeface="Calibri" panose="020F0502020204030204" pitchFamily="34" charset="0"/>
              </a:rPr>
              <a:t>1 Metric Ton (MT) = 770 CuM (m3) = 7,70,000 liters (Gaseous O2)</a:t>
            </a:r>
          </a:p>
          <a:p>
            <a:pPr algn="just">
              <a:lnSpc>
                <a:spcPct val="200000"/>
              </a:lnSpc>
            </a:pPr>
            <a:r>
              <a:rPr lang="en-IN" sz="2000" dirty="0">
                <a:latin typeface="Calibri" panose="020F0502020204030204" pitchFamily="34" charset="0"/>
              </a:rPr>
              <a:t>1 Metric Ton (MT) = 876 litres of Liquid Oxygen </a:t>
            </a:r>
          </a:p>
          <a:p>
            <a:pPr algn="just">
              <a:lnSpc>
                <a:spcPct val="200000"/>
              </a:lnSpc>
            </a:pPr>
            <a:r>
              <a:rPr lang="en-IN" sz="2000" dirty="0">
                <a:latin typeface="Calibri" panose="020F0502020204030204" pitchFamily="34" charset="0"/>
              </a:rPr>
              <a:t>1 KL Liquid O2 = 877.8 CuM </a:t>
            </a:r>
          </a:p>
          <a:p>
            <a:pPr algn="just">
              <a:lnSpc>
                <a:spcPct val="200000"/>
              </a:lnSpc>
            </a:pPr>
            <a:r>
              <a:rPr lang="en-IN" sz="2000" dirty="0">
                <a:latin typeface="Calibri" panose="020F0502020204030204" pitchFamily="34" charset="0"/>
              </a:rPr>
              <a:t>1 Litre Liquid O2 = 861 litres of gaseous O2</a:t>
            </a:r>
          </a:p>
          <a:p>
            <a:pPr algn="just">
              <a:lnSpc>
                <a:spcPct val="200000"/>
              </a:lnSpc>
            </a:pPr>
            <a:endParaRPr lang="en-US" sz="1800" dirty="0">
              <a:solidFill>
                <a:schemeClr val="accent2"/>
              </a:solidFill>
            </a:endParaRPr>
          </a:p>
        </p:txBody>
      </p:sp>
      <p:sp>
        <p:nvSpPr>
          <p:cNvPr id="3" name="Text Placeholder 2">
            <a:extLst>
              <a:ext uri="{FF2B5EF4-FFF2-40B4-BE49-F238E27FC236}">
                <a16:creationId xmlns:a16="http://schemas.microsoft.com/office/drawing/2014/main" id="{5B5B6581-5095-6549-9565-F21E1EF3B530}"/>
              </a:ext>
            </a:extLst>
          </p:cNvPr>
          <p:cNvSpPr>
            <a:spLocks noGrp="1"/>
          </p:cNvSpPr>
          <p:nvPr>
            <p:ph type="body" sz="quarter" idx="14"/>
          </p:nvPr>
        </p:nvSpPr>
        <p:spPr>
          <a:xfrm>
            <a:off x="914400" y="857250"/>
            <a:ext cx="7486650" cy="821907"/>
          </a:xfrm>
        </p:spPr>
        <p:txBody>
          <a:bodyPr anchor="ctr">
            <a:normAutofit/>
          </a:bodyPr>
          <a:lstStyle/>
          <a:p>
            <a:pPr algn="ctr"/>
            <a:r>
              <a:rPr lang="en-IN" sz="3600" b="1" spc="-38" dirty="0">
                <a:solidFill>
                  <a:schemeClr val="accent2">
                    <a:lumMod val="75000"/>
                  </a:schemeClr>
                </a:solidFill>
                <a:latin typeface="Calibri" panose="020F0502020204030204" pitchFamily="34" charset="0"/>
                <a:ea typeface="+mj-ea"/>
                <a:cs typeface="+mj-cs"/>
              </a:rPr>
              <a:t>Conversion Table</a:t>
            </a:r>
            <a:endParaRPr lang="en-US" sz="3600" b="1" spc="-38" dirty="0">
              <a:solidFill>
                <a:schemeClr val="accent2">
                  <a:lumMod val="75000"/>
                </a:schemeClr>
              </a:solidFill>
              <a:latin typeface="Calibri" panose="020F0502020204030204" pitchFamily="34" charset="0"/>
              <a:ea typeface="+mj-ea"/>
              <a:cs typeface="+mj-cs"/>
            </a:endParaRPr>
          </a:p>
        </p:txBody>
      </p:sp>
    </p:spTree>
    <p:extLst>
      <p:ext uri="{BB962C8B-B14F-4D97-AF65-F5344CB8AC3E}">
        <p14:creationId xmlns:p14="http://schemas.microsoft.com/office/powerpoint/2010/main" val="3163399832"/>
      </p:ext>
    </p:extLst>
  </p:cSld>
  <p:clrMapOvr>
    <a:masterClrMapping/>
  </p:clrMapOvr>
  <p:transition spd="med">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A2ACB4-C0FA-45D1-878C-47441B6A4279}"/>
              </a:ext>
            </a:extLst>
          </p:cNvPr>
          <p:cNvPicPr>
            <a:picLocks noChangeAspect="1"/>
          </p:cNvPicPr>
          <p:nvPr/>
        </p:nvPicPr>
        <p:blipFill>
          <a:blip r:embed="rId2">
            <a:duotone>
              <a:schemeClr val="accent2">
                <a:shade val="45000"/>
                <a:satMod val="135000"/>
              </a:schemeClr>
              <a:prstClr val="white"/>
            </a:duotone>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685800" y="300238"/>
            <a:ext cx="7772400" cy="5695293"/>
          </a:xfrm>
          <a:prstGeom prst="rect">
            <a:avLst/>
          </a:prstGeom>
        </p:spPr>
      </p:pic>
    </p:spTree>
    <p:extLst>
      <p:ext uri="{BB962C8B-B14F-4D97-AF65-F5344CB8AC3E}">
        <p14:creationId xmlns:p14="http://schemas.microsoft.com/office/powerpoint/2010/main" val="76222148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1739AE-5DB1-1241-90BF-50072E470643}"/>
              </a:ext>
            </a:extLst>
          </p:cNvPr>
          <p:cNvSpPr>
            <a:spLocks noGrp="1"/>
          </p:cNvSpPr>
          <p:nvPr>
            <p:ph type="body" sz="quarter" idx="13"/>
          </p:nvPr>
        </p:nvSpPr>
        <p:spPr>
          <a:xfrm>
            <a:off x="886932" y="1981200"/>
            <a:ext cx="7876068" cy="4038600"/>
          </a:xfrm>
        </p:spPr>
        <p:txBody>
          <a:bodyPr/>
          <a:lstStyle/>
          <a:p>
            <a:r>
              <a:rPr lang="en-US" sz="1800" dirty="0">
                <a:latin typeface="Calibri" panose="020F0502020204030204" pitchFamily="34" charset="0"/>
              </a:rPr>
              <a:t>Consumption in 24Hrs (LPM)= 1500 × 60 × 24 = 21,60,000 Lit per day</a:t>
            </a:r>
          </a:p>
          <a:p>
            <a:r>
              <a:rPr lang="en-US" sz="1800" dirty="0">
                <a:latin typeface="Calibri" panose="020F0502020204030204" pitchFamily="34" charset="0"/>
              </a:rPr>
              <a:t>Consumption in KG = Liters × 0.001429 KG</a:t>
            </a:r>
          </a:p>
          <a:p>
            <a:r>
              <a:rPr lang="en-US" sz="1800" dirty="0">
                <a:latin typeface="Calibri" panose="020F0502020204030204" pitchFamily="34" charset="0"/>
              </a:rPr>
              <a:t>Consumption in MT = (Liters × 0.001429 KG)/1000 (MT)</a:t>
            </a:r>
          </a:p>
          <a:p>
            <a:r>
              <a:rPr lang="en-US" sz="1800" dirty="0">
                <a:latin typeface="Calibri" panose="020F0502020204030204" pitchFamily="34" charset="0"/>
              </a:rPr>
              <a:t>Consumption in MT = (21,60,000 × 0.001429 KG)/1000 (MT)</a:t>
            </a:r>
          </a:p>
          <a:p>
            <a:r>
              <a:rPr lang="en-US" sz="1800" dirty="0">
                <a:latin typeface="Calibri" panose="020F0502020204030204" pitchFamily="34" charset="0"/>
              </a:rPr>
              <a:t>= 3.08 MT</a:t>
            </a:r>
          </a:p>
          <a:p>
            <a:r>
              <a:rPr lang="en-US" sz="1800" dirty="0">
                <a:latin typeface="Calibri" panose="020F0502020204030204" pitchFamily="34" charset="0"/>
              </a:rPr>
              <a:t>Stock will last: 5 days</a:t>
            </a:r>
          </a:p>
        </p:txBody>
      </p:sp>
      <p:sp>
        <p:nvSpPr>
          <p:cNvPr id="3" name="Text Placeholder 2">
            <a:extLst>
              <a:ext uri="{FF2B5EF4-FFF2-40B4-BE49-F238E27FC236}">
                <a16:creationId xmlns:a16="http://schemas.microsoft.com/office/drawing/2014/main" id="{5B5B6581-5095-6549-9565-F21E1EF3B530}"/>
              </a:ext>
            </a:extLst>
          </p:cNvPr>
          <p:cNvSpPr>
            <a:spLocks noGrp="1"/>
          </p:cNvSpPr>
          <p:nvPr>
            <p:ph type="body" sz="quarter" idx="14"/>
          </p:nvPr>
        </p:nvSpPr>
        <p:spPr>
          <a:xfrm>
            <a:off x="886932" y="609600"/>
            <a:ext cx="7370135" cy="1113760"/>
          </a:xfrm>
        </p:spPr>
        <p:txBody>
          <a:bodyPr>
            <a:noAutofit/>
          </a:bodyPr>
          <a:lstStyle/>
          <a:p>
            <a:pPr>
              <a:spcBef>
                <a:spcPts val="0"/>
              </a:spcBef>
              <a:spcAft>
                <a:spcPts val="0"/>
              </a:spcAft>
            </a:pPr>
            <a:r>
              <a:rPr lang="en-US" spc="-50" dirty="0">
                <a:solidFill>
                  <a:schemeClr val="accent2">
                    <a:lumMod val="75000"/>
                  </a:schemeClr>
                </a:solidFill>
                <a:latin typeface="Calibri" panose="020F0502020204030204" pitchFamily="34" charset="0"/>
                <a:ea typeface="+mj-ea"/>
                <a:cs typeface="+mj-cs"/>
              </a:rPr>
              <a:t>AIIMS has consumption of oxygen of 1500 LPM.  What will be consumption in a day in MT ? How long will the stock of 15 MT LMO stock will last ?</a:t>
            </a:r>
          </a:p>
        </p:txBody>
      </p:sp>
      <p:sp>
        <p:nvSpPr>
          <p:cNvPr id="4" name="TextBox 3">
            <a:extLst>
              <a:ext uri="{FF2B5EF4-FFF2-40B4-BE49-F238E27FC236}">
                <a16:creationId xmlns:a16="http://schemas.microsoft.com/office/drawing/2014/main" id="{D36C94B0-F1F0-4D8B-A8B9-F8B4FCB85183}"/>
              </a:ext>
            </a:extLst>
          </p:cNvPr>
          <p:cNvSpPr txBox="1"/>
          <p:nvPr/>
        </p:nvSpPr>
        <p:spPr>
          <a:xfrm>
            <a:off x="457200" y="5638800"/>
            <a:ext cx="8458200" cy="553998"/>
          </a:xfrm>
          <a:prstGeom prst="rect">
            <a:avLst/>
          </a:prstGeom>
          <a:noFill/>
        </p:spPr>
        <p:txBody>
          <a:bodyPr wrap="square">
            <a:spAutoFit/>
          </a:bodyPr>
          <a:lstStyle/>
          <a:p>
            <a:pPr algn="l"/>
            <a:r>
              <a:rPr lang="en-US" sz="1000" b="1" i="0" u="none" strike="noStrike" baseline="0" dirty="0">
                <a:latin typeface="Calibri" panose="020F0502020204030204" pitchFamily="34" charset="0"/>
              </a:rPr>
              <a:t>Disclaimer : “The information on this poster is intended for informational purposes only. Some of the information may be dated and may not reflect the latest developments. Kindly follow the instruction of the equipment or part manufacturer’s/ vendor’s </a:t>
            </a:r>
            <a:r>
              <a:rPr lang="en-US" sz="1000" b="1" i="0" u="none" strike="noStrike" baseline="0" dirty="0" err="1">
                <a:latin typeface="Calibri" panose="020F0502020204030204" pitchFamily="34" charset="0"/>
              </a:rPr>
              <a:t>authorised</a:t>
            </a:r>
            <a:r>
              <a:rPr lang="en-US" sz="1000" b="1" i="0" u="none" strike="noStrike" baseline="0" dirty="0">
                <a:latin typeface="Calibri" panose="020F0502020204030204" pitchFamily="34" charset="0"/>
              </a:rPr>
              <a:t> service center prior to undertaking any action.”</a:t>
            </a:r>
            <a:endParaRPr lang="en-US" sz="1000" b="1" dirty="0">
              <a:latin typeface="Calibri" panose="020F0502020204030204" pitchFamily="34" charset="0"/>
            </a:endParaRPr>
          </a:p>
        </p:txBody>
      </p:sp>
    </p:spTree>
    <p:extLst>
      <p:ext uri="{BB962C8B-B14F-4D97-AF65-F5344CB8AC3E}">
        <p14:creationId xmlns:p14="http://schemas.microsoft.com/office/powerpoint/2010/main" val="258691557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anim calcmode="lin" valueType="num">
                                      <p:cBhvr additive="base">
                                        <p:cTn id="31"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
                                            <p:txEl>
                                              <p:pRg st="5" end="5"/>
                                            </p:txEl>
                                          </p:spTgt>
                                        </p:tgtEl>
                                        <p:attrNameLst>
                                          <p:attrName>style.visibility</p:attrName>
                                        </p:attrNameLst>
                                      </p:cBhvr>
                                      <p:to>
                                        <p:strVal val="visible"/>
                                      </p:to>
                                    </p:set>
                                    <p:anim calcmode="lin" valueType="num">
                                      <p:cBhvr additive="base">
                                        <p:cTn id="37"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1739AE-5DB1-1241-90BF-50072E470643}"/>
              </a:ext>
            </a:extLst>
          </p:cNvPr>
          <p:cNvSpPr>
            <a:spLocks noGrp="1"/>
          </p:cNvSpPr>
          <p:nvPr>
            <p:ph type="body" sz="quarter" idx="13"/>
          </p:nvPr>
        </p:nvSpPr>
        <p:spPr>
          <a:xfrm>
            <a:off x="832220" y="2019300"/>
            <a:ext cx="7549780" cy="3924300"/>
          </a:xfrm>
        </p:spPr>
        <p:txBody>
          <a:bodyPr/>
          <a:lstStyle/>
          <a:p>
            <a:pPr>
              <a:lnSpc>
                <a:spcPct val="150000"/>
              </a:lnSpc>
            </a:pPr>
            <a:r>
              <a:rPr lang="en-IN" sz="1800" dirty="0">
                <a:latin typeface="Calibri" panose="020F0502020204030204" pitchFamily="34" charset="0"/>
              </a:rPr>
              <a:t>1 MT of LMO = 770 m3 of gas</a:t>
            </a:r>
          </a:p>
          <a:p>
            <a:pPr>
              <a:lnSpc>
                <a:spcPct val="150000"/>
              </a:lnSpc>
            </a:pPr>
            <a:r>
              <a:rPr lang="en-IN" sz="1800" dirty="0">
                <a:latin typeface="Calibri" panose="020F0502020204030204" pitchFamily="34" charset="0"/>
              </a:rPr>
              <a:t>60 MT = 770 </a:t>
            </a:r>
            <a:r>
              <a:rPr lang="en-US" sz="1800" dirty="0">
                <a:latin typeface="Calibri" panose="020F0502020204030204" pitchFamily="34" charset="0"/>
              </a:rPr>
              <a:t>× 60 m3 = 13,860</a:t>
            </a:r>
          </a:p>
          <a:p>
            <a:pPr>
              <a:lnSpc>
                <a:spcPct val="150000"/>
              </a:lnSpc>
            </a:pPr>
            <a:r>
              <a:rPr lang="en-US" sz="1800" dirty="0">
                <a:latin typeface="Calibri" panose="020F0502020204030204" pitchFamily="34" charset="0"/>
              </a:rPr>
              <a:t>Cost @ 18/m3 = 13,860 × 18 INR = 2,49,480 INR</a:t>
            </a:r>
          </a:p>
        </p:txBody>
      </p:sp>
      <p:sp>
        <p:nvSpPr>
          <p:cNvPr id="3" name="Text Placeholder 2">
            <a:extLst>
              <a:ext uri="{FF2B5EF4-FFF2-40B4-BE49-F238E27FC236}">
                <a16:creationId xmlns:a16="http://schemas.microsoft.com/office/drawing/2014/main" id="{5B5B6581-5095-6549-9565-F21E1EF3B530}"/>
              </a:ext>
            </a:extLst>
          </p:cNvPr>
          <p:cNvSpPr>
            <a:spLocks noGrp="1"/>
          </p:cNvSpPr>
          <p:nvPr>
            <p:ph type="body" sz="quarter" idx="14"/>
          </p:nvPr>
        </p:nvSpPr>
        <p:spPr>
          <a:xfrm>
            <a:off x="832220" y="609600"/>
            <a:ext cx="7854580" cy="1095876"/>
          </a:xfrm>
        </p:spPr>
        <p:txBody>
          <a:bodyPr>
            <a:noAutofit/>
          </a:bodyPr>
          <a:lstStyle/>
          <a:p>
            <a:pPr>
              <a:spcBef>
                <a:spcPts val="0"/>
              </a:spcBef>
              <a:spcAft>
                <a:spcPts val="0"/>
              </a:spcAft>
            </a:pPr>
            <a:r>
              <a:rPr lang="en-US" spc="-50" dirty="0">
                <a:solidFill>
                  <a:schemeClr val="accent2">
                    <a:lumMod val="75000"/>
                  </a:schemeClr>
                </a:solidFill>
                <a:latin typeface="Calibri" panose="020F0502020204030204" pitchFamily="34" charset="0"/>
                <a:ea typeface="+mj-ea"/>
                <a:cs typeface="+mj-cs"/>
              </a:rPr>
              <a:t>Linde India has supplied 60 MT of LMO to AIIMS Rishikesh in the month of August 2021.  What will be the cost of supply if the rate contract is of INR 18 /m3</a:t>
            </a:r>
          </a:p>
        </p:txBody>
      </p:sp>
      <p:sp>
        <p:nvSpPr>
          <p:cNvPr id="4" name="TextBox 3">
            <a:extLst>
              <a:ext uri="{FF2B5EF4-FFF2-40B4-BE49-F238E27FC236}">
                <a16:creationId xmlns:a16="http://schemas.microsoft.com/office/drawing/2014/main" id="{D0209193-66B3-492E-BC5D-000D0EA87B9D}"/>
              </a:ext>
            </a:extLst>
          </p:cNvPr>
          <p:cNvSpPr txBox="1"/>
          <p:nvPr/>
        </p:nvSpPr>
        <p:spPr>
          <a:xfrm>
            <a:off x="457200" y="5638800"/>
            <a:ext cx="8458200" cy="553998"/>
          </a:xfrm>
          <a:prstGeom prst="rect">
            <a:avLst/>
          </a:prstGeom>
          <a:noFill/>
        </p:spPr>
        <p:txBody>
          <a:bodyPr wrap="square">
            <a:spAutoFit/>
          </a:bodyPr>
          <a:lstStyle/>
          <a:p>
            <a:pPr algn="l"/>
            <a:r>
              <a:rPr lang="en-US" sz="1000" b="1" i="0" u="none" strike="noStrike" baseline="0" dirty="0">
                <a:latin typeface="Calibri" panose="020F0502020204030204" pitchFamily="34" charset="0"/>
              </a:rPr>
              <a:t>Disclaimer : “The information on this poster is intended for informational purposes only. Some of the information may be dated and may not reflect the latest developments. Kindly follow the instruction of the equipment or part manufacturer’s/ vendor’s </a:t>
            </a:r>
            <a:r>
              <a:rPr lang="en-US" sz="1000" b="1" i="0" u="none" strike="noStrike" baseline="0" dirty="0" err="1">
                <a:latin typeface="Calibri" panose="020F0502020204030204" pitchFamily="34" charset="0"/>
              </a:rPr>
              <a:t>authorised</a:t>
            </a:r>
            <a:r>
              <a:rPr lang="en-US" sz="1000" b="1" i="0" u="none" strike="noStrike" baseline="0" dirty="0">
                <a:latin typeface="Calibri" panose="020F0502020204030204" pitchFamily="34" charset="0"/>
              </a:rPr>
              <a:t> service center prior to undertaking any action.”</a:t>
            </a:r>
            <a:endParaRPr lang="en-US" sz="1000" b="1" dirty="0">
              <a:latin typeface="Calibri" panose="020F0502020204030204" pitchFamily="34" charset="0"/>
            </a:endParaRPr>
          </a:p>
        </p:txBody>
      </p:sp>
    </p:spTree>
    <p:extLst>
      <p:ext uri="{BB962C8B-B14F-4D97-AF65-F5344CB8AC3E}">
        <p14:creationId xmlns:p14="http://schemas.microsoft.com/office/powerpoint/2010/main" val="229482916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1739AE-5DB1-1241-90BF-50072E470643}"/>
              </a:ext>
            </a:extLst>
          </p:cNvPr>
          <p:cNvSpPr>
            <a:spLocks noGrp="1"/>
          </p:cNvSpPr>
          <p:nvPr>
            <p:ph type="body" sz="quarter" idx="13"/>
          </p:nvPr>
        </p:nvSpPr>
        <p:spPr>
          <a:xfrm>
            <a:off x="852488" y="2057400"/>
            <a:ext cx="7467600" cy="3924300"/>
          </a:xfrm>
        </p:spPr>
        <p:txBody>
          <a:bodyPr/>
          <a:lstStyle/>
          <a:p>
            <a:pPr>
              <a:lnSpc>
                <a:spcPct val="150000"/>
              </a:lnSpc>
            </a:pPr>
            <a:r>
              <a:rPr lang="en-US" sz="1800" dirty="0">
                <a:latin typeface="Calibri" panose="020F0502020204030204" pitchFamily="34" charset="0"/>
              </a:rPr>
              <a:t>1000 Liter LMO = 1 KL LMO</a:t>
            </a:r>
          </a:p>
          <a:p>
            <a:pPr>
              <a:lnSpc>
                <a:spcPct val="150000"/>
              </a:lnSpc>
            </a:pPr>
            <a:r>
              <a:rPr lang="en-US" sz="1800" dirty="0">
                <a:latin typeface="Calibri" panose="020F0502020204030204" pitchFamily="34" charset="0"/>
              </a:rPr>
              <a:t>1 KL LMO = 1141.7 Kg  </a:t>
            </a:r>
          </a:p>
          <a:p>
            <a:pPr>
              <a:lnSpc>
                <a:spcPct val="150000"/>
              </a:lnSpc>
            </a:pPr>
            <a:r>
              <a:rPr lang="en-US" sz="1800" dirty="0">
                <a:latin typeface="Calibri" panose="020F0502020204030204" pitchFamily="34" charset="0"/>
              </a:rPr>
              <a:t>Total storage capacity = 33 KL</a:t>
            </a:r>
          </a:p>
          <a:p>
            <a:pPr>
              <a:lnSpc>
                <a:spcPct val="150000"/>
              </a:lnSpc>
            </a:pPr>
            <a:r>
              <a:rPr lang="en-US" sz="1800" dirty="0">
                <a:latin typeface="Calibri" panose="020F0502020204030204" pitchFamily="34" charset="0"/>
              </a:rPr>
              <a:t>Total Storage capacity (Kg) = 33 × 1141.7 kg = 376761 kg</a:t>
            </a:r>
          </a:p>
          <a:p>
            <a:pPr>
              <a:lnSpc>
                <a:spcPct val="150000"/>
              </a:lnSpc>
            </a:pPr>
            <a:r>
              <a:rPr lang="en-US" sz="1800" dirty="0">
                <a:latin typeface="Calibri" panose="020F0502020204030204" pitchFamily="34" charset="0"/>
              </a:rPr>
              <a:t>Total Storage capacity (MT) = 376761/1000 = 37.67 MT</a:t>
            </a:r>
          </a:p>
        </p:txBody>
      </p:sp>
      <p:sp>
        <p:nvSpPr>
          <p:cNvPr id="3" name="Text Placeholder 2">
            <a:extLst>
              <a:ext uri="{FF2B5EF4-FFF2-40B4-BE49-F238E27FC236}">
                <a16:creationId xmlns:a16="http://schemas.microsoft.com/office/drawing/2014/main" id="{5B5B6581-5095-6549-9565-F21E1EF3B530}"/>
              </a:ext>
            </a:extLst>
          </p:cNvPr>
          <p:cNvSpPr>
            <a:spLocks noGrp="1"/>
          </p:cNvSpPr>
          <p:nvPr>
            <p:ph type="body" sz="quarter" idx="14"/>
          </p:nvPr>
        </p:nvSpPr>
        <p:spPr>
          <a:xfrm>
            <a:off x="852488" y="609600"/>
            <a:ext cx="7467600" cy="1095876"/>
          </a:xfrm>
        </p:spPr>
        <p:txBody>
          <a:bodyPr anchor="b">
            <a:noAutofit/>
          </a:bodyPr>
          <a:lstStyle/>
          <a:p>
            <a:r>
              <a:rPr lang="en-US" spc="-50" dirty="0">
                <a:solidFill>
                  <a:schemeClr val="accent2">
                    <a:lumMod val="75000"/>
                  </a:schemeClr>
                </a:solidFill>
                <a:latin typeface="Calibri" panose="020F0502020204030204" pitchFamily="34" charset="0"/>
                <a:ea typeface="+mj-ea"/>
                <a:cs typeface="+mj-cs"/>
              </a:rPr>
              <a:t>In DRDO-IDPL hospital there two tanks 20 KL and 13 KL </a:t>
            </a:r>
            <a:r>
              <a:rPr lang="en-US" sz="2000" dirty="0">
                <a:solidFill>
                  <a:schemeClr val="tx1"/>
                </a:solidFill>
                <a:latin typeface="Calibri" panose="020F0502020204030204" pitchFamily="34" charset="0"/>
              </a:rPr>
              <a:t>capacity</a:t>
            </a:r>
            <a:r>
              <a:rPr lang="en-US" spc="-50" dirty="0">
                <a:solidFill>
                  <a:schemeClr val="accent2">
                    <a:lumMod val="75000"/>
                  </a:schemeClr>
                </a:solidFill>
                <a:latin typeface="Calibri" panose="020F0502020204030204" pitchFamily="34" charset="0"/>
                <a:ea typeface="+mj-ea"/>
                <a:cs typeface="+mj-cs"/>
              </a:rPr>
              <a:t>. What is the storage capacity in MT?</a:t>
            </a:r>
          </a:p>
        </p:txBody>
      </p:sp>
      <p:sp>
        <p:nvSpPr>
          <p:cNvPr id="4" name="TextBox 3">
            <a:extLst>
              <a:ext uri="{FF2B5EF4-FFF2-40B4-BE49-F238E27FC236}">
                <a16:creationId xmlns:a16="http://schemas.microsoft.com/office/drawing/2014/main" id="{B9339137-BF58-4F00-B765-7AAE38BA2B95}"/>
              </a:ext>
            </a:extLst>
          </p:cNvPr>
          <p:cNvSpPr txBox="1"/>
          <p:nvPr/>
        </p:nvSpPr>
        <p:spPr>
          <a:xfrm>
            <a:off x="457200" y="5638800"/>
            <a:ext cx="8458200" cy="553998"/>
          </a:xfrm>
          <a:prstGeom prst="rect">
            <a:avLst/>
          </a:prstGeom>
          <a:noFill/>
        </p:spPr>
        <p:txBody>
          <a:bodyPr wrap="square">
            <a:spAutoFit/>
          </a:bodyPr>
          <a:lstStyle/>
          <a:p>
            <a:pPr algn="l"/>
            <a:r>
              <a:rPr lang="en-US" sz="1000" b="1" i="0" u="none" strike="noStrike" baseline="0" dirty="0">
                <a:latin typeface="Calibri" panose="020F0502020204030204" pitchFamily="34" charset="0"/>
              </a:rPr>
              <a:t>Disclaimer : “The information on this poster is intended for informational purposes only. Some of the information may be dated and may not reflect the latest developments. Kindly follow the instruction of the equipment or part manufacturer’s/ vendor’s </a:t>
            </a:r>
            <a:r>
              <a:rPr lang="en-US" sz="1000" b="1" i="0" u="none" strike="noStrike" baseline="0" dirty="0" err="1">
                <a:latin typeface="Calibri" panose="020F0502020204030204" pitchFamily="34" charset="0"/>
              </a:rPr>
              <a:t>authorised</a:t>
            </a:r>
            <a:r>
              <a:rPr lang="en-US" sz="1000" b="1" i="0" u="none" strike="noStrike" baseline="0" dirty="0">
                <a:latin typeface="Calibri" panose="020F0502020204030204" pitchFamily="34" charset="0"/>
              </a:rPr>
              <a:t> service center prior to undertaking any action.”</a:t>
            </a:r>
            <a:endParaRPr lang="en-US" sz="1000" b="1" dirty="0">
              <a:latin typeface="Calibri" panose="020F0502020204030204" pitchFamily="34" charset="0"/>
            </a:endParaRPr>
          </a:p>
        </p:txBody>
      </p:sp>
    </p:spTree>
    <p:extLst>
      <p:ext uri="{BB962C8B-B14F-4D97-AF65-F5344CB8AC3E}">
        <p14:creationId xmlns:p14="http://schemas.microsoft.com/office/powerpoint/2010/main" val="28858394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anim calcmode="lin" valueType="num">
                                      <p:cBhvr additive="base">
                                        <p:cTn id="31"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96.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6" name="Title 7">
            <a:extLst>
              <a:ext uri="{FF2B5EF4-FFF2-40B4-BE49-F238E27FC236}">
                <a16:creationId xmlns:a16="http://schemas.microsoft.com/office/drawing/2014/main" id="{D0E473CD-0D41-42F9-96A9-4FC2BCF07858}"/>
              </a:ext>
            </a:extLst>
          </p:cNvPr>
          <p:cNvSpPr txBox="1">
            <a:spLocks/>
          </p:cNvSpPr>
          <p:nvPr/>
        </p:nvSpPr>
        <p:spPr>
          <a:xfrm>
            <a:off x="990600" y="762000"/>
            <a:ext cx="7315200" cy="914400"/>
          </a:xfrm>
          <a:prstGeom prst="rect">
            <a:avLst/>
          </a:prstGeom>
        </p:spPr>
        <p:txBody>
          <a:bodyPr anchor="ctr"/>
          <a:lstStyle>
            <a:lvl1pPr algn="l" defTabSz="685800" eaLnBrk="0" fontAlgn="base" hangingPunct="0" rtl="0">
              <a:lnSpc>
                <a:spcPct val="85000"/>
              </a:lnSpc>
              <a:spcBef>
                <a:spcPct val="0"/>
              </a:spcBef>
              <a:spcAft>
                <a:spcPct val="0"/>
              </a:spcAft>
              <a:defRPr kern="1200" spc="-38" sz="3600">
                <a:solidFill>
                  <a:srgbClr val="404040"/>
                </a:solidFill>
                <a:latin typeface="+mj-lt"/>
                <a:ea typeface="+mj-ea"/>
                <a:cs typeface="+mj-cs"/>
              </a:defRPr>
            </a:lvl1pPr>
            <a:lvl2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2pPr>
            <a:lvl3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3pPr>
            <a:lvl4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4pPr>
            <a:lvl5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5pPr>
            <a:lvl6pPr algn="l" defTabSz="685800" fontAlgn="base" marL="457200" rtl="0">
              <a:lnSpc>
                <a:spcPct val="85000"/>
              </a:lnSpc>
              <a:spcBef>
                <a:spcPct val="0"/>
              </a:spcBef>
              <a:spcAft>
                <a:spcPct val="0"/>
              </a:spcAft>
              <a:defRPr sz="3600">
                <a:solidFill>
                  <a:srgbClr val="404040"/>
                </a:solidFill>
                <a:latin charset="0" panose="020F0302020204030204" pitchFamily="34" typeface="Calibri Light"/>
              </a:defRPr>
            </a:lvl6pPr>
            <a:lvl7pPr algn="l" defTabSz="685800" fontAlgn="base" marL="914400" rtl="0">
              <a:lnSpc>
                <a:spcPct val="85000"/>
              </a:lnSpc>
              <a:spcBef>
                <a:spcPct val="0"/>
              </a:spcBef>
              <a:spcAft>
                <a:spcPct val="0"/>
              </a:spcAft>
              <a:defRPr sz="3600">
                <a:solidFill>
                  <a:srgbClr val="404040"/>
                </a:solidFill>
                <a:latin charset="0" panose="020F0302020204030204" pitchFamily="34" typeface="Calibri Light"/>
              </a:defRPr>
            </a:lvl7pPr>
            <a:lvl8pPr algn="l" defTabSz="685800" fontAlgn="base" marL="1371600" rtl="0">
              <a:lnSpc>
                <a:spcPct val="85000"/>
              </a:lnSpc>
              <a:spcBef>
                <a:spcPct val="0"/>
              </a:spcBef>
              <a:spcAft>
                <a:spcPct val="0"/>
              </a:spcAft>
              <a:defRPr sz="3600">
                <a:solidFill>
                  <a:srgbClr val="404040"/>
                </a:solidFill>
                <a:latin charset="0" panose="020F0302020204030204" pitchFamily="34" typeface="Calibri Light"/>
              </a:defRPr>
            </a:lvl8pPr>
            <a:lvl9pPr algn="l" defTabSz="685800" fontAlgn="base" marL="1828800" rtl="0">
              <a:lnSpc>
                <a:spcPct val="85000"/>
              </a:lnSpc>
              <a:spcBef>
                <a:spcPct val="0"/>
              </a:spcBef>
              <a:spcAft>
                <a:spcPct val="0"/>
              </a:spcAft>
              <a:defRPr sz="3600">
                <a:solidFill>
                  <a:srgbClr val="404040"/>
                </a:solidFill>
                <a:latin charset="0" panose="020F0302020204030204" pitchFamily="34" typeface="Calibri Light"/>
              </a:defRPr>
            </a:lvl9pPr>
          </a:lstStyle>
          <a:p>
            <a:pPr algn="ctr"/>
            <a:r>
              <a:rPr b="1" dirty="0" lang="en-US">
                <a:solidFill>
                  <a:schemeClr val="accent2">
                    <a:lumMod val="75000"/>
                  </a:schemeClr>
                </a:solidFill>
                <a:latin charset="0" panose="020F0502020204030204" pitchFamily="34" typeface="Calibri"/>
              </a:rPr>
              <a:t>Oxygen Requirement (Bed Strength)</a:t>
            </a:r>
            <a:endParaRPr b="1" dirty="0" lang="en-IN">
              <a:solidFill>
                <a:schemeClr val="accent2">
                  <a:lumMod val="75000"/>
                </a:schemeClr>
              </a:solidFill>
              <a:latin charset="0" panose="020F0502020204030204" pitchFamily="34" typeface="Calibri"/>
            </a:endParaRPr>
          </a:p>
        </p:txBody>
      </p:sp>
      <p:pic>
        <p:nvPicPr>
          <p:cNvPr descr="Graphical user interface, application&#10;&#10;Description automatically generated" id="7" name="Picture Placeholder 5">
            <a:extLst>
              <a:ext uri="{FF2B5EF4-FFF2-40B4-BE49-F238E27FC236}">
                <a16:creationId xmlns:a16="http://schemas.microsoft.com/office/drawing/2014/main" id="{A9E5B969-348A-4BAB-9D85-212D0C6D2E6B}"/>
              </a:ext>
            </a:extLst>
          </p:cNvPr>
          <p:cNvPicPr>
            <a:picLocks noChangeAspect="1"/>
          </p:cNvPicPr>
          <p:nvPr/>
        </p:nvPicPr>
        <p:blipFill rotWithShape="1">
          <a:blip r:embed="rId3">
            <a:duotone>
              <a:schemeClr val="accent2">
                <a:shade val="45000"/>
                <a:satMod val="135000"/>
              </a:schemeClr>
              <a:prstClr val="white"/>
            </a:duotone>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b="-59"/>
          <a:stretch/>
        </p:blipFill>
        <p:spPr>
          <a:xfrm>
            <a:off x="1295400" y="1828800"/>
            <a:ext cx="6791863" cy="4403484"/>
          </a:xfrm>
          <a:prstGeom prst="rect">
            <a:avLst/>
          </a:prstGeom>
        </p:spPr>
      </p:pic>
    </p:spTree>
    <p:extLst>
      <p:ext uri="{BB962C8B-B14F-4D97-AF65-F5344CB8AC3E}">
        <p14:creationId xmlns:p14="http://schemas.microsoft.com/office/powerpoint/2010/main" val="2092591118"/>
      </p:ext>
    </p:extLst>
  </p:cSld>
  <p:clrMapOvr>
    <a:masterClrMapping/>
  </p:clrMapOvr>
</p:sld>
</file>

<file path=ppt/slides/slide97.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6" name="Title 7">
            <a:extLst>
              <a:ext uri="{FF2B5EF4-FFF2-40B4-BE49-F238E27FC236}">
                <a16:creationId xmlns:a16="http://schemas.microsoft.com/office/drawing/2014/main" id="{D0E473CD-0D41-42F9-96A9-4FC2BCF07858}"/>
              </a:ext>
            </a:extLst>
          </p:cNvPr>
          <p:cNvSpPr txBox="1">
            <a:spLocks/>
          </p:cNvSpPr>
          <p:nvPr/>
        </p:nvSpPr>
        <p:spPr>
          <a:xfrm>
            <a:off x="819725" y="952500"/>
            <a:ext cx="7583048" cy="800100"/>
          </a:xfrm>
          <a:prstGeom prst="rect">
            <a:avLst/>
          </a:prstGeom>
        </p:spPr>
        <p:txBody>
          <a:bodyPr anchor="ctr"/>
          <a:lstStyle>
            <a:lvl1pPr algn="l" defTabSz="685800" eaLnBrk="0" fontAlgn="base" hangingPunct="0" rtl="0">
              <a:lnSpc>
                <a:spcPct val="85000"/>
              </a:lnSpc>
              <a:spcBef>
                <a:spcPct val="0"/>
              </a:spcBef>
              <a:spcAft>
                <a:spcPct val="0"/>
              </a:spcAft>
              <a:defRPr kern="1200" spc="-38" sz="3600">
                <a:solidFill>
                  <a:srgbClr val="404040"/>
                </a:solidFill>
                <a:latin typeface="+mj-lt"/>
                <a:ea typeface="+mj-ea"/>
                <a:cs typeface="+mj-cs"/>
              </a:defRPr>
            </a:lvl1pPr>
            <a:lvl2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2pPr>
            <a:lvl3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3pPr>
            <a:lvl4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4pPr>
            <a:lvl5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5pPr>
            <a:lvl6pPr algn="l" defTabSz="685800" fontAlgn="base" marL="457200" rtl="0">
              <a:lnSpc>
                <a:spcPct val="85000"/>
              </a:lnSpc>
              <a:spcBef>
                <a:spcPct val="0"/>
              </a:spcBef>
              <a:spcAft>
                <a:spcPct val="0"/>
              </a:spcAft>
              <a:defRPr sz="3600">
                <a:solidFill>
                  <a:srgbClr val="404040"/>
                </a:solidFill>
                <a:latin charset="0" panose="020F0302020204030204" pitchFamily="34" typeface="Calibri Light"/>
              </a:defRPr>
            </a:lvl6pPr>
            <a:lvl7pPr algn="l" defTabSz="685800" fontAlgn="base" marL="914400" rtl="0">
              <a:lnSpc>
                <a:spcPct val="85000"/>
              </a:lnSpc>
              <a:spcBef>
                <a:spcPct val="0"/>
              </a:spcBef>
              <a:spcAft>
                <a:spcPct val="0"/>
              </a:spcAft>
              <a:defRPr sz="3600">
                <a:solidFill>
                  <a:srgbClr val="404040"/>
                </a:solidFill>
                <a:latin charset="0" panose="020F0302020204030204" pitchFamily="34" typeface="Calibri Light"/>
              </a:defRPr>
            </a:lvl7pPr>
            <a:lvl8pPr algn="l" defTabSz="685800" fontAlgn="base" marL="1371600" rtl="0">
              <a:lnSpc>
                <a:spcPct val="85000"/>
              </a:lnSpc>
              <a:spcBef>
                <a:spcPct val="0"/>
              </a:spcBef>
              <a:spcAft>
                <a:spcPct val="0"/>
              </a:spcAft>
              <a:defRPr sz="3600">
                <a:solidFill>
                  <a:srgbClr val="404040"/>
                </a:solidFill>
                <a:latin charset="0" panose="020F0302020204030204" pitchFamily="34" typeface="Calibri Light"/>
              </a:defRPr>
            </a:lvl8pPr>
            <a:lvl9pPr algn="l" defTabSz="685800" fontAlgn="base" marL="1828800" rtl="0">
              <a:lnSpc>
                <a:spcPct val="85000"/>
              </a:lnSpc>
              <a:spcBef>
                <a:spcPct val="0"/>
              </a:spcBef>
              <a:spcAft>
                <a:spcPct val="0"/>
              </a:spcAft>
              <a:defRPr sz="3600">
                <a:solidFill>
                  <a:srgbClr val="404040"/>
                </a:solidFill>
                <a:latin charset="0" panose="020F0302020204030204" pitchFamily="34" typeface="Calibri Light"/>
              </a:defRPr>
            </a:lvl9pPr>
          </a:lstStyle>
          <a:p>
            <a:pPr algn="ctr"/>
            <a:r>
              <a:rPr b="1" dirty="0" lang="en-US">
                <a:solidFill>
                  <a:schemeClr val="accent2">
                    <a:lumMod val="75000"/>
                  </a:schemeClr>
                </a:solidFill>
                <a:latin charset="0" panose="020F0502020204030204" pitchFamily="34" typeface="Calibri"/>
              </a:rPr>
              <a:t>Daily Oxygen Consumption </a:t>
            </a:r>
          </a:p>
          <a:p>
            <a:pPr algn="ctr"/>
            <a:r>
              <a:rPr b="1" dirty="0" lang="en-US">
                <a:solidFill>
                  <a:schemeClr val="accent2">
                    <a:lumMod val="75000"/>
                  </a:schemeClr>
                </a:solidFill>
                <a:latin charset="0" panose="020F0502020204030204" pitchFamily="34" typeface="Calibri"/>
              </a:rPr>
              <a:t>(Based On Active Cases)</a:t>
            </a:r>
            <a:endParaRPr b="1" dirty="0" lang="en-IN">
              <a:solidFill>
                <a:schemeClr val="accent2">
                  <a:lumMod val="75000"/>
                </a:schemeClr>
              </a:solidFill>
              <a:latin charset="0" panose="020F0502020204030204" pitchFamily="34" typeface="Calibri"/>
            </a:endParaRPr>
          </a:p>
        </p:txBody>
      </p:sp>
      <p:pic>
        <p:nvPicPr>
          <p:cNvPr id="5" name="Content Placeholder 4">
            <a:extLst>
              <a:ext uri="{FF2B5EF4-FFF2-40B4-BE49-F238E27FC236}">
                <a16:creationId xmlns:a16="http://schemas.microsoft.com/office/drawing/2014/main" id="{6CE35093-CDB1-4B8B-9352-6D84F04B2138}"/>
              </a:ext>
            </a:extLst>
          </p:cNvPr>
          <p:cNvPicPr>
            <a:picLocks noChangeAspect="1"/>
          </p:cNvPicPr>
          <p:nvPr/>
        </p:nvPicPr>
        <p:blipFill rotWithShape="1">
          <a:blip r:embed="rId3">
            <a:duotone>
              <a:schemeClr val="accent2">
                <a:shade val="45000"/>
                <a:satMod val="135000"/>
              </a:schemeClr>
              <a:prstClr val="white"/>
            </a:duotone>
            <a:extLst>
              <a:ext uri="{BEBA8EAE-BF5A-486C-A8C5-ECC9F3942E4B}">
                <a14:imgProps xmlns:a14="http://schemas.microsoft.com/office/drawing/2010/main">
                  <a14:imgLayer r:embed="rId4">
                    <a14:imgEffect>
                      <a14:sharpenSoften amount="50000"/>
                    </a14:imgEffect>
                  </a14:imgLayer>
                </a14:imgProps>
              </a:ext>
            </a:extLst>
          </a:blip>
          <a:srcRect b="-65"/>
          <a:stretch/>
        </p:blipFill>
        <p:spPr bwMode="auto">
          <a:xfrm>
            <a:off x="1033412" y="2101899"/>
            <a:ext cx="7155673" cy="3228975"/>
          </a:xfrm>
          <a:prstGeom prst="rect">
            <a:avLst/>
          </a:prstGeom>
          <a:solidFill>
            <a:schemeClr val="bg2">
              <a:lumMod val="90000"/>
            </a:schemeClr>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A856D4F4-21C8-4A09-B9CD-3081784594DC}"/>
              </a:ext>
            </a:extLst>
          </p:cNvPr>
          <p:cNvSpPr txBox="1"/>
          <p:nvPr/>
        </p:nvSpPr>
        <p:spPr>
          <a:xfrm>
            <a:off x="819726" y="5319392"/>
            <a:ext cx="7583048" cy="415498"/>
          </a:xfrm>
          <a:prstGeom prst="rect">
            <a:avLst/>
          </a:prstGeom>
          <a:noFill/>
        </p:spPr>
        <p:txBody>
          <a:bodyPr wrap="square">
            <a:spAutoFit/>
          </a:bodyPr>
          <a:lstStyle/>
          <a:p>
            <a:pPr algn="just"/>
            <a:r>
              <a:rPr b="1" dirty="0" i="1" lang="en-US" sz="1050">
                <a:solidFill>
                  <a:schemeClr val="tx2"/>
                </a:solidFill>
                <a:latin charset="0" panose="020F0502020204030204" pitchFamily="34" typeface="Calibri"/>
                <a:ea charset="0" panose="020F0502020204030204" pitchFamily="34" typeface="Calibri"/>
              </a:rPr>
              <a:t>As per the state trend/average total 12% of total active cases need medical oxygen support out of which 8% on O2 beds and 4% on ICU beds. District/Facility can use the actual percentage as per their patient data on oxygen support requirement. </a:t>
            </a:r>
            <a:endParaRPr b="1" dirty="0" lang="en-US" sz="1050">
              <a:solidFill>
                <a:schemeClr val="tx2"/>
              </a:solidFill>
              <a:latin charset="0" panose="020F0502020204030204" pitchFamily="34" typeface="Calibri"/>
            </a:endParaRPr>
          </a:p>
        </p:txBody>
      </p:sp>
    </p:spTree>
    <p:extLst>
      <p:ext uri="{BB962C8B-B14F-4D97-AF65-F5344CB8AC3E}">
        <p14:creationId xmlns:p14="http://schemas.microsoft.com/office/powerpoint/2010/main" val="1566321583"/>
      </p:ext>
    </p:extLst>
  </p:cSld>
  <p:clrMapOvr>
    <a:masterClrMapping/>
  </p:clrMapOvr>
  <p:transition spd="med">
    <p:fade/>
  </p:transition>
</p:sld>
</file>

<file path=ppt/slides/slide98.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6" name="Title 7">
            <a:extLst>
              <a:ext uri="{FF2B5EF4-FFF2-40B4-BE49-F238E27FC236}">
                <a16:creationId xmlns:a16="http://schemas.microsoft.com/office/drawing/2014/main" id="{D0E473CD-0D41-42F9-96A9-4FC2BCF07858}"/>
              </a:ext>
            </a:extLst>
          </p:cNvPr>
          <p:cNvSpPr txBox="1">
            <a:spLocks/>
          </p:cNvSpPr>
          <p:nvPr/>
        </p:nvSpPr>
        <p:spPr>
          <a:xfrm>
            <a:off x="914400" y="914400"/>
            <a:ext cx="7467600" cy="838200"/>
          </a:xfrm>
          <a:prstGeom prst="rect">
            <a:avLst/>
          </a:prstGeom>
        </p:spPr>
        <p:txBody>
          <a:bodyPr anchor="ctr"/>
          <a:lstStyle>
            <a:lvl1pPr algn="l" defTabSz="685800" eaLnBrk="0" fontAlgn="base" hangingPunct="0" rtl="0">
              <a:lnSpc>
                <a:spcPct val="85000"/>
              </a:lnSpc>
              <a:spcBef>
                <a:spcPct val="0"/>
              </a:spcBef>
              <a:spcAft>
                <a:spcPct val="0"/>
              </a:spcAft>
              <a:defRPr kern="1200" spc="-38" sz="3600">
                <a:solidFill>
                  <a:srgbClr val="404040"/>
                </a:solidFill>
                <a:latin typeface="+mj-lt"/>
                <a:ea typeface="+mj-ea"/>
                <a:cs typeface="+mj-cs"/>
              </a:defRPr>
            </a:lvl1pPr>
            <a:lvl2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2pPr>
            <a:lvl3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3pPr>
            <a:lvl4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4pPr>
            <a:lvl5pPr algn="l" defTabSz="685800" eaLnBrk="0" fontAlgn="base" hangingPunct="0" rtl="0">
              <a:lnSpc>
                <a:spcPct val="85000"/>
              </a:lnSpc>
              <a:spcBef>
                <a:spcPct val="0"/>
              </a:spcBef>
              <a:spcAft>
                <a:spcPct val="0"/>
              </a:spcAft>
              <a:defRPr sz="3600">
                <a:solidFill>
                  <a:srgbClr val="404040"/>
                </a:solidFill>
                <a:latin charset="0" panose="020F0302020204030204" pitchFamily="34" typeface="Calibri Light"/>
              </a:defRPr>
            </a:lvl5pPr>
            <a:lvl6pPr algn="l" defTabSz="685800" fontAlgn="base" marL="457200" rtl="0">
              <a:lnSpc>
                <a:spcPct val="85000"/>
              </a:lnSpc>
              <a:spcBef>
                <a:spcPct val="0"/>
              </a:spcBef>
              <a:spcAft>
                <a:spcPct val="0"/>
              </a:spcAft>
              <a:defRPr sz="3600">
                <a:solidFill>
                  <a:srgbClr val="404040"/>
                </a:solidFill>
                <a:latin charset="0" panose="020F0302020204030204" pitchFamily="34" typeface="Calibri Light"/>
              </a:defRPr>
            </a:lvl6pPr>
            <a:lvl7pPr algn="l" defTabSz="685800" fontAlgn="base" marL="914400" rtl="0">
              <a:lnSpc>
                <a:spcPct val="85000"/>
              </a:lnSpc>
              <a:spcBef>
                <a:spcPct val="0"/>
              </a:spcBef>
              <a:spcAft>
                <a:spcPct val="0"/>
              </a:spcAft>
              <a:defRPr sz="3600">
                <a:solidFill>
                  <a:srgbClr val="404040"/>
                </a:solidFill>
                <a:latin charset="0" panose="020F0302020204030204" pitchFamily="34" typeface="Calibri Light"/>
              </a:defRPr>
            </a:lvl7pPr>
            <a:lvl8pPr algn="l" defTabSz="685800" fontAlgn="base" marL="1371600" rtl="0">
              <a:lnSpc>
                <a:spcPct val="85000"/>
              </a:lnSpc>
              <a:spcBef>
                <a:spcPct val="0"/>
              </a:spcBef>
              <a:spcAft>
                <a:spcPct val="0"/>
              </a:spcAft>
              <a:defRPr sz="3600">
                <a:solidFill>
                  <a:srgbClr val="404040"/>
                </a:solidFill>
                <a:latin charset="0" panose="020F0302020204030204" pitchFamily="34" typeface="Calibri Light"/>
              </a:defRPr>
            </a:lvl8pPr>
            <a:lvl9pPr algn="l" defTabSz="685800" fontAlgn="base" marL="1828800" rtl="0">
              <a:lnSpc>
                <a:spcPct val="85000"/>
              </a:lnSpc>
              <a:spcBef>
                <a:spcPct val="0"/>
              </a:spcBef>
              <a:spcAft>
                <a:spcPct val="0"/>
              </a:spcAft>
              <a:defRPr sz="3600">
                <a:solidFill>
                  <a:srgbClr val="404040"/>
                </a:solidFill>
                <a:latin charset="0" panose="020F0302020204030204" pitchFamily="34" typeface="Calibri Light"/>
              </a:defRPr>
            </a:lvl9pPr>
          </a:lstStyle>
          <a:p>
            <a:pPr algn="ctr"/>
            <a:r>
              <a:rPr b="1" dirty="0" lang="en-US" sz="3200">
                <a:solidFill>
                  <a:schemeClr val="accent2">
                    <a:lumMod val="75000"/>
                  </a:schemeClr>
                </a:solidFill>
                <a:latin charset="0" panose="020F0502020204030204" pitchFamily="34" typeface="Calibri"/>
              </a:rPr>
              <a:t>Gaps To Be Addressed For Oxygen Supply</a:t>
            </a:r>
            <a:endParaRPr b="1" dirty="0" lang="en-IN" sz="3200">
              <a:solidFill>
                <a:schemeClr val="accent2">
                  <a:lumMod val="75000"/>
                </a:schemeClr>
              </a:solidFill>
              <a:latin charset="0" panose="020F0502020204030204" pitchFamily="34" typeface="Calibri"/>
            </a:endParaRPr>
          </a:p>
        </p:txBody>
      </p:sp>
      <p:pic>
        <p:nvPicPr>
          <p:cNvPr id="7" name="Content Placeholder 4">
            <a:extLst>
              <a:ext uri="{FF2B5EF4-FFF2-40B4-BE49-F238E27FC236}">
                <a16:creationId xmlns:a16="http://schemas.microsoft.com/office/drawing/2014/main" id="{5106E518-B18F-451A-8980-EFE069C8A958}"/>
              </a:ext>
            </a:extLst>
          </p:cNvPr>
          <p:cNvPicPr>
            <a:picLocks noChangeAspect="1"/>
          </p:cNvPicPr>
          <p:nvPr/>
        </p:nvPicPr>
        <p:blipFill rotWithShape="1">
          <a:blip r:embed="rId3">
            <a:duotone>
              <a:schemeClr val="accent2">
                <a:shade val="45000"/>
                <a:satMod val="135000"/>
              </a:schemeClr>
              <a:prstClr val="white"/>
            </a:duotone>
            <a:extLst>
              <a:ext uri="{BEBA8EAE-BF5A-486C-A8C5-ECC9F3942E4B}">
                <a14:imgProps xmlns:a14="http://schemas.microsoft.com/office/drawing/2010/main">
                  <a14:imgLayer r:embed="rId4">
                    <a14:imgEffect>
                      <a14:sharpenSoften amount="50000"/>
                    </a14:imgEffect>
                  </a14:imgLayer>
                </a14:imgProps>
              </a:ext>
            </a:extLst>
          </a:blip>
          <a:srcRect b="36"/>
          <a:stretch/>
        </p:blipFill>
        <p:spPr>
          <a:xfrm>
            <a:off x="1575033" y="1879738"/>
            <a:ext cx="5993934" cy="3836118"/>
          </a:xfrm>
          <a:prstGeom prst="rect">
            <a:avLst/>
          </a:prstGeom>
          <a:noFill/>
        </p:spPr>
      </p:pic>
      <p:sp>
        <p:nvSpPr>
          <p:cNvPr id="9" name="Title 1">
            <a:extLst>
              <a:ext uri="{FF2B5EF4-FFF2-40B4-BE49-F238E27FC236}">
                <a16:creationId xmlns:a16="http://schemas.microsoft.com/office/drawing/2014/main" id="{D8DDF3C8-FD09-4A2D-BD74-EAEDCCD5513D}"/>
              </a:ext>
            </a:extLst>
          </p:cNvPr>
          <p:cNvSpPr txBox="1">
            <a:spLocks/>
          </p:cNvSpPr>
          <p:nvPr/>
        </p:nvSpPr>
        <p:spPr>
          <a:xfrm>
            <a:off x="1568770" y="5715856"/>
            <a:ext cx="5993934" cy="380144"/>
          </a:xfrm>
          <a:prstGeom prst="roundRect">
            <a:avLst/>
          </a:prstGeom>
          <a:solidFill>
            <a:srgbClr val="B8D1E4"/>
          </a:solidFill>
          <a:ln/>
        </p:spPr>
        <p:style>
          <a:lnRef idx="2">
            <a:schemeClr val="accent2"/>
          </a:lnRef>
          <a:fillRef idx="1">
            <a:schemeClr val="lt1"/>
          </a:fillRef>
          <a:effectRef idx="0">
            <a:schemeClr val="accent2"/>
          </a:effectRef>
          <a:fontRef idx="minor">
            <a:schemeClr val="dk1"/>
          </a:fontRef>
        </p:style>
        <p:txBody>
          <a:bodyPr anchor="ctr">
            <a:normAutofit/>
          </a:bodyPr>
          <a:lstStyle>
            <a:lvl1pPr algn="l" defTabSz="685800" eaLnBrk="0" fontAlgn="base" hangingPunct="0" indent="-68263" marL="68263" rtl="0">
              <a:lnSpc>
                <a:spcPct val="90000"/>
              </a:lnSpc>
              <a:spcBef>
                <a:spcPts val="900"/>
              </a:spcBef>
              <a:spcAft>
                <a:spcPts val="150"/>
              </a:spcAft>
              <a:buClr>
                <a:schemeClr val="accent1"/>
              </a:buClr>
              <a:buSzPct val="100000"/>
              <a:buFont charset="0" panose="020F0502020204030204" pitchFamily="34" typeface="Calibri"/>
              <a:buChar char=" "/>
              <a:defRPr kern="1200" sz="1500">
                <a:solidFill>
                  <a:srgbClr val="404040"/>
                </a:solidFill>
                <a:latin typeface="+mn-lt"/>
                <a:ea typeface="+mn-ea"/>
                <a:cs typeface="+mn-cs"/>
              </a:defRPr>
            </a:lvl1pPr>
            <a:lvl2pPr algn="l" defTabSz="685800" eaLnBrk="0" fontAlgn="base" hangingPunct="0" indent="-136525" marL="287338" rtl="0">
              <a:lnSpc>
                <a:spcPct val="90000"/>
              </a:lnSpc>
              <a:spcBef>
                <a:spcPts val="150"/>
              </a:spcBef>
              <a:spcAft>
                <a:spcPts val="300"/>
              </a:spcAft>
              <a:buClr>
                <a:schemeClr val="accent1"/>
              </a:buClr>
              <a:buFont charset="0" panose="020F0502020204030204" pitchFamily="34" typeface="Calibri"/>
              <a:buChar char="◦"/>
              <a:defRPr kern="1200" sz="1300">
                <a:solidFill>
                  <a:srgbClr val="404040"/>
                </a:solidFill>
                <a:latin typeface="+mn-lt"/>
                <a:ea typeface="+mn-ea"/>
                <a:cs typeface="+mn-cs"/>
              </a:defRPr>
            </a:lvl2pPr>
            <a:lvl3pPr algn="l" defTabSz="685800" eaLnBrk="0" fontAlgn="base" hangingPunct="0" indent="-136525" marL="423863" rtl="0">
              <a:lnSpc>
                <a:spcPct val="90000"/>
              </a:lnSpc>
              <a:spcBef>
                <a:spcPts val="150"/>
              </a:spcBef>
              <a:spcAft>
                <a:spcPts val="300"/>
              </a:spcAft>
              <a:buClr>
                <a:schemeClr val="accent1"/>
              </a:buClr>
              <a:buFont charset="0" panose="020F0502020204030204" pitchFamily="34" typeface="Calibri"/>
              <a:buChar char="◦"/>
              <a:defRPr kern="1200" sz="1000">
                <a:solidFill>
                  <a:srgbClr val="404040"/>
                </a:solidFill>
                <a:latin typeface="+mn-lt"/>
                <a:ea typeface="+mn-ea"/>
                <a:cs typeface="+mn-cs"/>
              </a:defRPr>
            </a:lvl3pPr>
            <a:lvl4pPr algn="l" defTabSz="685800" eaLnBrk="0" fontAlgn="base" hangingPunct="0" indent="-136525" marL="561975" rtl="0">
              <a:lnSpc>
                <a:spcPct val="90000"/>
              </a:lnSpc>
              <a:spcBef>
                <a:spcPts val="150"/>
              </a:spcBef>
              <a:spcAft>
                <a:spcPts val="300"/>
              </a:spcAft>
              <a:buClr>
                <a:schemeClr val="accent1"/>
              </a:buClr>
              <a:buFont charset="0" panose="020F0502020204030204" pitchFamily="34" typeface="Calibri"/>
              <a:buChar char="◦"/>
              <a:defRPr kern="1200" sz="1000">
                <a:solidFill>
                  <a:srgbClr val="404040"/>
                </a:solidFill>
                <a:latin typeface="+mn-lt"/>
                <a:ea typeface="+mn-ea"/>
                <a:cs typeface="+mn-cs"/>
              </a:defRPr>
            </a:lvl4pPr>
            <a:lvl5pPr algn="l" defTabSz="685800" eaLnBrk="0" fontAlgn="base" hangingPunct="0" indent="-136525" marL="698500" rtl="0">
              <a:lnSpc>
                <a:spcPct val="90000"/>
              </a:lnSpc>
              <a:spcBef>
                <a:spcPts val="150"/>
              </a:spcBef>
              <a:spcAft>
                <a:spcPts val="300"/>
              </a:spcAft>
              <a:buClr>
                <a:schemeClr val="accent1"/>
              </a:buClr>
              <a:buFont charset="0" panose="020F0502020204030204" pitchFamily="34" typeface="Calibri"/>
              <a:buChar char="◦"/>
              <a:defRPr kern="1200" sz="1000">
                <a:solidFill>
                  <a:srgbClr val="404040"/>
                </a:solidFill>
                <a:latin typeface="+mn-lt"/>
                <a:ea typeface="+mn-ea"/>
                <a:cs typeface="+mn-cs"/>
              </a:defRPr>
            </a:lvl5pPr>
            <a:lvl6pPr algn="l" defTabSz="685800" eaLnBrk="1" hangingPunct="1" indent="-171450" latinLnBrk="0" marL="82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6pPr>
            <a:lvl7pPr algn="l" defTabSz="685800" eaLnBrk="1" hangingPunct="1" indent="-171450" latinLnBrk="0" marL="97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7pPr>
            <a:lvl8pPr algn="l" defTabSz="685800" eaLnBrk="1" hangingPunct="1" indent="-171450" latinLnBrk="0" marL="112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8pPr>
            <a:lvl9pPr algn="l" defTabSz="685800" eaLnBrk="1" hangingPunct="1" indent="-171450" latinLnBrk="0" marL="1275000" rtl="0">
              <a:lnSpc>
                <a:spcPct val="90000"/>
              </a:lnSpc>
              <a:spcBef>
                <a:spcPts val="150"/>
              </a:spcBef>
              <a:spcAft>
                <a:spcPts val="300"/>
              </a:spcAft>
              <a:buClr>
                <a:schemeClr val="accent1"/>
              </a:buClr>
              <a:buFont charset="0" pitchFamily="34" typeface="Calibri"/>
              <a:buChar char="◦"/>
              <a:defRPr kern="1200" sz="1050">
                <a:solidFill>
                  <a:schemeClr val="tx1">
                    <a:lumMod val="75000"/>
                    <a:lumOff val="25000"/>
                  </a:schemeClr>
                </a:solidFill>
                <a:latin typeface="+mn-lt"/>
                <a:ea typeface="+mn-ea"/>
                <a:cs typeface="+mn-cs"/>
              </a:defRPr>
            </a:lvl9pPr>
          </a:lstStyle>
          <a:p>
            <a:r>
              <a:rPr dirty="0" lang="en-US" sz="1050">
                <a:solidFill>
                  <a:schemeClr val="tx2"/>
                </a:solidFill>
                <a:latin charset="0" panose="020F0502020204030204" pitchFamily="34" typeface="Calibri"/>
              </a:rPr>
              <a:t>Gaps in O</a:t>
            </a:r>
            <a:r>
              <a:rPr baseline="-25000" dirty="0" lang="en-US" sz="1050">
                <a:solidFill>
                  <a:schemeClr val="tx2"/>
                </a:solidFill>
                <a:latin charset="0" panose="020F0502020204030204" pitchFamily="34" typeface="Calibri"/>
              </a:rPr>
              <a:t>2</a:t>
            </a:r>
            <a:r>
              <a:rPr dirty="0" lang="en-US" sz="1050">
                <a:solidFill>
                  <a:schemeClr val="tx2"/>
                </a:solidFill>
                <a:latin charset="0" panose="020F0502020204030204" pitchFamily="34" typeface="Calibri"/>
              </a:rPr>
              <a:t> supply = Total oxygen required (X+Y) – Total availability (A+B+C+D+E) in m</a:t>
            </a:r>
            <a:r>
              <a:rPr baseline="30000" dirty="0" lang="en-US" sz="1050">
                <a:solidFill>
                  <a:schemeClr val="tx2"/>
                </a:solidFill>
                <a:latin charset="0" panose="020F0502020204030204" pitchFamily="34" typeface="Calibri"/>
              </a:rPr>
              <a:t>3</a:t>
            </a:r>
            <a:endParaRPr baseline="30000" dirty="0" lang="en-IN" sz="1050">
              <a:solidFill>
                <a:schemeClr val="tx2"/>
              </a:solidFill>
              <a:latin charset="0" panose="020F0502020204030204" pitchFamily="34" typeface="Calibri"/>
            </a:endParaRPr>
          </a:p>
        </p:txBody>
      </p:sp>
    </p:spTree>
    <p:extLst>
      <p:ext uri="{BB962C8B-B14F-4D97-AF65-F5344CB8AC3E}">
        <p14:creationId xmlns:p14="http://schemas.microsoft.com/office/powerpoint/2010/main" val="421976754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3B7E898-D818-443D-AD1C-E44B84394DA5}"/>
              </a:ext>
            </a:extLst>
          </p:cNvPr>
          <p:cNvSpPr>
            <a:spLocks noGrp="1"/>
          </p:cNvSpPr>
          <p:nvPr>
            <p:ph type="title" idx="4294967295"/>
          </p:nvPr>
        </p:nvSpPr>
        <p:spPr>
          <a:xfrm>
            <a:off x="0" y="4972050"/>
            <a:ext cx="6057900" cy="616744"/>
          </a:xfrm>
        </p:spPr>
        <p:txBody>
          <a:bodyPr anchor="ctr">
            <a:normAutofit fontScale="90000"/>
          </a:bodyPr>
          <a:lstStyle/>
          <a:p>
            <a:pPr algn="just"/>
            <a:r>
              <a:rPr lang="en-US" sz="2700" dirty="0">
                <a:solidFill>
                  <a:schemeClr val="bg1"/>
                </a:solidFill>
                <a:latin typeface="Calibri" panose="020F0502020204030204" pitchFamily="34" charset="0"/>
              </a:rPr>
              <a:t>Daily Oxygen Calculations: Based on output sources Devices</a:t>
            </a:r>
            <a:endParaRPr lang="en-IN" sz="2700" dirty="0">
              <a:solidFill>
                <a:schemeClr val="bg1"/>
              </a:solidFill>
              <a:latin typeface="Calibri" panose="020F0502020204030204" pitchFamily="34" charset="0"/>
            </a:endParaRPr>
          </a:p>
        </p:txBody>
      </p:sp>
      <p:sp>
        <p:nvSpPr>
          <p:cNvPr id="6" name="Title 7">
            <a:extLst>
              <a:ext uri="{FF2B5EF4-FFF2-40B4-BE49-F238E27FC236}">
                <a16:creationId xmlns:a16="http://schemas.microsoft.com/office/drawing/2014/main" id="{D0E473CD-0D41-42F9-96A9-4FC2BCF07858}"/>
              </a:ext>
            </a:extLst>
          </p:cNvPr>
          <p:cNvSpPr txBox="1">
            <a:spLocks/>
          </p:cNvSpPr>
          <p:nvPr/>
        </p:nvSpPr>
        <p:spPr>
          <a:xfrm>
            <a:off x="828675" y="789140"/>
            <a:ext cx="7425977" cy="913692"/>
          </a:xfrm>
          <a:prstGeom prst="rect">
            <a:avLst/>
          </a:prstGeom>
        </p:spPr>
        <p:txBody>
          <a:bodyPr anchor="ctr"/>
          <a:lstStyle>
            <a:lvl1pPr algn="l" defTabSz="685800" rtl="0" eaLnBrk="0" fontAlgn="base" hangingPunct="0">
              <a:lnSpc>
                <a:spcPct val="85000"/>
              </a:lnSpc>
              <a:spcBef>
                <a:spcPct val="0"/>
              </a:spcBef>
              <a:spcAft>
                <a:spcPct val="0"/>
              </a:spcAft>
              <a:defRPr sz="3600" kern="1200" spc="-38">
                <a:solidFill>
                  <a:srgbClr val="404040"/>
                </a:solidFill>
                <a:latin typeface="+mj-lt"/>
                <a:ea typeface="+mj-ea"/>
                <a:cs typeface="+mj-cs"/>
              </a:defRPr>
            </a:lvl1pPr>
            <a:lvl2pPr algn="l" defTabSz="685800" rtl="0" eaLnBrk="0" fontAlgn="base" hangingPunct="0">
              <a:lnSpc>
                <a:spcPct val="85000"/>
              </a:lnSpc>
              <a:spcBef>
                <a:spcPct val="0"/>
              </a:spcBef>
              <a:spcAft>
                <a:spcPct val="0"/>
              </a:spcAft>
              <a:defRPr sz="3600">
                <a:solidFill>
                  <a:srgbClr val="404040"/>
                </a:solidFill>
                <a:latin typeface="Calibri Light" panose="020F0302020204030204" pitchFamily="34" charset="0"/>
              </a:defRPr>
            </a:lvl2pPr>
            <a:lvl3pPr algn="l" defTabSz="685800" rtl="0" eaLnBrk="0" fontAlgn="base" hangingPunct="0">
              <a:lnSpc>
                <a:spcPct val="85000"/>
              </a:lnSpc>
              <a:spcBef>
                <a:spcPct val="0"/>
              </a:spcBef>
              <a:spcAft>
                <a:spcPct val="0"/>
              </a:spcAft>
              <a:defRPr sz="3600">
                <a:solidFill>
                  <a:srgbClr val="404040"/>
                </a:solidFill>
                <a:latin typeface="Calibri Light" panose="020F0302020204030204" pitchFamily="34" charset="0"/>
              </a:defRPr>
            </a:lvl3pPr>
            <a:lvl4pPr algn="l" defTabSz="685800" rtl="0" eaLnBrk="0" fontAlgn="base" hangingPunct="0">
              <a:lnSpc>
                <a:spcPct val="85000"/>
              </a:lnSpc>
              <a:spcBef>
                <a:spcPct val="0"/>
              </a:spcBef>
              <a:spcAft>
                <a:spcPct val="0"/>
              </a:spcAft>
              <a:defRPr sz="3600">
                <a:solidFill>
                  <a:srgbClr val="404040"/>
                </a:solidFill>
                <a:latin typeface="Calibri Light" panose="020F0302020204030204" pitchFamily="34" charset="0"/>
              </a:defRPr>
            </a:lvl4pPr>
            <a:lvl5pPr algn="l" defTabSz="685800" rtl="0" eaLnBrk="0" fontAlgn="base" hangingPunct="0">
              <a:lnSpc>
                <a:spcPct val="85000"/>
              </a:lnSpc>
              <a:spcBef>
                <a:spcPct val="0"/>
              </a:spcBef>
              <a:spcAft>
                <a:spcPct val="0"/>
              </a:spcAft>
              <a:defRPr sz="3600">
                <a:solidFill>
                  <a:srgbClr val="404040"/>
                </a:solidFill>
                <a:latin typeface="Calibri Light" panose="020F0302020204030204" pitchFamily="34" charset="0"/>
              </a:defRPr>
            </a:lvl5pPr>
            <a:lvl6pPr marL="457200" algn="l" defTabSz="685800" rtl="0" fontAlgn="base">
              <a:lnSpc>
                <a:spcPct val="85000"/>
              </a:lnSpc>
              <a:spcBef>
                <a:spcPct val="0"/>
              </a:spcBef>
              <a:spcAft>
                <a:spcPct val="0"/>
              </a:spcAft>
              <a:defRPr sz="3600">
                <a:solidFill>
                  <a:srgbClr val="404040"/>
                </a:solidFill>
                <a:latin typeface="Calibri Light" panose="020F0302020204030204" pitchFamily="34" charset="0"/>
              </a:defRPr>
            </a:lvl6pPr>
            <a:lvl7pPr marL="914400" algn="l" defTabSz="685800" rtl="0" fontAlgn="base">
              <a:lnSpc>
                <a:spcPct val="85000"/>
              </a:lnSpc>
              <a:spcBef>
                <a:spcPct val="0"/>
              </a:spcBef>
              <a:spcAft>
                <a:spcPct val="0"/>
              </a:spcAft>
              <a:defRPr sz="3600">
                <a:solidFill>
                  <a:srgbClr val="404040"/>
                </a:solidFill>
                <a:latin typeface="Calibri Light" panose="020F0302020204030204" pitchFamily="34" charset="0"/>
              </a:defRPr>
            </a:lvl7pPr>
            <a:lvl8pPr marL="1371600" algn="l" defTabSz="685800" rtl="0" fontAlgn="base">
              <a:lnSpc>
                <a:spcPct val="85000"/>
              </a:lnSpc>
              <a:spcBef>
                <a:spcPct val="0"/>
              </a:spcBef>
              <a:spcAft>
                <a:spcPct val="0"/>
              </a:spcAft>
              <a:defRPr sz="3600">
                <a:solidFill>
                  <a:srgbClr val="404040"/>
                </a:solidFill>
                <a:latin typeface="Calibri Light" panose="020F0302020204030204" pitchFamily="34" charset="0"/>
              </a:defRPr>
            </a:lvl8pPr>
            <a:lvl9pPr marL="1828800" algn="l" defTabSz="685800" rtl="0" fontAlgn="base">
              <a:lnSpc>
                <a:spcPct val="85000"/>
              </a:lnSpc>
              <a:spcBef>
                <a:spcPct val="0"/>
              </a:spcBef>
              <a:spcAft>
                <a:spcPct val="0"/>
              </a:spcAft>
              <a:defRPr sz="3600">
                <a:solidFill>
                  <a:srgbClr val="404040"/>
                </a:solidFill>
                <a:latin typeface="Calibri Light" panose="020F0302020204030204" pitchFamily="34" charset="0"/>
              </a:defRPr>
            </a:lvl9pPr>
          </a:lstStyle>
          <a:p>
            <a:pPr algn="ctr"/>
            <a:r>
              <a:rPr lang="en-US" b="1" dirty="0">
                <a:solidFill>
                  <a:schemeClr val="accent2">
                    <a:lumMod val="75000"/>
                  </a:schemeClr>
                </a:solidFill>
                <a:latin typeface="Calibri" panose="020F0502020204030204" pitchFamily="34" charset="0"/>
              </a:rPr>
              <a:t>Daily Oxygen Calculations: Based on Output Sources</a:t>
            </a:r>
            <a:endParaRPr lang="en-IN" b="1" dirty="0">
              <a:solidFill>
                <a:schemeClr val="accent2">
                  <a:lumMod val="75000"/>
                </a:schemeClr>
              </a:solidFill>
              <a:latin typeface="Calibri" panose="020F0502020204030204" pitchFamily="34" charset="0"/>
            </a:endParaRPr>
          </a:p>
        </p:txBody>
      </p:sp>
      <p:grpSp>
        <p:nvGrpSpPr>
          <p:cNvPr id="3" name="Group 2">
            <a:extLst>
              <a:ext uri="{FF2B5EF4-FFF2-40B4-BE49-F238E27FC236}">
                <a16:creationId xmlns:a16="http://schemas.microsoft.com/office/drawing/2014/main" id="{1817B5FC-501E-4F4E-A7DD-299410C8DD95}"/>
              </a:ext>
            </a:extLst>
          </p:cNvPr>
          <p:cNvGrpSpPr/>
          <p:nvPr/>
        </p:nvGrpSpPr>
        <p:grpSpPr>
          <a:xfrm>
            <a:off x="1067544" y="2080776"/>
            <a:ext cx="7008911" cy="3738086"/>
            <a:chOff x="1499592" y="1551358"/>
            <a:chExt cx="9345215" cy="4984115"/>
          </a:xfrm>
        </p:grpSpPr>
        <p:pic>
          <p:nvPicPr>
            <p:cNvPr id="4" name="Content Placeholder 4">
              <a:extLst>
                <a:ext uri="{FF2B5EF4-FFF2-40B4-BE49-F238E27FC236}">
                  <a16:creationId xmlns:a16="http://schemas.microsoft.com/office/drawing/2014/main" id="{3B582C18-6D70-4118-A5A1-C16A8A189DAD}"/>
                </a:ext>
              </a:extLst>
            </p:cNvPr>
            <p:cNvPicPr>
              <a:picLocks noChangeAspect="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brightnessContrast contrast="20000"/>
                      </a14:imgEffect>
                    </a14:imgLayer>
                  </a14:imgProps>
                </a:ext>
              </a:extLst>
            </a:blip>
            <a:stretch>
              <a:fillRect/>
            </a:stretch>
          </p:blipFill>
          <p:spPr>
            <a:xfrm>
              <a:off x="1499592" y="1551358"/>
              <a:ext cx="9345215" cy="4984115"/>
            </a:xfrm>
            <a:prstGeom prst="rect">
              <a:avLst/>
            </a:prstGeom>
          </p:spPr>
        </p:pic>
        <p:sp>
          <p:nvSpPr>
            <p:cNvPr id="2" name="TextBox 1">
              <a:extLst>
                <a:ext uri="{FF2B5EF4-FFF2-40B4-BE49-F238E27FC236}">
                  <a16:creationId xmlns:a16="http://schemas.microsoft.com/office/drawing/2014/main" id="{7D20DCC6-0886-4BB5-835A-A5913F5992C7}"/>
                </a:ext>
              </a:extLst>
            </p:cNvPr>
            <p:cNvSpPr txBox="1"/>
            <p:nvPr/>
          </p:nvSpPr>
          <p:spPr>
            <a:xfrm>
              <a:off x="1701800" y="3450590"/>
              <a:ext cx="2514600" cy="369332"/>
            </a:xfrm>
            <a:prstGeom prst="rect">
              <a:avLst/>
            </a:prstGeom>
            <a:solidFill>
              <a:schemeClr val="bg1"/>
            </a:solidFill>
          </p:spPr>
          <p:txBody>
            <a:bodyPr wrap="square" rtlCol="0">
              <a:spAutoFit/>
            </a:bodyPr>
            <a:lstStyle/>
            <a:p>
              <a:r>
                <a:rPr lang="en-US" sz="1200" b="1" dirty="0">
                  <a:solidFill>
                    <a:srgbClr val="005498"/>
                  </a:solidFill>
                  <a:latin typeface="+mn-lt"/>
                </a:rPr>
                <a:t>Non- Rebreather mask</a:t>
              </a:r>
            </a:p>
          </p:txBody>
        </p:sp>
      </p:grpSp>
    </p:spTree>
    <p:extLst>
      <p:ext uri="{BB962C8B-B14F-4D97-AF65-F5344CB8AC3E}">
        <p14:creationId xmlns:p14="http://schemas.microsoft.com/office/powerpoint/2010/main" val="182300775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Retrospect">
      <a:dk1>
        <a:sysClr val="windowText" lastClr="000000"/>
      </a:dk1>
      <a:lt1>
        <a:sysClr val="window" lastClr="FFFFFF"/>
      </a:lt1>
      <a:dk2>
        <a:srgbClr val="344068"/>
      </a:dk2>
      <a:lt2>
        <a:srgbClr val="D9E0E6"/>
      </a:lt2>
      <a:accent1>
        <a:srgbClr val="1CADE4"/>
      </a:accent1>
      <a:accent2>
        <a:srgbClr val="2683C6"/>
      </a:accent2>
      <a:accent3>
        <a:srgbClr val="28C4CC"/>
      </a:accent3>
      <a:accent4>
        <a:srgbClr val="42BA97"/>
      </a:accent4>
      <a:accent5>
        <a:srgbClr val="3E8853"/>
      </a:accent5>
      <a:accent6>
        <a:srgbClr val="62A39F"/>
      </a:accent6>
      <a:hlink>
        <a:srgbClr val="6EAC1C"/>
      </a:hlink>
      <a:folHlink>
        <a:srgbClr val="B26B0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660CE27D5AB4543A573315B011C6C7D" ma:contentTypeVersion="16" ma:contentTypeDescription="Create a new document." ma:contentTypeScope="" ma:versionID="1aac951a7f8f7fa09c44f4c01debbbaa">
  <xsd:schema xmlns:xsd="http://www.w3.org/2001/XMLSchema" xmlns:xs="http://www.w3.org/2001/XMLSchema" xmlns:p="http://schemas.microsoft.com/office/2006/metadata/properties" xmlns:ns2="0c1413a2-014c-4f8d-95c9-219594620d4d" xmlns:ns3="c6bc7fdb-94a0-4550-9262-59b9a1e24eae" xmlns:ns4="8d42e0dd-18ca-448e-996e-c2aaa315e839" targetNamespace="http://schemas.microsoft.com/office/2006/metadata/properties" ma:root="true" ma:fieldsID="9698e61867c39442503886228e01fca6" ns2:_="" ns3:_="" ns4:_="">
    <xsd:import namespace="0c1413a2-014c-4f8d-95c9-219594620d4d"/>
    <xsd:import namespace="c6bc7fdb-94a0-4550-9262-59b9a1e24eae"/>
    <xsd:import namespace="8d42e0dd-18ca-448e-996e-c2aaa315e83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1413a2-014c-4f8d-95c9-219594620d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b704c289-2b3b-45af-a6a7-9640d4e0aee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6bc7fdb-94a0-4550-9262-59b9a1e24ea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d42e0dd-18ca-448e-996e-c2aaa315e83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acac136-076d-4ff3-b5ce-f7882b9d6517}" ma:internalName="TaxCatchAll" ma:showField="CatchAllData" ma:web="c6bc7fdb-94a0-4550-9262-59b9a1e24e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c6bc7fdb-94a0-4550-9262-59b9a1e24eae">
      <UserInfo>
        <DisplayName>Shoa Girma</DisplayName>
        <AccountId>534</AccountId>
        <AccountType/>
      </UserInfo>
    </SharedWithUsers>
    <TaxCatchAll xmlns="8d42e0dd-18ca-448e-996e-c2aaa315e839" xsi:nil="true"/>
    <lcf76f155ced4ddcb4097134ff3c332f xmlns="0c1413a2-014c-4f8d-95c9-219594620d4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530C465-120E-4E34-8F23-BAC1A58F7DB6}">
  <ds:schemaRefs>
    <ds:schemaRef ds:uri="http://schemas.microsoft.com/sharepoint/v3/contenttype/forms"/>
  </ds:schemaRefs>
</ds:datastoreItem>
</file>

<file path=customXml/itemProps2.xml><?xml version="1.0" encoding="utf-8"?>
<ds:datastoreItem xmlns:ds="http://schemas.openxmlformats.org/officeDocument/2006/customXml" ds:itemID="{235819D0-C0D7-4869-AEB7-1C5740F397E9}"/>
</file>

<file path=customXml/itemProps3.xml><?xml version="1.0" encoding="utf-8"?>
<ds:datastoreItem xmlns:ds="http://schemas.openxmlformats.org/officeDocument/2006/customXml" ds:itemID="{F661F69A-BBEC-45E6-9324-FA6948341E5F}">
  <ds:schemaRefs>
    <ds:schemaRef ds:uri="http://schemas.openxmlformats.org/package/2006/metadata/core-properties"/>
    <ds:schemaRef ds:uri="http://schemas.microsoft.com/office/2006/documentManagement/types"/>
    <ds:schemaRef ds:uri="http://purl.org/dc/dcmitype/"/>
    <ds:schemaRef ds:uri="c6bc7fdb-94a0-4550-9262-59b9a1e24eae"/>
    <ds:schemaRef ds:uri="http://purl.org/dc/elements/1.1/"/>
    <ds:schemaRef ds:uri="http://purl.org/dc/terms/"/>
    <ds:schemaRef ds:uri="http://schemas.microsoft.com/office/infopath/2007/PartnerControls"/>
    <ds:schemaRef ds:uri="144d5290-e6e5-4623-91d2-9fe55aa32c80"/>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3362</TotalTime>
  <Words>12556</Words>
  <Application>Microsoft Office PowerPoint</Application>
  <PresentationFormat>On-screen Show (4:3)</PresentationFormat>
  <Paragraphs>1454</Paragraphs>
  <Slides>180</Slides>
  <Notes>85</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80</vt:i4>
      </vt:variant>
    </vt:vector>
  </HeadingPairs>
  <TitlesOfParts>
    <vt:vector size="192" baseType="lpstr">
      <vt:lpstr>Arial</vt:lpstr>
      <vt:lpstr>Arial</vt:lpstr>
      <vt:lpstr>Calibri</vt:lpstr>
      <vt:lpstr>Calibri Light</vt:lpstr>
      <vt:lpstr>Courier New</vt:lpstr>
      <vt:lpstr>Gill Sans MT</vt:lpstr>
      <vt:lpstr>Helvetica</vt:lpstr>
      <vt:lpstr>Symbol</vt:lpstr>
      <vt:lpstr>Wingdings</vt:lpstr>
      <vt:lpstr>Retrospect</vt:lpstr>
      <vt:lpstr>Custom Design</vt:lpstr>
      <vt:lpstr>think-cell Slide</vt:lpstr>
      <vt:lpstr>Reaching Impact, Saturation, and Epidemic Control (RISE):   Basics of Medical Oxygen Management Systems  Training For Oxygen Program Managers Date</vt:lpstr>
      <vt:lpstr>PowerPoint Presentation</vt:lpstr>
      <vt:lpstr>Training Schedule</vt:lpstr>
      <vt:lpstr>Session I: Introduction and Pre-test</vt:lpstr>
      <vt:lpstr>Session II: Oxygen Therapy </vt:lpstr>
      <vt:lpstr>PowerPoint Presentation</vt:lpstr>
      <vt:lpstr>PowerPoint Presentation</vt:lpstr>
      <vt:lpstr>Medical Grade Oxygen</vt:lpstr>
      <vt:lpstr>PowerPoint Presentation</vt:lpstr>
      <vt:lpstr>What is Oxygen Therapy?</vt:lpstr>
      <vt:lpstr>PowerPoint Presentation</vt:lpstr>
      <vt:lpstr>PowerPoint Presentation</vt:lpstr>
      <vt:lpstr>Short Term Oxygen Therapy</vt:lpstr>
      <vt:lpstr>Long Term Oxygen Therapy</vt:lpstr>
      <vt:lpstr>PowerPoint Presentation</vt:lpstr>
      <vt:lpstr>Monitor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Session III: Oxygen Delivery Solution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xygen Supply Chain</vt:lpstr>
      <vt:lpstr>A Problem of Geography and Logistics</vt:lpstr>
      <vt:lpstr>LMO Manufacturers In India</vt:lpstr>
      <vt:lpstr>Thank You!</vt:lpstr>
      <vt:lpstr>Session IV: Oxygen Inventory Management And Oxygen Audi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ily Oxygen Calculations: Based on output sources Devices</vt:lpstr>
      <vt:lpstr>PowerPoint Presentation</vt:lpstr>
      <vt:lpstr>Introduction </vt:lpstr>
      <vt:lpstr>Audit </vt:lpstr>
      <vt:lpstr>PowerPoint Presentation</vt:lpstr>
      <vt:lpstr>PowerPoint Presentation</vt:lpstr>
      <vt:lpstr>Supportive Systems</vt:lpstr>
      <vt:lpstr>Components</vt:lpstr>
      <vt:lpstr>Audit Process – Audit Planning And Preparation</vt:lpstr>
      <vt:lpstr>Audit Process</vt:lpstr>
      <vt:lpstr>Audit – Criteria</vt:lpstr>
      <vt:lpstr>Who Should Do Audit </vt:lpstr>
      <vt:lpstr>Elements </vt:lpstr>
      <vt:lpstr>PowerPoint Presentation</vt:lpstr>
      <vt:lpstr>Audit Interva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ationale Use of Oxygen in Covid Facilities</vt:lpstr>
      <vt:lpstr>Rationale Use of Oxygen in Covid Facilities</vt:lpstr>
      <vt:lpstr>Rationale Use of Oxygen in Covid Facilities</vt:lpstr>
      <vt:lpstr>Rationale Use of Oxygen in Covid Facilities</vt:lpstr>
      <vt:lpstr>PowerPoint Presentation</vt:lpstr>
      <vt:lpstr>PowerPoint Presentation</vt:lpstr>
      <vt:lpstr>PowerPoint Presentation</vt:lpstr>
      <vt:lpstr>PowerPoint Presentation</vt:lpstr>
      <vt:lpstr>PowerPoint Presentation</vt:lpstr>
      <vt:lpstr>PowerPoint Presentation</vt:lpstr>
      <vt:lpstr>Thank You!</vt:lpstr>
      <vt:lpstr>Session V: Medical Gas Handling and                      Safety </vt:lpstr>
      <vt:lpstr>PowerPoint Presentation</vt:lpstr>
      <vt:lpstr>Introduction to Oxygen </vt:lpstr>
      <vt:lpstr>Safety in Oxygen Cylinder</vt:lpstr>
      <vt:lpstr>Safety in MGPS System</vt:lpstr>
      <vt:lpstr>MGPS System with Air Regulators</vt:lpstr>
      <vt:lpstr>Safety in PSA Plants</vt:lpstr>
      <vt:lpstr>Safety in LMO Plants</vt:lpstr>
      <vt:lpstr>PPE Equipment</vt:lpstr>
      <vt:lpstr>Oxygen Safety Signs</vt:lpstr>
      <vt:lpstr>Thank You!</vt:lpstr>
      <vt:lpstr>Session VI: Respiratory Care Market and                       Supplier Landscape</vt:lpstr>
      <vt:lpstr>PowerPoint Presentation</vt:lpstr>
      <vt:lpstr>PowerPoint Presentation</vt:lpstr>
      <vt:lpstr>PowerPoint Presentation</vt:lpstr>
      <vt:lpstr>PowerPoint Presentation</vt:lpstr>
      <vt:lpstr>PowerPoint Presentation</vt:lpstr>
      <vt:lpstr>Product Requirements That May Impact The Number Of Models Available For Procurement</vt:lpstr>
      <vt:lpstr>PowerPoint Presentation</vt:lpstr>
      <vt:lpstr>PowerPoint Presentation</vt:lpstr>
      <vt:lpstr>Product Requirements That May Impact The Number Of Models Available For Procurement</vt:lpstr>
      <vt:lpstr>PowerPoint Presentation</vt:lpstr>
      <vt:lpstr>PowerPoint Presentation</vt:lpstr>
      <vt:lpstr>Following Product Requirements May Impact The Number Of Models Available For Procurement</vt:lpstr>
      <vt:lpstr>PowerPoint Presentation</vt:lpstr>
      <vt:lpstr>PowerPoint Presentation</vt:lpstr>
      <vt:lpstr>Product Requirements That May Impact The Number Of Models Available For Procurement</vt:lpstr>
      <vt:lpstr>PowerPoint Presentation</vt:lpstr>
      <vt:lpstr>PowerPoint Presentation</vt:lpstr>
      <vt:lpstr>Product Requirements That May Impact The Number Of Models Available For Procurement</vt:lpstr>
      <vt:lpstr>PowerPoint Presentation</vt:lpstr>
      <vt:lpstr>PowerPoint Presentation</vt:lpstr>
      <vt:lpstr>Product Requirements That May Impact The Number Of Models Available For Procurement</vt:lpstr>
      <vt:lpstr>PowerPoint Presentation</vt:lpstr>
      <vt:lpstr>PowerPoint Presentation</vt:lpstr>
      <vt:lpstr>PowerPoint Presentation</vt:lpstr>
      <vt:lpstr>Thank You!</vt:lpstr>
    </vt:vector>
  </TitlesOfParts>
  <Company>JHPIEG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l Jhpiego PPT Template</dc:title>
  <dc:creator>Young Kim</dc:creator>
  <cp:lastModifiedBy>Amarjot Kaur (Consultant)</cp:lastModifiedBy>
  <cp:revision>184</cp:revision>
  <dcterms:created xsi:type="dcterms:W3CDTF">2008-02-19T21:01:19Z</dcterms:created>
  <dcterms:modified xsi:type="dcterms:W3CDTF">2022-02-02T05:1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Audience" pid="2">
    <vt:lpwstr>Internal</vt:lpwstr>
  </property>
  <property fmtid="{D5CDD505-2E9C-101B-9397-08002B2CF9AE}" name="Author-Affiliation" pid="3">
    <vt:lpwstr>JHPIEGO</vt:lpwstr>
  </property>
  <property fmtid="{D5CDD505-2E9C-101B-9397-08002B2CF9AE}" name="Author0" pid="4">
    <vt:lpwstr/>
  </property>
  <property fmtid="{D5CDD505-2E9C-101B-9397-08002B2CF9AE}" name="Cadres" pid="5">
    <vt:lpwstr/>
  </property>
  <property fmtid="{D5CDD505-2E9C-101B-9397-08002B2CF9AE}" name="ContentTypeId" pid="6">
    <vt:lpwstr>0x010100F660CE27D5AB4543A573315B011C6C7D</vt:lpwstr>
  </property>
  <property fmtid="{D5CDD505-2E9C-101B-9397-08002B2CF9AE}" name="Core Competency" pid="7">
    <vt:lpwstr/>
  </property>
  <property fmtid="{D5CDD505-2E9C-101B-9397-08002B2CF9AE}" name="Core Intervention" pid="8">
    <vt:lpwstr/>
  </property>
  <property fmtid="{D5CDD505-2E9C-101B-9397-08002B2CF9AE}" name="Core Technical Area" pid="9">
    <vt:lpwstr/>
  </property>
  <property fmtid="{D5CDD505-2E9C-101B-9397-08002B2CF9AE}" name="Country" pid="10">
    <vt:lpwstr/>
  </property>
  <property fmtid="{D5CDD505-2E9C-101B-9397-08002B2CF9AE}" name="Date" pid="11">
    <vt:lpwstr/>
  </property>
  <property fmtid="{D5CDD505-2E9C-101B-9397-08002B2CF9AE}" name="Keywords0" pid="12">
    <vt:lpwstr/>
  </property>
  <property fmtid="{D5CDD505-2E9C-101B-9397-08002B2CF9AE}" name="Language" pid="13">
    <vt:lpwstr>English</vt:lpwstr>
  </property>
  <property fmtid="{D5CDD505-2E9C-101B-9397-08002B2CF9AE}" name="NXPowerLiteLastOptimized" pid="14">
    <vt:lpwstr>7763817</vt:lpwstr>
  </property>
  <property fmtid="{D5CDD505-2E9C-101B-9397-08002B2CF9AE}" name="NXPowerLiteSettings" pid="15">
    <vt:lpwstr>F7000400038000</vt:lpwstr>
  </property>
  <property fmtid="{D5CDD505-2E9C-101B-9397-08002B2CF9AE}" name="NXPowerLiteVersion" pid="16">
    <vt:lpwstr>S9.1.4</vt:lpwstr>
  </property>
  <property fmtid="{D5CDD505-2E9C-101B-9397-08002B2CF9AE}" name="Object Type" pid="17">
    <vt:lpwstr>Form-Template-Checklist</vt:lpwstr>
  </property>
  <property fmtid="{D5CDD505-2E9C-101B-9397-08002B2CF9AE}" name="Owner" pid="18">
    <vt:lpwstr>Branding Team</vt:lpwstr>
  </property>
  <property fmtid="{D5CDD505-2E9C-101B-9397-08002B2CF9AE}" name="Region" pid="19">
    <vt:lpwstr/>
  </property>
  <property fmtid="{D5CDD505-2E9C-101B-9397-08002B2CF9AE}" name="Review Date" pid="20">
    <vt:lpwstr/>
  </property>
  <property fmtid="{D5CDD505-2E9C-101B-9397-08002B2CF9AE}" name="SPSDescription" pid="21">
    <vt:lpwstr/>
  </property>
  <property fmtid="{D5CDD505-2E9C-101B-9397-08002B2CF9AE}" name="Status" pid="22">
    <vt:lpwstr/>
  </property>
</Properties>
</file>